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5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7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9.xml" ContentType="application/vnd.openxmlformats-officedocument.theme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10.xml" ContentType="application/vnd.openxmlformats-officedocument.theme+xml"/>
  <Override PartName="/ppt/tags/tag6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11.xml" ContentType="application/vnd.openxmlformats-officedocument.theme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theme/theme12.xml" ContentType="application/vnd.openxmlformats-officedocument.theme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theme/theme13.xml" ContentType="application/vnd.openxmlformats-officedocument.theme+xml"/>
  <Override PartName="/ppt/tags/tag7.xml" ContentType="application/vnd.openxmlformats-officedocument.presentationml.tags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theme/theme14.xml" ContentType="application/vnd.openxmlformats-officedocument.theme+xml"/>
  <Override PartName="/ppt/tags/tag8.xml" ContentType="application/vnd.openxmlformats-officedocument.presentationml.tags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theme/theme15.xml" ContentType="application/vnd.openxmlformats-officedocument.theme+xml"/>
  <Override PartName="/ppt/tags/tag9.xml" ContentType="application/vnd.openxmlformats-officedocument.presentationml.tags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theme/theme16.xml" ContentType="application/vnd.openxmlformats-officedocument.theme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theme/theme17.xml" ContentType="application/vnd.openxmlformats-officedocument.theme+xml"/>
  <Override PartName="/ppt/tags/tag10.xml" ContentType="application/vnd.openxmlformats-officedocument.presentationml.tags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theme/theme18.xml" ContentType="application/vnd.openxmlformats-officedocument.theme+xml"/>
  <Override PartName="/ppt/tags/tag11.xml" ContentType="application/vnd.openxmlformats-officedocument.presentationml.tags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theme/theme19.xml" ContentType="application/vnd.openxmlformats-officedocument.theme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theme/theme20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theme/theme21.xml" ContentType="application/vnd.openxmlformats-officedocument.theme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theme/theme22.xml" ContentType="application/vnd.openxmlformats-officedocument.theme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theme/theme23.xml" ContentType="application/vnd.openxmlformats-officedocument.theme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theme/theme24.xml" ContentType="application/vnd.openxmlformats-officedocument.theme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theme/theme25.xml" ContentType="application/vnd.openxmlformats-officedocument.theme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theme/theme26.xml" ContentType="application/vnd.openxmlformats-officedocument.theme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theme/theme27.xml" ContentType="application/vnd.openxmlformats-officedocument.theme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theme/theme2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theme/theme29.xml" ContentType="application/vnd.openxmlformats-officedocument.theme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23" r:id="rId1"/>
    <p:sldMasterId id="2147484399" r:id="rId2"/>
    <p:sldMasterId id="2147484442" r:id="rId3"/>
    <p:sldMasterId id="2147484463" r:id="rId4"/>
    <p:sldMasterId id="2147484501" r:id="rId5"/>
    <p:sldMasterId id="2147484533" r:id="rId6"/>
    <p:sldMasterId id="2147484571" r:id="rId7"/>
    <p:sldMasterId id="2147484612" r:id="rId8"/>
    <p:sldMasterId id="2147484701" r:id="rId9"/>
    <p:sldMasterId id="2147484759" r:id="rId10"/>
    <p:sldMasterId id="2147484775" r:id="rId11"/>
    <p:sldMasterId id="2147484816" r:id="rId12"/>
    <p:sldMasterId id="2147484848" r:id="rId13"/>
    <p:sldMasterId id="2147484885" r:id="rId14"/>
    <p:sldMasterId id="2147484922" r:id="rId15"/>
    <p:sldMasterId id="2147484959" r:id="rId16"/>
    <p:sldMasterId id="2147485000" r:id="rId17"/>
    <p:sldMasterId id="2147485037" r:id="rId18"/>
    <p:sldMasterId id="2147485080" r:id="rId19"/>
    <p:sldMasterId id="2147485112" r:id="rId20"/>
    <p:sldMasterId id="2147485169" r:id="rId21"/>
    <p:sldMasterId id="2147485201" r:id="rId22"/>
    <p:sldMasterId id="2147485226" r:id="rId23"/>
    <p:sldMasterId id="2147485251" r:id="rId24"/>
    <p:sldMasterId id="2147485276" r:id="rId25"/>
    <p:sldMasterId id="2147485308" r:id="rId26"/>
    <p:sldMasterId id="2147485333" r:id="rId27"/>
    <p:sldMasterId id="2147485358" r:id="rId28"/>
    <p:sldMasterId id="2147485396" r:id="rId29"/>
    <p:sldMasterId id="2147485426" r:id="rId30"/>
  </p:sldMasterIdLst>
  <p:notesMasterIdLst>
    <p:notesMasterId r:id="rId85"/>
  </p:notesMasterIdLst>
  <p:handoutMasterIdLst>
    <p:handoutMasterId r:id="rId86"/>
  </p:handoutMasterIdLst>
  <p:sldIdLst>
    <p:sldId id="816" r:id="rId31"/>
    <p:sldId id="822" r:id="rId32"/>
    <p:sldId id="827" r:id="rId33"/>
    <p:sldId id="890" r:id="rId34"/>
    <p:sldId id="823" r:id="rId35"/>
    <p:sldId id="821" r:id="rId36"/>
    <p:sldId id="892" r:id="rId37"/>
    <p:sldId id="824" r:id="rId38"/>
    <p:sldId id="848" r:id="rId39"/>
    <p:sldId id="849" r:id="rId40"/>
    <p:sldId id="842" r:id="rId41"/>
    <p:sldId id="847" r:id="rId42"/>
    <p:sldId id="893" r:id="rId43"/>
    <p:sldId id="825" r:id="rId44"/>
    <p:sldId id="851" r:id="rId45"/>
    <p:sldId id="852" r:id="rId46"/>
    <p:sldId id="850" r:id="rId47"/>
    <p:sldId id="837" r:id="rId48"/>
    <p:sldId id="894" r:id="rId49"/>
    <p:sldId id="895" r:id="rId50"/>
    <p:sldId id="834" r:id="rId51"/>
    <p:sldId id="838" r:id="rId52"/>
    <p:sldId id="841" r:id="rId53"/>
    <p:sldId id="844" r:id="rId54"/>
    <p:sldId id="845" r:id="rId55"/>
    <p:sldId id="846" r:id="rId56"/>
    <p:sldId id="826" r:id="rId57"/>
    <p:sldId id="853" r:id="rId58"/>
    <p:sldId id="854" r:id="rId59"/>
    <p:sldId id="896" r:id="rId60"/>
    <p:sldId id="897" r:id="rId61"/>
    <p:sldId id="898" r:id="rId62"/>
    <p:sldId id="899" r:id="rId63"/>
    <p:sldId id="900" r:id="rId64"/>
    <p:sldId id="901" r:id="rId65"/>
    <p:sldId id="902" r:id="rId66"/>
    <p:sldId id="904" r:id="rId67"/>
    <p:sldId id="905" r:id="rId68"/>
    <p:sldId id="906" r:id="rId69"/>
    <p:sldId id="871" r:id="rId70"/>
    <p:sldId id="872" r:id="rId71"/>
    <p:sldId id="908" r:id="rId72"/>
    <p:sldId id="912" r:id="rId73"/>
    <p:sldId id="913" r:id="rId74"/>
    <p:sldId id="915" r:id="rId75"/>
    <p:sldId id="879" r:id="rId76"/>
    <p:sldId id="880" r:id="rId77"/>
    <p:sldId id="881" r:id="rId78"/>
    <p:sldId id="882" r:id="rId79"/>
    <p:sldId id="883" r:id="rId80"/>
    <p:sldId id="885" r:id="rId81"/>
    <p:sldId id="886" r:id="rId82"/>
    <p:sldId id="677" r:id="rId83"/>
    <p:sldId id="916" r:id="rId84"/>
  </p:sldIdLst>
  <p:sldSz cx="12192000" cy="6858000"/>
  <p:notesSz cx="6858000" cy="9144000"/>
  <p:defaultTextStyle>
    <a:defPPr>
      <a:defRPr lang="en-US"/>
    </a:defPPr>
    <a:lvl1pPr algn="l" defTabSz="60930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609307" algn="l" defTabSz="60930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1218626" algn="l" defTabSz="60930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827936" algn="l" defTabSz="60930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2437250" algn="l" defTabSz="609307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3046551" algn="l" defTabSz="609307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3655863" algn="l" defTabSz="609307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4265172" algn="l" defTabSz="609307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4874481" algn="l" defTabSz="609307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Nexus 9K Portolio" id="{51A00690-4A6A-4849-98FE-23389CD4F56E}">
          <p14:sldIdLst>
            <p14:sldId id="816"/>
            <p14:sldId id="822"/>
            <p14:sldId id="827"/>
            <p14:sldId id="890"/>
            <p14:sldId id="823"/>
            <p14:sldId id="821"/>
            <p14:sldId id="892"/>
            <p14:sldId id="824"/>
            <p14:sldId id="848"/>
            <p14:sldId id="849"/>
            <p14:sldId id="842"/>
            <p14:sldId id="847"/>
            <p14:sldId id="893"/>
            <p14:sldId id="825"/>
            <p14:sldId id="851"/>
            <p14:sldId id="852"/>
            <p14:sldId id="850"/>
            <p14:sldId id="837"/>
            <p14:sldId id="894"/>
            <p14:sldId id="895"/>
            <p14:sldId id="834"/>
            <p14:sldId id="838"/>
            <p14:sldId id="841"/>
            <p14:sldId id="844"/>
            <p14:sldId id="845"/>
            <p14:sldId id="846"/>
            <p14:sldId id="826"/>
            <p14:sldId id="853"/>
            <p14:sldId id="854"/>
            <p14:sldId id="896"/>
            <p14:sldId id="897"/>
            <p14:sldId id="898"/>
            <p14:sldId id="899"/>
            <p14:sldId id="900"/>
            <p14:sldId id="901"/>
            <p14:sldId id="902"/>
            <p14:sldId id="904"/>
            <p14:sldId id="905"/>
            <p14:sldId id="906"/>
            <p14:sldId id="871"/>
            <p14:sldId id="872"/>
            <p14:sldId id="908"/>
            <p14:sldId id="912"/>
            <p14:sldId id="913"/>
            <p14:sldId id="915"/>
            <p14:sldId id="879"/>
            <p14:sldId id="880"/>
            <p14:sldId id="881"/>
            <p14:sldId id="882"/>
            <p14:sldId id="883"/>
            <p14:sldId id="885"/>
            <p14:sldId id="886"/>
            <p14:sldId id="677"/>
            <p14:sldId id="91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 showAnimation="0"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6600"/>
    <a:srgbClr val="357ECF"/>
    <a:srgbClr val="C25D1A"/>
    <a:srgbClr val="CB6623"/>
    <a:srgbClr val="57B74E"/>
    <a:srgbClr val="FFFFFF"/>
    <a:srgbClr val="C2C2C2"/>
    <a:srgbClr val="A6A6A6"/>
    <a:srgbClr val="488B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490" autoAdjust="0"/>
    <p:restoredTop sz="93015" autoAdjust="0"/>
  </p:normalViewPr>
  <p:slideViewPr>
    <p:cSldViewPr snapToGrid="0" snapToObjects="1">
      <p:cViewPr varScale="1">
        <p:scale>
          <a:sx n="107" d="100"/>
          <a:sy n="107" d="100"/>
        </p:scale>
        <p:origin x="606" y="10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34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9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50" Type="http://schemas.openxmlformats.org/officeDocument/2006/relationships/slide" Target="slides/slide20.xml"/><Relationship Id="rId55" Type="http://schemas.openxmlformats.org/officeDocument/2006/relationships/slide" Target="slides/slide25.xml"/><Relationship Id="rId63" Type="http://schemas.openxmlformats.org/officeDocument/2006/relationships/slide" Target="slides/slide33.xml"/><Relationship Id="rId68" Type="http://schemas.openxmlformats.org/officeDocument/2006/relationships/slide" Target="slides/slide38.xml"/><Relationship Id="rId76" Type="http://schemas.openxmlformats.org/officeDocument/2006/relationships/slide" Target="slides/slide46.xml"/><Relationship Id="rId84" Type="http://schemas.openxmlformats.org/officeDocument/2006/relationships/slide" Target="slides/slide54.xml"/><Relationship Id="rId89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slide" Target="slides/slide23.xml"/><Relationship Id="rId58" Type="http://schemas.openxmlformats.org/officeDocument/2006/relationships/slide" Target="slides/slide28.xml"/><Relationship Id="rId66" Type="http://schemas.openxmlformats.org/officeDocument/2006/relationships/slide" Target="slides/slide36.xml"/><Relationship Id="rId74" Type="http://schemas.openxmlformats.org/officeDocument/2006/relationships/slide" Target="slides/slide44.xml"/><Relationship Id="rId79" Type="http://schemas.openxmlformats.org/officeDocument/2006/relationships/slide" Target="slides/slide49.xml"/><Relationship Id="rId87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1.xml"/><Relationship Id="rId82" Type="http://schemas.openxmlformats.org/officeDocument/2006/relationships/slide" Target="slides/slide52.xml"/><Relationship Id="rId90" Type="http://schemas.openxmlformats.org/officeDocument/2006/relationships/tableStyles" Target="tableStyles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slide" Target="slides/slide26.xml"/><Relationship Id="rId64" Type="http://schemas.openxmlformats.org/officeDocument/2006/relationships/slide" Target="slides/slide34.xml"/><Relationship Id="rId69" Type="http://schemas.openxmlformats.org/officeDocument/2006/relationships/slide" Target="slides/slide39.xml"/><Relationship Id="rId77" Type="http://schemas.openxmlformats.org/officeDocument/2006/relationships/slide" Target="slides/slide4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1.xml"/><Relationship Id="rId72" Type="http://schemas.openxmlformats.org/officeDocument/2006/relationships/slide" Target="slides/slide42.xml"/><Relationship Id="rId80" Type="http://schemas.openxmlformats.org/officeDocument/2006/relationships/slide" Target="slides/slide50.xml"/><Relationship Id="rId85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59" Type="http://schemas.openxmlformats.org/officeDocument/2006/relationships/slide" Target="slides/slide29.xml"/><Relationship Id="rId67" Type="http://schemas.openxmlformats.org/officeDocument/2006/relationships/slide" Target="slides/slide37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1.xml"/><Relationship Id="rId54" Type="http://schemas.openxmlformats.org/officeDocument/2006/relationships/slide" Target="slides/slide24.xml"/><Relationship Id="rId62" Type="http://schemas.openxmlformats.org/officeDocument/2006/relationships/slide" Target="slides/slide32.xml"/><Relationship Id="rId70" Type="http://schemas.openxmlformats.org/officeDocument/2006/relationships/slide" Target="slides/slide40.xml"/><Relationship Id="rId75" Type="http://schemas.openxmlformats.org/officeDocument/2006/relationships/slide" Target="slides/slide45.xml"/><Relationship Id="rId83" Type="http://schemas.openxmlformats.org/officeDocument/2006/relationships/slide" Target="slides/slide53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6.xml"/><Relationship Id="rId49" Type="http://schemas.openxmlformats.org/officeDocument/2006/relationships/slide" Target="slides/slide19.xml"/><Relationship Id="rId57" Type="http://schemas.openxmlformats.org/officeDocument/2006/relationships/slide" Target="slides/slide2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slide" Target="slides/slide22.xml"/><Relationship Id="rId60" Type="http://schemas.openxmlformats.org/officeDocument/2006/relationships/slide" Target="slides/slide30.xml"/><Relationship Id="rId65" Type="http://schemas.openxmlformats.org/officeDocument/2006/relationships/slide" Target="slides/slide35.xml"/><Relationship Id="rId73" Type="http://schemas.openxmlformats.org/officeDocument/2006/relationships/slide" Target="slides/slide43.xml"/><Relationship Id="rId78" Type="http://schemas.openxmlformats.org/officeDocument/2006/relationships/slide" Target="slides/slide48.xml"/><Relationship Id="rId81" Type="http://schemas.openxmlformats.org/officeDocument/2006/relationships/slide" Target="slides/slide51.xml"/><Relationship Id="rId86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DF391E-9033-1448-8132-CFBC683FCD95}" type="datetimeFigureOut">
              <a:rPr lang="en-US" smtClean="0"/>
              <a:t>1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0414B1-61C8-E447-95EC-93BB2CC535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0168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BD78A-1E4C-C34D-A2DF-99458ABA2A34}" type="datetimeFigureOut">
              <a:rPr lang="en-US" smtClean="0"/>
              <a:t>1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29B62-3B94-FE43-B9B8-D4C94DD5BF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51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323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656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7981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310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6626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5955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5279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4603" algn="l" defTabSz="609323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8237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4834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1629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>
                <a:solidFill>
                  <a:srgbClr val="000000"/>
                </a:solidFill>
                <a:latin typeface="CiscoSansTT ExtraLight"/>
              </a:rPr>
              <a:pPr/>
              <a:t>44</a:t>
            </a:fld>
            <a:endParaRPr lang="en-US">
              <a:solidFill>
                <a:srgbClr val="000000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713318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FBBFF4-3870-4421-A2C2-2AEF7218825D}" type="slidenum">
              <a:rPr lang="en-US" smtClean="0">
                <a:solidFill>
                  <a:prstClr val="black"/>
                </a:solidFill>
              </a:rPr>
              <a:pPr/>
              <a:t>5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fld id="{133744E5-5E16-4CAD-9169-683E38E5D99B}" type="datetime1">
              <a:rPr lang="en-US" smtClean="0">
                <a:solidFill>
                  <a:prstClr val="black"/>
                </a:solidFill>
              </a:rPr>
              <a:pPr/>
              <a:t>1/1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Cisco Live 2014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8081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7352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2771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181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167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0052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9713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8654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4213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2CA977-E1D8-4980-A1BB-3647E7DEA6DA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6221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029B62-3B94-FE43-B9B8-D4C94DD5BF1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859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0.tiff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tiff"/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4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5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5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5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6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6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6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6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6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7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7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7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7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8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8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8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8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0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0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0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0.xml"/></Relationships>
</file>

<file path=ppt/slideLayouts/_rels/slideLayout7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20.tiff"/><Relationship Id="rId1" Type="http://schemas.openxmlformats.org/officeDocument/2006/relationships/slideMaster" Target="../slideMasters/slideMaster20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1.tiff"/><Relationship Id="rId1" Type="http://schemas.openxmlformats.org/officeDocument/2006/relationships/slideMaster" Target="../slideMasters/slideMaster20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0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0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1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1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1.xml"/></Relationships>
</file>

<file path=ppt/slideLayouts/_rels/slideLayout7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1.xml"/></Relationships>
</file>

<file path=ppt/slideLayouts/_rels/slideLayout7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1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1.xml"/></Relationships>
</file>

<file path=ppt/slideLayouts/_rels/slideLayout7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1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1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2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2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2.xml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2.xml"/></Relationships>
</file>

<file path=ppt/slideLayouts/_rels/slideLayout7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2.xml"/></Relationships>
</file>

<file path=ppt/slideLayouts/_rels/slideLayout7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2.xml"/></Relationships>
</file>

<file path=ppt/slideLayouts/_rels/slideLayout7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2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2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3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3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3.xml"/></Relationships>
</file>

<file path=ppt/slideLayouts/_rels/slideLayout8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3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3.xml"/></Relationships>
</file>

<file path=ppt/slideLayouts/_rels/slideLayout8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3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3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3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5.png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4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4.xml"/></Relationships>
</file>

<file path=ppt/slideLayouts/_rels/slideLayout8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4.xml"/></Relationships>
</file>

<file path=ppt/slideLayouts/_rels/slideLayout8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4.xml"/></Relationships>
</file>

<file path=ppt/slideLayouts/_rels/slideLayout8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4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4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4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4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4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5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5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5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5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5.xml"/></Relationships>
</file>

<file path=ppt/slideLayouts/_rels/slideLayout8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5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5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5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6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6.xml"/></Relationships>
</file>

<file path=ppt/slideLayouts/_rels/slideLayout8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6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6.xml"/></Relationships>
</file>

<file path=ppt/slideLayouts/_rels/slideLayout8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6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6.xml"/></Relationships>
</file>

<file path=ppt/slideLayouts/_rels/slideLayout89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6.xml"/></Relationships>
</file>

<file path=ppt/slideLayouts/_rels/slideLayout8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6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6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7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7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7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7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7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7.xml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27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iscolive.com/online" TargetMode="External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27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31.png"/><Relationship Id="rId4" Type="http://schemas.openxmlformats.org/officeDocument/2006/relationships/image" Target="../media/image39.png"/></Relationships>
</file>

<file path=ppt/slideLayouts/_rels/slideLayout9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7.xml"/><Relationship Id="rId5" Type="http://schemas.openxmlformats.org/officeDocument/2006/relationships/image" Target="../media/image40.png"/><Relationship Id="rId4" Type="http://schemas.openxmlformats.org/officeDocument/2006/relationships/image" Target="../media/image31.png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14.xml"/><Relationship Id="rId5" Type="http://schemas.openxmlformats.org/officeDocument/2006/relationships/image" Target="../media/image44.jpeg"/><Relationship Id="rId4" Type="http://schemas.microsoft.com/office/2007/relationships/hdphoto" Target="../media/hdphoto2.wdp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slideMaster" Target="../slideMasters/slideMaster28.xml"/><Relationship Id="rId1" Type="http://schemas.openxmlformats.org/officeDocument/2006/relationships/tags" Target="../tags/tag15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9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9.xml"/></Relationships>
</file>

<file path=ppt/slideLayouts/_rels/slideLayout9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9.xml"/><Relationship Id="rId4" Type="http://schemas.openxmlformats.org/officeDocument/2006/relationships/image" Target="../media/image40.png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Master" Target="../slideMasters/slideMaster29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9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0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30.xml"/></Relationships>
</file>

<file path=ppt/slideLayouts/_rels/slideLayout9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0.xml"/><Relationship Id="rId4" Type="http://schemas.openxmlformats.org/officeDocument/2006/relationships/image" Target="../media/image40.png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slideMaster" Target="../slideMasters/slideMaster30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9" y="5057618"/>
            <a:ext cx="11061895" cy="384175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9" y="5377614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9" y="5697610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7" y="4281951"/>
            <a:ext cx="11070167" cy="398668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67" indent="0">
              <a:buNone/>
              <a:defRPr/>
            </a:lvl2pPr>
            <a:lvl3pPr marL="569570" indent="0">
              <a:buNone/>
              <a:defRPr/>
            </a:lvl3pPr>
            <a:lvl4pPr marL="688565" indent="0">
              <a:buNone/>
              <a:defRPr/>
            </a:lvl4pPr>
            <a:lvl5pPr marL="8012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9811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435953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09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1" tIns="41042" rIns="82081" bIns="41042" anchor="b">
            <a:spAutoFit/>
          </a:bodyPr>
          <a:lstStyle/>
          <a:p>
            <a:pPr algn="r" defTabSz="81398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8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38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1" tIns="41042" rIns="82081" bIns="41042" anchor="b">
            <a:spAutoFit/>
          </a:bodyPr>
          <a:lstStyle/>
          <a:p>
            <a:pPr defTabSz="81398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3" tIns="41042" rIns="82083" bIns="41042" anchor="b">
            <a:spAutoFit/>
          </a:bodyPr>
          <a:lstStyle/>
          <a:p>
            <a:pPr algn="r" defTabSz="81402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02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3" tIns="41042" rIns="82083" bIns="41042" anchor="b">
            <a:spAutoFit/>
          </a:bodyPr>
          <a:lstStyle/>
          <a:p>
            <a:pPr defTabSz="8140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5591738"/>
      </p:ext>
    </p:extLst>
  </p:cSld>
  <p:clrMapOvr>
    <a:masterClrMapping/>
  </p:clrMapOvr>
  <p:transition spd="med">
    <p:fade/>
  </p:transition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2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3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4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5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6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8944" y="1446758"/>
            <a:ext cx="5239006" cy="4954044"/>
          </a:xfrm>
        </p:spPr>
        <p:txBody>
          <a:bodyPr rIns="121685"/>
          <a:lstStyle>
            <a:lvl1pPr>
              <a:spcBef>
                <a:spcPts val="1600"/>
              </a:spcBef>
              <a:buClr>
                <a:srgbClr val="168ACB"/>
              </a:buClr>
              <a:defRPr sz="24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21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9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6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228521" y="1446759"/>
            <a:ext cx="4911771" cy="5016500"/>
          </a:xfrm>
        </p:spPr>
        <p:txBody>
          <a:bodyPr rIns="121685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tIns="45698" rIns="91392" bIns="45698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tIns="45698" rIns="91392" bIns="45698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575586"/>
      </p:ext>
    </p:extLst>
  </p:cSld>
  <p:clrMapOvr>
    <a:masterClrMapping/>
  </p:clrMapOvr>
  <p:transition spd="med">
    <p:fade/>
  </p:transition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7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8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9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0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1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08"/>
            <a:ext cx="511213" cy="366183"/>
          </a:xfrm>
          <a:prstGeom prst="rect">
            <a:avLst/>
          </a:prstGeom>
        </p:spPr>
        <p:txBody>
          <a:bodyPr vert="horz" lIns="121781" tIns="60891" rIns="121781" bIns="60891" rtlCol="0" anchor="ctr"/>
          <a:lstStyle>
            <a:lvl1pPr marL="0" algn="ctr" defTabSz="61012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74411" indent="-2982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44349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7614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224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8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74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43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8851153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5" y="1194135"/>
            <a:ext cx="11198319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7614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224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8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74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43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79500087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283081" indent="-522982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8198001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74411" indent="-2982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76285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2" y="1797051"/>
            <a:ext cx="5201497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1755698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3"/>
            <a:ext cx="4954660" cy="1101929"/>
          </a:xfrm>
          <a:prstGeom prst="rect">
            <a:avLst/>
          </a:prstGeom>
        </p:spPr>
        <p:txBody>
          <a:bodyPr lIns="82249" tIns="45698" rIns="82249" bIns="45698" rtlCol="0">
            <a:noAutofit/>
          </a:bodyPr>
          <a:lstStyle>
            <a:lvl1pPr algn="l" defTabSz="91390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851590"/>
      </p:ext>
    </p:extLst>
  </p:cSld>
  <p:clrMapOvr>
    <a:masterClrMapping/>
  </p:clrMapOvr>
  <p:transition spd="med">
    <p:fade/>
  </p:transition>
  <p:hf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1" y="304440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6" y="303800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3" y="293986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49107366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8"/>
            <a:ext cx="4954660" cy="1101929"/>
          </a:xfrm>
          <a:prstGeom prst="rect">
            <a:avLst/>
          </a:prstGeom>
        </p:spPr>
        <p:txBody>
          <a:bodyPr lIns="82241" tIns="45698" rIns="82241" bIns="45698" rtlCol="0">
            <a:noAutofit/>
          </a:bodyPr>
          <a:lstStyle>
            <a:lvl1pPr algn="l" defTabSz="91381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248574"/>
      </p:ext>
    </p:extLst>
  </p:cSld>
  <p:clrMapOvr>
    <a:masterClrMapping/>
  </p:clrMapOvr>
  <p:transition spd="med">
    <p:fade/>
  </p:transition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5" tIns="60922" rIns="121845" bIns="6092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114245" indent="-114245" algn="l" defTabSz="913905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0" y="4736592"/>
            <a:ext cx="4674993" cy="338328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2" y="1797051"/>
            <a:ext cx="5201497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483793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68659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marL="0" indent="0" algn="l" defTabSz="80442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95" indent="-533064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901007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58"/>
            <a:ext cx="5093797" cy="3020519"/>
          </a:xfrm>
        </p:spPr>
        <p:txBody>
          <a:bodyPr lIns="82253" tIns="45702" rIns="82253" bIns="45702" rtlCol="0" anchor="ctr">
            <a:noAutofit/>
          </a:bodyPr>
          <a:lstStyle>
            <a:lvl1pPr marL="0" indent="0" algn="l" defTabSz="9139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44329731"/>
      </p:ext>
    </p:extLst>
  </p:cSld>
  <p:clrMapOvr>
    <a:masterClrMapping/>
  </p:clrMapOvr>
  <p:transition spd="slow">
    <p:wip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6"/>
            <a:ext cx="9573749" cy="434977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algn="l" defTabSz="8044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207988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6"/>
            <a:ext cx="9573749" cy="434977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algn="l" defTabSz="8044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3554943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1"/>
            <a:ext cx="5431128" cy="4052529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260693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3944581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38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2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2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6292160"/>
      </p:ext>
    </p:extLst>
  </p:cSld>
  <p:clrMapOvr>
    <a:masterClrMapping/>
  </p:clrMapOvr>
  <p:transition spd="slow">
    <p:wip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0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3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0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4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4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2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496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276096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6" y="30444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2" y="30380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8" y="293992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82806600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16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38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43" tIns="0" rIns="121872" bIns="60936" numCol="1" anchor="ctr" anchorCtr="0" compatLnSpc="1">
            <a:prstTxWarp prst="textNoShape">
              <a:avLst/>
            </a:prstTxWarp>
            <a:spAutoFit/>
          </a:bodyPr>
          <a:lstStyle>
            <a:lvl1pPr marL="230305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1413293"/>
      </p:ext>
    </p:extLst>
  </p:cSld>
  <p:clrMapOvr>
    <a:masterClrMapping/>
  </p:clrMapOvr>
  <p:transition spd="slow">
    <p:wip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4"/>
            <a:ext cx="11417563" cy="3389567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72" tIns="60936" rIns="121872" bIns="60936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73723166"/>
      </p:ext>
    </p:extLst>
  </p:cSld>
  <p:clrMapOvr>
    <a:masterClrMapping/>
  </p:clrMapOvr>
  <p:transition spd="slow">
    <p:wip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16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748300"/>
      </p:ext>
    </p:extLst>
  </p:cSld>
  <p:clrMapOvr>
    <a:masterClrMapping/>
  </p:clrMapOvr>
  <p:transition spd="slow">
    <p:wip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50" tIns="60925" rIns="121850" bIns="6092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54528071"/>
      </p:ext>
    </p:extLst>
  </p:cSld>
  <p:clrMapOvr>
    <a:masterClrMapping/>
  </p:clrMapOvr>
  <p:transition spd="slow">
    <p:wip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50" tIns="60925" rIns="121850" bIns="6092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2800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5" y="311166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00" tIns="45702" rIns="91400" bIns="45702" rtlCol="0" anchor="ctr" anchorCtr="0">
            <a:normAutofit/>
          </a:bodyPr>
          <a:lstStyle>
            <a:lvl1pPr marL="0" indent="0" algn="ctr" defTabSz="91398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94" y="3307606"/>
            <a:ext cx="8973153" cy="2152559"/>
          </a:xfrm>
        </p:spPr>
        <p:txBody>
          <a:bodyPr>
            <a:noAutofit/>
          </a:bodyPr>
          <a:lstStyle>
            <a:lvl1pPr marL="0" marR="0" indent="0" algn="l" defTabSz="91398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1601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50" tIns="60925" rIns="121850" bIns="6092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94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029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66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66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1" y="3028966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66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3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3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379573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425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2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96" tIns="45702" rIns="91396" bIns="45702" rtlCol="0" anchor="ctr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09781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4" tIns="60917" rIns="121834" bIns="60917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114234" indent="-114234" algn="l" defTabSz="91381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6" y="4736592"/>
            <a:ext cx="4674993" cy="338328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402027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96" tIns="45702" rIns="91396" bIns="45702" rtlCol="0" anchor="ctr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5381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1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32845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62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906" tIns="60953" rIns="121906" bIns="60953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906" tIns="60953" rIns="121906" bIns="60953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47"/>
            <a:ext cx="511213" cy="366183"/>
          </a:xfrm>
          <a:prstGeom prst="rect">
            <a:avLst/>
          </a:prstGeom>
        </p:spPr>
        <p:txBody>
          <a:bodyPr vert="horz" lIns="121896" tIns="60948" rIns="121896" bIns="60948" rtlCol="0" anchor="ctr"/>
          <a:lstStyle>
            <a:lvl1pPr marL="0" algn="ctr" defTabSz="61066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12789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88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6308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303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234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57" y="4279398"/>
            <a:ext cx="6246489" cy="384175"/>
          </a:xfrm>
          <a:prstGeom prst="rect">
            <a:avLst/>
          </a:prstGeom>
        </p:spPr>
        <p:txBody>
          <a:bodyPr vert="horz" lIns="91444" tIns="45726" rIns="91444" bIns="45726" rtlCol="0">
            <a:noAutofit/>
          </a:bodyPr>
          <a:lstStyle>
            <a:lvl1pPr marL="0" indent="0" algn="l" defTabSz="9144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4" tIns="45726" rIns="91444" bIns="45726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37" y="3282701"/>
            <a:ext cx="6283409" cy="1022351"/>
          </a:xfrm>
        </p:spPr>
        <p:txBody>
          <a:bodyPr vert="horz" lIns="82299" tIns="45726" rIns="82299" bIns="45726" rtlCol="0" anchor="b" anchorCtr="0">
            <a:noAutofit/>
          </a:bodyPr>
          <a:lstStyle>
            <a:lvl1pPr marL="0" indent="0" algn="l" defTabSz="9144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4" tIns="45726" rIns="91444" bIns="45726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7171" y="1917701"/>
            <a:ext cx="3568700" cy="2889251"/>
          </a:xfrm>
          <a:prstGeom prst="rect">
            <a:avLst/>
          </a:prstGeom>
        </p:spPr>
        <p:txBody>
          <a:bodyPr lIns="121909" tIns="60954" rIns="121909" bIns="60954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5180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0" tIns="45722" rIns="91440" bIns="45722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0" tIns="45722" rIns="91440" bIns="45722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62101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92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50145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007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60485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89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5" y="1600205"/>
            <a:ext cx="11546635" cy="4525433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80962" marR="0" indent="-380962" algn="ctr" defTabSz="6095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2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74613" indent="-29841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266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85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846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423" indent="-22434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5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04768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39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118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93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7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04768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39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118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93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7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92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111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4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984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4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28912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7472" y="1639737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61632" y="1747689"/>
            <a:ext cx="4315968" cy="244000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114300" indent="-114300" algn="l" defTabSz="91439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6401" y="4736592"/>
            <a:ext cx="4434761" cy="338328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111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423" indent="-25397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316635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50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145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48" y="403341"/>
            <a:ext cx="5340096" cy="838200"/>
          </a:xfrm>
          <a:prstGeom prst="rect">
            <a:avLst/>
          </a:prstGeom>
        </p:spPr>
        <p:txBody>
          <a:bodyPr vert="horz" lIns="82295" tIns="45722" rIns="82295" bIns="45722" rtlCol="0" anchor="t" anchorCtr="0">
            <a:noAutofit/>
          </a:bodyPr>
          <a:lstStyle>
            <a:lvl1pPr algn="l" defTabSz="91439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85" y="1600200"/>
            <a:ext cx="5340096" cy="4526280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95" indent="-22860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5184" y="1600200"/>
            <a:ext cx="5340096" cy="4526280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95" indent="-22860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9905" y="403341"/>
            <a:ext cx="5340096" cy="841248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14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88" y="100584"/>
            <a:ext cx="3557943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4537" y="100584"/>
            <a:ext cx="3466479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2937" y="100584"/>
            <a:ext cx="3512211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88" y="1602098"/>
            <a:ext cx="3557943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984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580" indent="-25397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809" indent="-22222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311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2937" y="1578597"/>
            <a:ext cx="3512211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28609" indent="-22860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952" indent="-28797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404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311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4537" y="1602098"/>
            <a:ext cx="3466479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28609" indent="-22860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271" indent="-23492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426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770" indent="-22434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2100" y="812805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9900" y="812805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8969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352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4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marL="0" indent="0" algn="l" defTabSz="8043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71" indent="-53301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598241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64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20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40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6369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31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353" y="1918746"/>
            <a:ext cx="5489928" cy="3020519"/>
          </a:xfrm>
        </p:spPr>
        <p:txBody>
          <a:bodyPr vert="horz" lIns="82299" tIns="45726" rIns="82299" bIns="45726" rtlCol="0" anchor="ctr" anchorCtr="0">
            <a:noAutofit/>
          </a:bodyPr>
          <a:lstStyle>
            <a:lvl1pPr marL="0" indent="0" algn="l" defTabSz="9144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93792" cy="5120640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41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62232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81" y="403228"/>
            <a:ext cx="1150843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847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486956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9" y="1583269"/>
            <a:ext cx="11267015" cy="405765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83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50940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69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6076" y="403228"/>
            <a:ext cx="11487920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27" y="6572042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5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16332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3"/>
            <a:ext cx="5093797" cy="3020519"/>
          </a:xfrm>
        </p:spPr>
        <p:txBody>
          <a:bodyPr lIns="82245" tIns="45702" rIns="82245" bIns="45702" rtlCol="0" anchor="ctr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11600592"/>
      </p:ext>
    </p:extLst>
  </p:cSld>
  <p:clrMapOvr>
    <a:masterClrMapping/>
  </p:clrMapOvr>
  <p:transition spd="slow">
    <p:wip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6077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2" y="1559096"/>
            <a:ext cx="5355167" cy="4292600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26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2" y="1559096"/>
            <a:ext cx="5355167" cy="4292600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905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04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621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91" y="1559096"/>
            <a:ext cx="5353556" cy="4295015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614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844" y="3066687"/>
            <a:ext cx="3289789" cy="861775"/>
          </a:xfrm>
          <a:prstGeom prst="rect">
            <a:avLst/>
          </a:prstGeom>
          <a:noFill/>
        </p:spPr>
        <p:txBody>
          <a:bodyPr wrap="none" lIns="121909" tIns="60954" rIns="121909" bIns="60954" rtlCol="0">
            <a:spAutoFit/>
          </a:bodyPr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  <a:ea typeface="+mn-ea"/>
                <a:cs typeface="+mn-cs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1656" y="3801569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7460" y="378690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30780" y="378690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900368" y="3786905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7831" y="3786905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21615" y="2966680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2027" y="2763672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5214" y="2484528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5626" y="2763669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7417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7833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71011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81427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8164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3" y="5057613"/>
            <a:ext cx="11061895" cy="384175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3" y="5377609"/>
            <a:ext cx="11061895" cy="384175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3" y="5697605"/>
            <a:ext cx="11061895" cy="384175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1" y="4281951"/>
            <a:ext cx="11070167" cy="398668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207" indent="0">
              <a:buNone/>
              <a:defRPr/>
            </a:lvl2pPr>
            <a:lvl3pPr marL="569626" indent="0">
              <a:buNone/>
              <a:defRPr/>
            </a:lvl3pPr>
            <a:lvl4pPr marL="688635" indent="0">
              <a:buNone/>
              <a:defRPr/>
            </a:lvl4pPr>
            <a:lvl5pPr marL="80128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5562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6" tIns="45702" rIns="91396" bIns="45702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6" tIns="45702" rIns="91396" bIns="45702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68" y="4279415"/>
            <a:ext cx="6246489" cy="384175"/>
          </a:xfrm>
          <a:prstGeom prst="rect">
            <a:avLst/>
          </a:prstGeom>
        </p:spPr>
        <p:txBody>
          <a:bodyPr vert="horz" lIns="91396" tIns="45702" rIns="91396" bIns="45702" rtlCol="0">
            <a:noAutofit/>
          </a:bodyPr>
          <a:lstStyle>
            <a:lvl1pPr marL="0" indent="0" algn="l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14" y="3282704"/>
            <a:ext cx="6283409" cy="1022351"/>
          </a:xfrm>
        </p:spPr>
        <p:txBody>
          <a:bodyPr lIns="82253" tIns="45702" rIns="82253" bIns="45702" rtlCol="0" anchor="b">
            <a:noAutofit/>
          </a:bodyPr>
          <a:lstStyle>
            <a:lvl1pPr marL="0" indent="0" algn="l" defTabSz="9139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45" tIns="60922" rIns="121845" bIns="60922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2180540"/>
      </p:ext>
    </p:extLst>
  </p:cSld>
  <p:clrMapOvr>
    <a:masterClrMapping/>
  </p:clrMapOvr>
  <p:transition spd="slow">
    <p:wip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09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1" tIns="41042" rIns="82081" bIns="41042" anchor="b">
            <a:spAutoFit/>
          </a:bodyPr>
          <a:lstStyle/>
          <a:p>
            <a:pPr algn="r" defTabSz="81398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8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38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1" tIns="41042" rIns="82081" bIns="41042" anchor="b">
            <a:spAutoFit/>
          </a:bodyPr>
          <a:lstStyle/>
          <a:p>
            <a:pPr defTabSz="81398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3" tIns="41042" rIns="82083" bIns="41042" anchor="b">
            <a:spAutoFit/>
          </a:bodyPr>
          <a:lstStyle/>
          <a:p>
            <a:pPr algn="r" defTabSz="81402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02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3" tIns="41042" rIns="82083" bIns="41042" anchor="b">
            <a:spAutoFit/>
          </a:bodyPr>
          <a:lstStyle/>
          <a:p>
            <a:pPr defTabSz="8140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648599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tIns="45698" rIns="91392" bIns="45698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2" tIns="45698" rIns="91392" bIns="45698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468067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74411" indent="-2982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435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7614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224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8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74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43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1637802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773045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5" y="1194135"/>
            <a:ext cx="11198319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7614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224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8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74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43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666575642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283081" indent="-522982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69347615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74411" indent="-29826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910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326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198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655" indent="-22422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82811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2" y="1797051"/>
            <a:ext cx="5201497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9827254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3"/>
            <a:ext cx="4954660" cy="1101929"/>
          </a:xfrm>
          <a:prstGeom prst="rect">
            <a:avLst/>
          </a:prstGeom>
        </p:spPr>
        <p:txBody>
          <a:bodyPr lIns="82249" tIns="45698" rIns="82249" bIns="45698" rtlCol="0">
            <a:noAutofit/>
          </a:bodyPr>
          <a:lstStyle>
            <a:lvl1pPr algn="l" defTabSz="91390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625443"/>
      </p:ext>
    </p:extLst>
  </p:cSld>
  <p:clrMapOvr>
    <a:masterClrMapping/>
  </p:clrMapOvr>
  <p:transition spd="med">
    <p:fade/>
  </p:transition>
  <p:hf hdr="0" ft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1" y="304440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6" y="303800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3" y="293986"/>
            <a:ext cx="3116145" cy="1027281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marR="0" indent="0" algn="l" defTabSz="91390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10959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636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16002258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5" tIns="60922" rIns="121845" bIns="6092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114245" indent="-114245" algn="l" defTabSz="913905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45" indent="-114245" algn="l" defTabSz="91390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0" y="4736592"/>
            <a:ext cx="4674993" cy="338328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2" y="1797051"/>
            <a:ext cx="5201497" cy="4110792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304611" indent="-22845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211" indent="-2876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674" indent="-22845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127" indent="-22845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581" indent="-22845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3687700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72446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marL="0" indent="0" algn="l" defTabSz="80442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95" indent="-533064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76068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58"/>
            <a:ext cx="5093797" cy="3020519"/>
          </a:xfrm>
        </p:spPr>
        <p:txBody>
          <a:bodyPr lIns="82253" tIns="45702" rIns="82253" bIns="45702" rtlCol="0" anchor="ctr">
            <a:noAutofit/>
          </a:bodyPr>
          <a:lstStyle>
            <a:lvl1pPr marL="0" indent="0" algn="l" defTabSz="9139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37841409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147841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45" tIns="60922" rIns="121845" bIns="60922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6"/>
            <a:ext cx="9573749" cy="434977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algn="l" defTabSz="8044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232661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6"/>
            <a:ext cx="9573749" cy="434977"/>
          </a:xfrm>
          <a:prstGeom prst="rect">
            <a:avLst/>
          </a:prstGeom>
        </p:spPr>
        <p:txBody>
          <a:bodyPr wrap="square" lIns="121845" tIns="60922" rIns="121845" bIns="60922" anchor="b" anchorCtr="0">
            <a:noAutofit/>
          </a:bodyPr>
          <a:lstStyle>
            <a:lvl1pPr algn="l" defTabSz="8044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1224009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1"/>
            <a:ext cx="5431128" cy="4052529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6665118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45" tIns="60922" rIns="121845" bIns="6092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2478297"/>
      </p:ext>
    </p:extLst>
  </p:cSld>
  <p:clrMapOvr>
    <a:masterClrMapping/>
  </p:clrMapOvr>
  <p:transition spd="med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rtlCol="0" anchor="ctr"/>
          <a:lstStyle/>
          <a:p>
            <a:pPr algn="ctr" defTabSz="60933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38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2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2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7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45934756"/>
      </p:ext>
    </p:extLst>
  </p:cSld>
  <p:clrMapOvr>
    <a:masterClrMapping/>
  </p:clrMapOvr>
  <p:transition spd="slow">
    <p:wip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0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3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0" tIns="45702" rIns="91400" bIns="45702" anchor="ctr"/>
          <a:lstStyle/>
          <a:p>
            <a:pPr algn="ctr" defTabSz="121868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50" tIns="60925" rIns="121850" bIns="6092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0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4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4"/>
            <a:ext cx="3056181" cy="804881"/>
          </a:xfrm>
          <a:prstGeom prst="rect">
            <a:avLst/>
          </a:prstGeom>
        </p:spPr>
        <p:txBody>
          <a:bodyPr lIns="121845" tIns="60922" rIns="121845" bIns="6092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2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496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04" tIns="45706" rIns="91404" bIns="45706" anchor="ctr"/>
          <a:lstStyle/>
          <a:p>
            <a:pPr algn="ctr" defTabSz="12187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2600273"/>
      </p:ext>
    </p:extLst>
  </p:cSld>
  <p:clrMapOvr>
    <a:masterClrMapping/>
  </p:clrMapOvr>
  <p:transition spd="slow">
    <p:wip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16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38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43" tIns="0" rIns="121872" bIns="60936" numCol="1" anchor="ctr" anchorCtr="0" compatLnSpc="1">
            <a:prstTxWarp prst="textNoShape">
              <a:avLst/>
            </a:prstTxWarp>
            <a:spAutoFit/>
          </a:bodyPr>
          <a:lstStyle>
            <a:lvl1pPr marL="230305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061900114"/>
      </p:ext>
    </p:extLst>
  </p:cSld>
  <p:clrMapOvr>
    <a:masterClrMapping/>
  </p:clrMapOvr>
  <p:transition spd="slow">
    <p:wip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4"/>
            <a:ext cx="11417563" cy="3389567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72" tIns="60936" rIns="121872" bIns="60936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47026588"/>
      </p:ext>
    </p:extLst>
  </p:cSld>
  <p:clrMapOvr>
    <a:masterClrMapping/>
  </p:clrMapOvr>
  <p:transition spd="slow">
    <p:wip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16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45" tIns="60922" rIns="121845" bIns="6092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66806060"/>
      </p:ext>
    </p:extLst>
  </p:cSld>
  <p:clrMapOvr>
    <a:masterClrMapping/>
  </p:clrMapOvr>
  <p:transition spd="slow">
    <p:wip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50" tIns="60925" rIns="121850" bIns="6092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1148415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6"/>
            <a:ext cx="5431128" cy="4052529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5345550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50" tIns="60925" rIns="121850" bIns="6092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354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5" y="311166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00" tIns="45702" rIns="91400" bIns="45702" rtlCol="0" anchor="ctr" anchorCtr="0">
            <a:normAutofit/>
          </a:bodyPr>
          <a:lstStyle>
            <a:lvl1pPr marL="0" indent="0" algn="ctr" defTabSz="91398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94" y="3307606"/>
            <a:ext cx="8973153" cy="2152559"/>
          </a:xfrm>
        </p:spPr>
        <p:txBody>
          <a:bodyPr>
            <a:noAutofit/>
          </a:bodyPr>
          <a:lstStyle>
            <a:lvl1pPr marL="0" marR="0" indent="0" algn="l" defTabSz="91398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76511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0" tIns="45702" rIns="91400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50" tIns="60925" rIns="121850" bIns="6092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94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881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66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66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1" y="3028966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66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702" rIns="91396" bIns="45702" anchor="ctr"/>
          <a:lstStyle/>
          <a:p>
            <a:pPr algn="ctr" defTabSz="60933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3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3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96" tIns="45702" rIns="91396" bIns="45702" rtlCol="0" anchor="ctr" anchorCtr="0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770198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14302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2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96" tIns="45702" rIns="91396" bIns="45702" rtlCol="0" anchor="ctr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4646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96" tIns="45702" rIns="91396" bIns="45702" rtlCol="0" anchor="ctr">
            <a:normAutofit/>
          </a:bodyPr>
          <a:lstStyle>
            <a:lvl1pPr marL="0" indent="0" algn="ctr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190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1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750324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662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906" tIns="60953" rIns="121906" bIns="60953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906" tIns="60953" rIns="121906" bIns="60953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47"/>
            <a:ext cx="511213" cy="366183"/>
          </a:xfrm>
          <a:prstGeom prst="rect">
            <a:avLst/>
          </a:prstGeom>
        </p:spPr>
        <p:txBody>
          <a:bodyPr vert="horz" lIns="121896" tIns="60948" rIns="121896" bIns="60948" rtlCol="0" anchor="ctr"/>
          <a:lstStyle>
            <a:lvl1pPr marL="0" algn="ctr" defTabSz="61066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0671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67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70567" y="1437260"/>
            <a:ext cx="11350752" cy="4531783"/>
          </a:xfrm>
          <a:prstGeom prst="rect">
            <a:avLst/>
          </a:prstGeom>
        </p:spPr>
        <p:txBody>
          <a:bodyPr lIns="121733" tIns="60867" rIns="121733" bIns="60867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12945" y="6228662"/>
            <a:ext cx="479555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algn="r">
              <a:defRPr lang="en-US" sz="8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847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 fontAlgn="base">
              <a:spcBef>
                <a:spcPct val="0"/>
              </a:spcBef>
              <a:spcAft>
                <a:spcPct val="0"/>
              </a:spcAft>
            </a:pPr>
            <a:endParaRPr lang="en-US" sz="1900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 fontAlgn="base">
              <a:spcBef>
                <a:spcPct val="0"/>
              </a:spcBef>
              <a:spcAft>
                <a:spcPct val="0"/>
              </a:spcAft>
            </a:pPr>
            <a:endParaRPr lang="en-US" sz="1900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3" y="4279421"/>
            <a:ext cx="6246489" cy="384175"/>
          </a:xfrm>
          <a:prstGeom prst="rect">
            <a:avLst/>
          </a:prstGeom>
        </p:spPr>
        <p:txBody>
          <a:bodyPr vert="horz" lIns="91388" tIns="45702" rIns="91388" bIns="45702" rtlCol="0">
            <a:noAutofit/>
          </a:bodyPr>
          <a:lstStyle>
            <a:lvl1pPr marL="0" indent="0" algn="l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0" y="3282704"/>
            <a:ext cx="6283409" cy="1022351"/>
          </a:xfrm>
        </p:spPr>
        <p:txBody>
          <a:bodyPr lIns="82245" tIns="45702" rIns="82245" bIns="45702" rtlCol="0" anchor="b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4" tIns="60917" rIns="121834" bIns="60917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6853327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6098939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New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49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  <a:prstGeom prst="rect">
            <a:avLst/>
          </a:prstGeo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326490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  <a:prstGeom prst="rect">
            <a:avLst/>
          </a:prstGeo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202466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034272" y="6613447"/>
            <a:ext cx="2286000" cy="228600"/>
          </a:xfrm>
          <a:prstGeom prst="rect">
            <a:avLst/>
          </a:prstGeom>
        </p:spPr>
        <p:txBody>
          <a:bodyPr vert="horz" lIns="91407" tIns="45703" rIns="91407" bIns="45703" rtlCol="0" anchor="ctr"/>
          <a:lstStyle>
            <a:lvl1pPr marL="0" marR="0" indent="0" algn="r" defTabSz="914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tint val="75000"/>
                  </a:schemeClr>
                </a:solidFill>
                <a:latin typeface="CiscoSans ExtraLight" panose="020B0303020201020303" pitchFamily="34" charset="0"/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Cisco Confidential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37193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8" y="5057601"/>
            <a:ext cx="11061895" cy="384175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8" y="5377597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8" y="5697593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6" y="4281951"/>
            <a:ext cx="11070167" cy="398668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345" indent="0">
              <a:buNone/>
              <a:defRPr/>
            </a:lvl2pPr>
            <a:lvl3pPr marL="569826" indent="0">
              <a:buNone/>
              <a:defRPr/>
            </a:lvl3pPr>
            <a:lvl4pPr marL="688873" indent="0">
              <a:buNone/>
              <a:defRPr/>
            </a:lvl4pPr>
            <a:lvl5pPr marL="8015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431037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:\Production\Cisco Projects\C97 Presentation (PPT-PDF)\C97-734842-00\Supporting Files\ZN00500.jpg"/>
          <p:cNvPicPr>
            <a:picLocks noChangeAspect="1" noChangeArrowheads="1"/>
          </p:cNvPicPr>
          <p:nvPr/>
        </p:nvPicPr>
        <p:blipFill>
          <a:blip r:embed="rId2"/>
          <a:srcRect r="18192"/>
          <a:stretch>
            <a:fillRect/>
          </a:stretch>
        </p:blipFill>
        <p:spPr bwMode="auto">
          <a:xfrm>
            <a:off x="5179492" y="0"/>
            <a:ext cx="7012509" cy="6858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5147735" y="0"/>
            <a:ext cx="512838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3" cstate="print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70" y="427569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6" y="4281951"/>
            <a:ext cx="11070167" cy="398668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4D4D4D"/>
                </a:solidFill>
                <a:latin typeface="+mj-lt"/>
              </a:defRPr>
            </a:lvl1pPr>
            <a:lvl2pPr marL="406345" indent="0">
              <a:buNone/>
              <a:defRPr/>
            </a:lvl2pPr>
            <a:lvl3pPr marL="569826" indent="0">
              <a:buNone/>
              <a:defRPr/>
            </a:lvl3pPr>
            <a:lvl4pPr marL="688873" indent="0">
              <a:buNone/>
              <a:defRPr/>
            </a:lvl4pPr>
            <a:lvl5pPr marL="8015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8" y="5057601"/>
            <a:ext cx="11061895" cy="384175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45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8" y="5377597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8" y="5697593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321008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65" y="4279407"/>
            <a:ext cx="6246489" cy="384175"/>
          </a:xfrm>
          <a:prstGeom prst="rect">
            <a:avLst/>
          </a:prstGeom>
        </p:spPr>
        <p:txBody>
          <a:bodyPr vert="horz" lIns="91426" tIns="45714" rIns="91426" bIns="45714" rtlCol="0">
            <a:noAutofit/>
          </a:bodyPr>
          <a:lstStyle>
            <a:lvl1pPr marL="0" indent="0" algn="l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12" y="3282704"/>
            <a:ext cx="6283409" cy="1022351"/>
          </a:xfrm>
        </p:spPr>
        <p:txBody>
          <a:bodyPr lIns="82281" tIns="45714" rIns="82281" bIns="45714" rtlCol="0" anchor="b">
            <a:noAutofit/>
          </a:bodyPr>
          <a:lstStyle>
            <a:lvl1pPr marL="0" indent="0" algn="l" defTabSz="91426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1"/>
            <a:ext cx="3568700" cy="2889251"/>
          </a:xfrm>
          <a:prstGeom prst="rect">
            <a:avLst/>
          </a:prstGeom>
        </p:spPr>
        <p:txBody>
          <a:bodyPr lIns="121885" tIns="60942" rIns="121885" bIns="60942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132178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221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3559" y="6544009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9" tIns="41054" rIns="82109" bIns="41054" anchor="b">
            <a:spAutoFit/>
          </a:bodyPr>
          <a:lstStyle/>
          <a:p>
            <a:pPr algn="r" defTabSz="8142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2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387831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06336" y="6542337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9" tIns="41054" rIns="82109" bIns="41054" anchor="b">
            <a:spAutoFit/>
          </a:bodyPr>
          <a:lstStyle/>
          <a:p>
            <a:pPr defTabSz="814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0820915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4" rIns="91422" bIns="45714" anchor="ctr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4" rIns="91422" bIns="45714" anchor="ctr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5289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90" y="1797053"/>
            <a:ext cx="11040076" cy="4098595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80892" marR="0" indent="-380892" algn="ctr" defTabSz="609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6256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 fontAlgn="base">
              <a:spcBef>
                <a:spcPct val="0"/>
              </a:spcBef>
              <a:spcAft>
                <a:spcPct val="0"/>
              </a:spcAft>
            </a:pPr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 fontAlgn="base">
              <a:spcBef>
                <a:spcPct val="0"/>
              </a:spcBef>
              <a:spcAft>
                <a:spcPct val="0"/>
              </a:spcAft>
            </a:pPr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 fontAlgn="base">
              <a:spcBef>
                <a:spcPct val="0"/>
              </a:spcBef>
              <a:spcAft>
                <a:spcPct val="0"/>
              </a:spcAft>
            </a:pPr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4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5782927"/>
      </p:ext>
    </p:extLst>
  </p:cSld>
  <p:clrMapOvr>
    <a:masterClrMapping/>
  </p:clrMapOvr>
  <p:transition spd="slow">
    <p:wip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74543" indent="-29836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1750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7617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58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8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5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29601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8" y="1194135"/>
            <a:ext cx="11198319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7617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58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8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5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205214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283180" indent="-523162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74006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74543" indent="-29836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6262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0" y="1797051"/>
            <a:ext cx="5201497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8959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08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15" y="403347"/>
            <a:ext cx="4954660" cy="1101929"/>
          </a:xfrm>
          <a:prstGeom prst="rect">
            <a:avLst/>
          </a:prstGeom>
        </p:spPr>
        <p:txBody>
          <a:bodyPr lIns="82277" tIns="45714" rIns="82277" bIns="45714" rtlCol="0">
            <a:noAutofit/>
          </a:bodyPr>
          <a:lstStyle>
            <a:lvl1pPr algn="l" defTabSz="91422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95" y="403341"/>
            <a:ext cx="4954660" cy="1101928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15" y="1797051"/>
            <a:ext cx="4954660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95" y="1797051"/>
            <a:ext cx="4954660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1972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8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8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2" y="304432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9" y="303792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6" y="293978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336909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43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2" rIns="121885" bIns="60942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114282" indent="-114282" algn="l" defTabSz="914225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48" y="4736592"/>
            <a:ext cx="4674993" cy="338328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0" y="1797051"/>
            <a:ext cx="5201497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7846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8259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5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marL="0" marR="0" lvl="0" indent="0" algn="ctr" defTabSz="1218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marL="0" marR="0" lvl="0" indent="0" algn="ctr" defTabSz="1218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1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marL="0" marR="0" lvl="0" indent="0" algn="ctr" defTabSz="12186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2295254"/>
      </p:ext>
    </p:extLst>
  </p:cSld>
  <p:clrMapOvr>
    <a:masterClrMapping/>
  </p:clrMapOvr>
  <p:transition spd="slow">
    <p:wip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marL="0" indent="0" algn="l" defTabSz="80470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83" indent="-53325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5209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08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54"/>
            <a:ext cx="5093797" cy="3020519"/>
          </a:xfrm>
        </p:spPr>
        <p:txBody>
          <a:bodyPr lIns="82281" tIns="45714" rIns="82281" bIns="45714" rtlCol="0" anchor="ctr">
            <a:noAutofit/>
          </a:bodyPr>
          <a:lstStyle>
            <a:lvl1pPr marL="0" indent="0" algn="l" defTabSz="91426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185403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8"/>
            <a:ext cx="9573749" cy="434977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algn="l" defTabSz="8047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72608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8"/>
            <a:ext cx="9573749" cy="434977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algn="l" defTabSz="8047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3354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9" y="1799275"/>
            <a:ext cx="5342668" cy="4054364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73"/>
            <a:ext cx="5431128" cy="4052529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7321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139"/>
            <a:ext cx="5338660" cy="4054500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83435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30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34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34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8391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06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0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192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596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596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4392978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5" y="6172208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35535"/>
            <a:ext cx="10852149" cy="6942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88" tIns="0" rIns="121912" bIns="60956" numCol="1" anchor="ctr" anchorCtr="0" compatLnSpc="1">
            <a:prstTxWarp prst="textNoShape">
              <a:avLst/>
            </a:prstTxWarp>
            <a:spAutoFit/>
          </a:bodyPr>
          <a:lstStyle>
            <a:lvl1pPr marL="2303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143979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0"/>
            <a:ext cx="11417563" cy="3389567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7255"/>
          </a:xfrm>
          <a:prstGeom prst="rect">
            <a:avLst/>
          </a:prstGeom>
        </p:spPr>
        <p:txBody>
          <a:bodyPr vert="horz" wrap="square" lIns="121912" tIns="60956" rIns="121912" bIns="60956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3707212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3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7" tIns="0" rIns="121861" bIns="60930" numCol="1" anchor="ctr" anchorCtr="0" compatLnSpc="1">
            <a:prstTxWarp prst="textNoShape">
              <a:avLst/>
            </a:prstTxWarp>
            <a:spAutoFit/>
          </a:bodyPr>
          <a:lstStyle>
            <a:lvl1pPr marL="2302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13450869"/>
      </p:ext>
    </p:extLst>
  </p:cSld>
  <p:clrMapOvr>
    <a:masterClrMapping/>
  </p:clrMapOvr>
  <p:transition spd="slow">
    <p:wip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5" y="6172208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38949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9118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90" tIns="60945" rIns="121890" bIns="6094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8388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8" y="311158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30" tIns="45718" rIns="91430" bIns="45718" rtlCol="0" anchor="ctr" anchorCtr="0">
            <a:normAutofit/>
          </a:bodyPr>
          <a:lstStyle>
            <a:lvl1pPr marL="0" indent="0" algn="ctr" defTabSz="91430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92" y="3307598"/>
            <a:ext cx="8973153" cy="2152559"/>
          </a:xfrm>
        </p:spPr>
        <p:txBody>
          <a:bodyPr>
            <a:noAutofit/>
          </a:bodyPr>
          <a:lstStyle>
            <a:lvl1pPr marL="0" marR="0" indent="0" algn="l" defTabSz="91430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54899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90" tIns="60945" rIns="121890" bIns="6094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86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935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8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8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95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25" y="3028958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58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95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95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2003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5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65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65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36142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9840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2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6" tIns="45714" rIns="91426" bIns="45714" rtlCol="0" anchor="ctr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84547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6" tIns="45714" rIns="91426" bIns="45714" rtlCol="0" anchor="ctr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1766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9" tIns="41054" rIns="82109" bIns="41054" anchor="b">
            <a:spAutoFit/>
          </a:bodyPr>
          <a:lstStyle/>
          <a:p>
            <a:pPr algn="r" defTabSz="8142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2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9" tIns="41054" rIns="82109" bIns="41054" anchor="b">
            <a:spAutoFit/>
          </a:bodyPr>
          <a:lstStyle/>
          <a:p>
            <a:pPr defTabSz="814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52803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9"/>
            <a:ext cx="11417563" cy="3389567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61" tIns="60930" rIns="121861" bIns="60930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689691529"/>
      </p:ext>
    </p:extLst>
  </p:cSld>
  <p:clrMapOvr>
    <a:masterClrMapping/>
  </p:clrMapOvr>
  <p:transition spd="slow">
    <p:wip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29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73217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8" y="-3425"/>
            <a:ext cx="12200575" cy="6864857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2782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>
            <a:spLocks noChangeArrowheads="1"/>
          </p:cNvSpPr>
          <p:nvPr/>
        </p:nvSpPr>
        <p:spPr bwMode="ltGray">
          <a:xfrm>
            <a:off x="11448278" y="6250107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56" tIns="54725" rIns="109456" bIns="54725" anchor="b">
            <a:spAutoFit/>
          </a:bodyPr>
          <a:lstStyle/>
          <a:p>
            <a:pPr algn="r" defTabSz="1085452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45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ltGray">
          <a:xfrm>
            <a:off x="11448278" y="6250107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56" tIns="54725" rIns="109456" bIns="54725" anchor="b">
            <a:spAutoFit/>
          </a:bodyPr>
          <a:lstStyle/>
          <a:p>
            <a:pPr algn="r" defTabSz="1085452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45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71387" y="1559096"/>
            <a:ext cx="5353556" cy="4295015"/>
          </a:xfrm>
          <a:prstGeom prst="rect">
            <a:avLst/>
          </a:prstGeom>
        </p:spPr>
        <p:txBody>
          <a:bodyPr vert="horz" lIns="162485" tIns="81241" rIns="162485" bIns="81241">
            <a:noAutofit/>
          </a:bodyPr>
          <a:lstStyle>
            <a:lvl1pPr marL="0" indent="0" algn="ctr">
              <a:buNone/>
              <a:defRPr sz="36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62485" tIns="81241" rIns="162485" bIns="81241" anchor="ctr" anchorCtr="0">
            <a:noAutofit/>
          </a:bodyPr>
          <a:lstStyle>
            <a:lvl1pPr marL="0" indent="0">
              <a:buNone/>
              <a:defRPr sz="43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253" y="406404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ltGray">
          <a:xfrm>
            <a:off x="389406" y="6255943"/>
            <a:ext cx="4560687" cy="279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9456" tIns="54725" rIns="109456" bIns="54725" anchor="b" anchorCtr="0">
            <a:spAutoFit/>
          </a:bodyPr>
          <a:lstStyle/>
          <a:p>
            <a:pPr defTabSz="1085452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099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91434" tIns="45718" rIns="91434" bIns="45718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fld id="{7D0A4C48-4750-4742-B02B-AEB68EC26DDA}" type="datetimeFigureOut">
              <a:rPr lang="en-US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555" fontAlgn="auto">
                <a:spcBef>
                  <a:spcPts val="0"/>
                </a:spcBef>
                <a:spcAft>
                  <a:spcPts val="0"/>
                </a:spcAft>
              </a:pPr>
              <a:t>1/18/2017</a:t>
            </a:fld>
            <a:endParaRPr lang="en-US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91434" tIns="45718" rIns="91434" bIns="45718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91434" tIns="45718" rIns="91434" bIns="45718"/>
          <a:lstStyle/>
          <a:p>
            <a:pPr defTabSz="609555" fontAlgn="auto">
              <a:spcBef>
                <a:spcPts val="0"/>
              </a:spcBef>
              <a:spcAft>
                <a:spcPts val="0"/>
              </a:spcAft>
            </a:pPr>
            <a:fld id="{378E3B3A-4019-034C-AC8D-C8C2361C63DB}" type="slidenum">
              <a:rPr lang="en-US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55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1122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8" y="5057601"/>
            <a:ext cx="11061895" cy="384175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8" y="5377597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8" y="5697593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6" y="4281951"/>
            <a:ext cx="11070167" cy="398668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345" indent="0">
              <a:buNone/>
              <a:defRPr/>
            </a:lvl2pPr>
            <a:lvl3pPr marL="569826" indent="0">
              <a:buNone/>
              <a:defRPr/>
            </a:lvl3pPr>
            <a:lvl4pPr marL="688873" indent="0">
              <a:buNone/>
              <a:defRPr/>
            </a:lvl4pPr>
            <a:lvl5pPr marL="8015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3676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55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55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57" y="4279403"/>
            <a:ext cx="6246489" cy="384175"/>
          </a:xfrm>
          <a:prstGeom prst="rect">
            <a:avLst/>
          </a:prstGeom>
        </p:spPr>
        <p:txBody>
          <a:bodyPr vert="horz" lIns="91426" tIns="45714" rIns="91426" bIns="45714" rtlCol="0">
            <a:noAutofit/>
          </a:bodyPr>
          <a:lstStyle>
            <a:lvl1pPr marL="0" indent="0" algn="l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04" y="3282704"/>
            <a:ext cx="6283409" cy="1022351"/>
          </a:xfrm>
        </p:spPr>
        <p:txBody>
          <a:bodyPr lIns="82281" tIns="45714" rIns="82281" bIns="45714" rtlCol="0" anchor="b">
            <a:noAutofit/>
          </a:bodyPr>
          <a:lstStyle>
            <a:lvl1pPr marL="0" indent="0" algn="l" defTabSz="91426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75" y="1917701"/>
            <a:ext cx="3568700" cy="2889251"/>
          </a:xfrm>
          <a:prstGeom prst="rect">
            <a:avLst/>
          </a:prstGeom>
        </p:spPr>
        <p:txBody>
          <a:bodyPr lIns="121885" tIns="60942" rIns="121885" bIns="60942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4268221"/>
      </p:ext>
    </p:extLst>
  </p:cSld>
  <p:clrMapOvr>
    <a:masterClrMapping/>
  </p:clrMapOvr>
  <p:transition spd="slow">
    <p:wip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351427" y="6323879"/>
            <a:ext cx="294071" cy="206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9" tIns="41054" rIns="82109" bIns="41054" anchor="b">
            <a:spAutoFit/>
          </a:bodyPr>
          <a:lstStyle/>
          <a:p>
            <a:pPr algn="r" defTabSz="8142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2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7823344" y="6322204"/>
            <a:ext cx="3544024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09" tIns="41054" rIns="82109" bIns="41054" anchor="b">
            <a:spAutoFit/>
          </a:bodyPr>
          <a:lstStyle/>
          <a:p>
            <a:pPr defTabSz="814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9193486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4" rIns="91422" bIns="45714" anchor="ctr"/>
          <a:lstStyle/>
          <a:p>
            <a:pPr defTabSz="609555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2" tIns="45714" rIns="91422" bIns="45714" anchor="ctr"/>
          <a:lstStyle/>
          <a:p>
            <a:pPr defTabSz="609555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54444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83" y="1797053"/>
            <a:ext cx="11040076" cy="4098595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80892" marR="0" indent="-380892" algn="ctr" defTabSz="6094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0692166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74543" indent="-29836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3990489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7844447"/>
      </p:ext>
    </p:extLst>
  </p:cSld>
  <p:clrMapOvr>
    <a:masterClrMapping/>
  </p:clrMapOvr>
  <p:transition spd="slow">
    <p:wip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7617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58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8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5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793332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0" y="1194135"/>
            <a:ext cx="11198319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7617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58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8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5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779451864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283180" indent="-523162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99051297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74543" indent="-29836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42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70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5313858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2" y="1797051"/>
            <a:ext cx="5201497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405592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04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44"/>
            <a:ext cx="4954660" cy="1101929"/>
          </a:xfrm>
          <a:prstGeom prst="rect">
            <a:avLst/>
          </a:prstGeom>
        </p:spPr>
        <p:txBody>
          <a:bodyPr lIns="82277" tIns="45714" rIns="82277" bIns="45714" rtlCol="0">
            <a:noAutofit/>
          </a:bodyPr>
          <a:lstStyle>
            <a:lvl1pPr algn="l" defTabSz="91422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734485"/>
      </p:ext>
    </p:extLst>
  </p:cSld>
  <p:clrMapOvr>
    <a:masterClrMapping/>
  </p:clrMapOvr>
  <p:transition spd="med">
    <p:fade/>
  </p:transition>
  <p:hf hdr="0" ftr="0" dt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4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4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54" y="304428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1" y="303788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88" y="293974"/>
            <a:ext cx="3116145" cy="1027281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marR="0" indent="0" algn="l" defTabSz="91422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11064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38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50175912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5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2" rIns="121885" bIns="60942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114282" indent="-114282" algn="l" defTabSz="914225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2" indent="-114282" algn="l" defTabSz="914225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45" y="4736592"/>
            <a:ext cx="4674993" cy="338328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2" y="1797051"/>
            <a:ext cx="5201497" cy="4110792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304716" indent="-2285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27" indent="-28778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66" indent="-2285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99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33" indent="-2285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3546"/>
      </p:ext>
    </p:extLst>
  </p:cSld>
  <p:clrMapOvr>
    <a:masterClrMapping/>
  </p:clrMapOvr>
  <p:transition spd="med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6379247"/>
      </p:ext>
    </p:extLst>
  </p:cSld>
  <p:clrMapOvr>
    <a:masterClrMapping/>
  </p:clrMapOvr>
  <p:transition spd="med"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marL="0" indent="0" algn="l" defTabSz="80470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2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83" indent="-53325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803932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40" tIns="60920" rIns="121840" bIns="60920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084661"/>
      </p:ext>
    </p:extLst>
  </p:cSld>
  <p:clrMapOvr>
    <a:masterClrMapping/>
  </p:clrMapOvr>
  <p:transition spd="slow">
    <p:wip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04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50"/>
            <a:ext cx="5093797" cy="3020519"/>
          </a:xfrm>
        </p:spPr>
        <p:txBody>
          <a:bodyPr lIns="82281" tIns="45714" rIns="82281" bIns="45714" rtlCol="0" anchor="ctr">
            <a:noAutofit/>
          </a:bodyPr>
          <a:lstStyle>
            <a:lvl1pPr marL="0" indent="0" algn="l" defTabSz="91426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52745567"/>
      </p:ext>
    </p:extLst>
  </p:cSld>
  <p:clrMapOvr>
    <a:masterClrMapping/>
  </p:clrMapOvr>
  <p:transition spd="slow">
    <p:wip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85" tIns="60942" rIns="121885" bIns="60942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4"/>
            <a:ext cx="9573749" cy="434977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algn="l" defTabSz="8047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6309583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4"/>
            <a:ext cx="9573749" cy="434977"/>
          </a:xfrm>
          <a:prstGeom prst="rect">
            <a:avLst/>
          </a:prstGeom>
        </p:spPr>
        <p:txBody>
          <a:bodyPr wrap="square" lIns="121885" tIns="60942" rIns="121885" bIns="60942" anchor="b" anchorCtr="0">
            <a:noAutofit/>
          </a:bodyPr>
          <a:lstStyle>
            <a:lvl1pPr algn="l" defTabSz="8047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4408364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275"/>
            <a:ext cx="5342668" cy="4054364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69"/>
            <a:ext cx="5431128" cy="4052529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431677"/>
      </p:ext>
    </p:extLst>
  </p:cSld>
  <p:clrMapOvr>
    <a:masterClrMapping/>
  </p:clrMapOvr>
  <p:transition spd="med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85" tIns="60942" rIns="121885" bIns="60942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221580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8113489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4564309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1019029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2" tIns="60956" rIns="121912" bIns="60956" rtlCol="0" anchor="ctr"/>
          <a:lstStyle/>
          <a:p>
            <a:pPr algn="ctr" defTabSz="609555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26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30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30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912" tIns="60956" rIns="121912" bIns="60956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3988979"/>
      </p:ext>
    </p:extLst>
  </p:cSld>
  <p:clrMapOvr>
    <a:masterClrMapping/>
  </p:clrMapOvr>
  <p:transition spd="slow">
    <p:wip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10330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4563793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8116482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0" tIns="45718" rIns="91430" bIns="45718" anchor="ctr"/>
          <a:lstStyle/>
          <a:p>
            <a:pPr algn="ctr" defTabSz="121911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0" tIns="60945" rIns="121890" bIns="60945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188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592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592"/>
            <a:ext cx="3056181" cy="804881"/>
          </a:xfrm>
          <a:prstGeom prst="rect">
            <a:avLst/>
          </a:prstGeom>
        </p:spPr>
        <p:txBody>
          <a:bodyPr lIns="121885" tIns="60942" rIns="121885" bIns="60942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52040292"/>
      </p:ext>
    </p:extLst>
  </p:cSld>
  <p:clrMapOvr>
    <a:masterClrMapping/>
  </p:clrMapOvr>
  <p:transition spd="slow">
    <p:wip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204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0"/>
            <a:ext cx="10852149" cy="667989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88" tIns="0" rIns="121912" bIns="60956" numCol="1" anchor="ctr" anchorCtr="0" compatLnSpc="1">
            <a:prstTxWarp prst="textNoShape">
              <a:avLst/>
            </a:prstTxWarp>
            <a:spAutoFit/>
          </a:bodyPr>
          <a:lstStyle>
            <a:lvl1pPr marL="2303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956290404"/>
      </p:ext>
    </p:extLst>
  </p:cSld>
  <p:clrMapOvr>
    <a:masterClrMapping/>
  </p:clrMapOvr>
  <p:transition spd="slow">
    <p:wip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86"/>
            <a:ext cx="11417563" cy="3389567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4"/>
            <a:ext cx="11152315" cy="752343"/>
          </a:xfrm>
          <a:prstGeom prst="rect">
            <a:avLst/>
          </a:prstGeom>
        </p:spPr>
        <p:txBody>
          <a:bodyPr vert="horz" wrap="square" lIns="121912" tIns="60956" rIns="121912" bIns="60956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654808173"/>
      </p:ext>
    </p:extLst>
  </p:cSld>
  <p:clrMapOvr>
    <a:masterClrMapping/>
  </p:clrMapOvr>
  <p:transition spd="slow">
    <p:wip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204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85" tIns="60942" rIns="121885" bIns="60942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2533111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603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7805282"/>
      </p:ext>
    </p:extLst>
  </p:cSld>
  <p:clrMapOvr>
    <a:masterClrMapping/>
  </p:clrMapOvr>
  <p:transition spd="slow">
    <p:wip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90" tIns="60945" rIns="121890" bIns="6094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470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0" y="311154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30" tIns="45718" rIns="91430" bIns="45718" rtlCol="0" anchor="ctr" anchorCtr="0">
            <a:normAutofit/>
          </a:bodyPr>
          <a:lstStyle>
            <a:lvl1pPr marL="0" indent="0" algn="ctr" defTabSz="91430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84" y="3307594"/>
            <a:ext cx="8973153" cy="2152559"/>
          </a:xfrm>
        </p:spPr>
        <p:txBody>
          <a:bodyPr>
            <a:noAutofit/>
          </a:bodyPr>
          <a:lstStyle>
            <a:lvl1pPr marL="0" marR="0" indent="0" algn="l" defTabSz="91430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0133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8" rIns="91430" bIns="45718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90" tIns="60945" rIns="121890" bIns="60945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82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728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4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4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21" y="3028954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54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4" rIns="91426" bIns="45714" anchor="ctr"/>
          <a:lstStyle/>
          <a:p>
            <a:pPr algn="ctr" defTabSz="6095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5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1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61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61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6" tIns="45714" rIns="91426" bIns="45714" rtlCol="0" anchor="ctr" anchorCtr="0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3377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927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54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6" tIns="45714" rIns="91426" bIns="45714" rtlCol="0" anchor="ctr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0819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6" tIns="45714" rIns="91426" bIns="45714" rtlCol="0" anchor="ctr">
            <a:normAutofit/>
          </a:bodyPr>
          <a:lstStyle>
            <a:lvl1pPr marL="0" indent="0" algn="ctr" defTabSz="91426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79025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21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20163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7999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132601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1" y="31117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2" tIns="45702" rIns="91392" bIns="45702" rtlCol="0" anchor="ctr" anchorCtr="0">
            <a:normAutofit/>
          </a:bodyPr>
          <a:lstStyle>
            <a:lvl1pPr marL="0" indent="0" algn="ctr" defTabSz="91389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0" y="3307611"/>
            <a:ext cx="8973153" cy="2152559"/>
          </a:xfrm>
        </p:spPr>
        <p:txBody>
          <a:bodyPr>
            <a:noAutofit/>
          </a:bodyPr>
          <a:lstStyle>
            <a:lvl1pPr marL="0" marR="0" indent="0" algn="l" defTabSz="9138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44255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"/>
            <a:ext cx="12192000" cy="6857999"/>
          </a:xfrm>
          <a:prstGeom prst="rect">
            <a:avLst/>
          </a:prstGeom>
        </p:spPr>
      </p:pic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8" y="5057601"/>
            <a:ext cx="11061895" cy="384175"/>
          </a:xfrm>
          <a:prstGeom prst="rect">
            <a:avLst/>
          </a:prstGeom>
        </p:spPr>
        <p:txBody>
          <a:bodyPr lIns="121885" tIns="60942" rIns="121885" bIns="6094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F"/>
                </a:solidFill>
                <a:latin typeface="+mn-lt"/>
                <a:cs typeface="CiscoSans"/>
              </a:defRPr>
            </a:lvl1pPr>
            <a:lvl2pPr marL="45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8" y="5438071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F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8" y="5818542"/>
            <a:ext cx="11061895" cy="384175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F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6" y="4281951"/>
            <a:ext cx="11070167" cy="398668"/>
          </a:xfrm>
          <a:prstGeom prst="rect">
            <a:avLst/>
          </a:prstGeom>
        </p:spPr>
        <p:txBody>
          <a:bodyPr lIns="121885" tIns="60942" rIns="121885" bIns="6094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F"/>
                </a:solidFill>
                <a:latin typeface="+mj-lt"/>
              </a:defRPr>
            </a:lvl1pPr>
            <a:lvl2pPr marL="406345" indent="0">
              <a:buNone/>
              <a:defRPr/>
            </a:lvl2pPr>
            <a:lvl3pPr marL="569826" indent="0">
              <a:buNone/>
              <a:defRPr/>
            </a:lvl3pPr>
            <a:lvl4pPr marL="688873" indent="0">
              <a:buNone/>
              <a:defRPr/>
            </a:lvl4pPr>
            <a:lvl5pPr marL="8015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210647"/>
      </p:ext>
    </p:extLst>
  </p:cSld>
  <p:clrMapOvr>
    <a:masterClrMapping/>
  </p:clrMapOvr>
  <p:transition spd="slow">
    <p:wip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21"/>
            <a:ext cx="11350752" cy="4531783"/>
          </a:xfrm>
          <a:prstGeom prst="rect">
            <a:avLst/>
          </a:prstGeom>
        </p:spPr>
        <p:txBody>
          <a:bodyPr lIns="121912" tIns="60956" rIns="121912" bIns="6095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481"/>
            <a:ext cx="511213" cy="366183"/>
          </a:xfrm>
          <a:prstGeom prst="rect">
            <a:avLst/>
          </a:prstGeom>
        </p:spPr>
        <p:txBody>
          <a:bodyPr vert="horz" lIns="121912" tIns="60956" rIns="121912" bIns="60956" rtlCol="0" anchor="ctr"/>
          <a:lstStyle>
            <a:lvl1pPr marL="0" algn="ctr" defTabSz="61074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Arial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40512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11" y="275035"/>
            <a:ext cx="1040074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711" y="1543053"/>
            <a:ext cx="10400740" cy="4525567"/>
          </a:xfrm>
          <a:prstGeom prst="rect">
            <a:avLst/>
          </a:prstGeom>
        </p:spPr>
        <p:txBody>
          <a:bodyPr lIns="91446" tIns="45726" rIns="91446" bIns="45726"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 sz="2100"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409711" y="857253"/>
            <a:ext cx="10400740" cy="514351"/>
          </a:xfrm>
          <a:prstGeom prst="rect">
            <a:avLst/>
          </a:prstGeom>
        </p:spPr>
        <p:txBody>
          <a:bodyPr lIns="91446" tIns="45726" rIns="91446" bIns="45726"/>
          <a:lstStyle>
            <a:lvl1pPr marL="0" indent="0">
              <a:buNone/>
              <a:defRPr lang="en-US" sz="23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557438" y="6581183"/>
            <a:ext cx="1635167" cy="276820"/>
          </a:xfrm>
          <a:prstGeom prst="rect">
            <a:avLst/>
          </a:prstGeom>
        </p:spPr>
        <p:txBody>
          <a:bodyPr vert="horz" lIns="68541" tIns="34270" rIns="68541" bIns="3427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609555"/>
            <a:fld id="{2F5CCB13-0A32-4557-88E9-079F0C33069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defTabSz="609555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82411" y="12"/>
            <a:ext cx="6909596" cy="322433"/>
          </a:xfrm>
          <a:prstGeom prst="rect">
            <a:avLst/>
          </a:prstGeom>
        </p:spPr>
        <p:txBody>
          <a:bodyPr lIns="91446" tIns="45726" rIns="91446" bIns="45726"/>
          <a:lstStyle>
            <a:lvl1pPr algn="r">
              <a:buNone/>
              <a:defRPr sz="19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3790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37"/>
            <a:ext cx="11350752" cy="4440767"/>
          </a:xfrm>
          <a:prstGeom prst="rect">
            <a:avLst/>
          </a:prstGeom>
        </p:spPr>
        <p:txBody>
          <a:bodyPr lIns="121912" tIns="60956" rIns="121912" bIns="6095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  <a:prstGeom prst="rect">
            <a:avLst/>
          </a:prstGeom>
        </p:spPr>
        <p:txBody>
          <a:bodyPr lIns="121912" tIns="60956" rIns="121912" bIns="60956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481"/>
            <a:ext cx="511213" cy="366183"/>
          </a:xfrm>
          <a:prstGeom prst="rect">
            <a:avLst/>
          </a:prstGeom>
        </p:spPr>
        <p:txBody>
          <a:bodyPr vert="horz" lIns="121912" tIns="60956" rIns="121912" bIns="60956" rtlCol="0" anchor="ctr"/>
          <a:lstStyle>
            <a:lvl1pPr marL="0" algn="ctr" defTabSz="61074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Arial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4060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- 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562600"/>
            <a:ext cx="12192000" cy="1295400"/>
          </a:xfrm>
          <a:prstGeom prst="rect">
            <a:avLst/>
          </a:prstGeom>
          <a:gradFill>
            <a:gsLst>
              <a:gs pos="0">
                <a:srgbClr val="FFFFFF">
                  <a:lumMod val="85000"/>
                </a:srgbClr>
              </a:gs>
              <a:gs pos="100000">
                <a:srgbClr val="FFFFFF"/>
              </a:gs>
            </a:gsLst>
            <a:lin ang="16200000" scaled="0"/>
          </a:gradFill>
          <a:ln w="25400" cap="flat" cmpd="sng" algn="ctr">
            <a:noFill/>
            <a:prstDash val="solid"/>
          </a:ln>
          <a:effectLst/>
        </p:spPr>
        <p:txBody>
          <a:bodyPr lIns="91414" tIns="45710" rIns="91414" bIns="45710" rtlCol="0" anchor="ctr"/>
          <a:lstStyle/>
          <a:p>
            <a:pPr algn="ctr" defTabSz="609555">
              <a:defRPr/>
            </a:pPr>
            <a:endParaRPr lang="en-US" kern="0" dirty="0" smtClean="0">
              <a:solidFill>
                <a:srgbClr val="FFFFFF"/>
              </a:solidFill>
            </a:endParaRPr>
          </a:p>
        </p:txBody>
      </p:sp>
      <p:pic>
        <p:nvPicPr>
          <p:cNvPr id="6" name="Picture 3" descr="\\.PSF\.Mac\Volumes\16GB_FLASH\Matrix_Pattern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1816101"/>
            <a:ext cx="12192000" cy="5041899"/>
          </a:xfrm>
          <a:prstGeom prst="rect">
            <a:avLst/>
          </a:prstGeom>
          <a:noFill/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6491" y="136812"/>
            <a:ext cx="1158802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Agenda Title Goes Here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673" y="6646933"/>
            <a:ext cx="294152" cy="2060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9" tIns="41046" rIns="82089" bIns="41046" anchor="b">
            <a:spAutoFit/>
          </a:bodyPr>
          <a:lstStyle/>
          <a:p>
            <a:pPr algn="r" defTabSz="814096"/>
            <a:fld id="{DFCF27A5-1A5B-48D3-A060-2758FFBB1ADD}" type="slidenum">
              <a:rPr lang="en-US" sz="80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pPr algn="r" defTabSz="814096"/>
              <a:t>‹#›</a:t>
            </a:fld>
            <a:endParaRPr lang="en-US" sz="800" dirty="0">
              <a:solidFill>
                <a:srgbClr val="676767">
                  <a:lumMod val="50000"/>
                  <a:lumOff val="5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06" y="665275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89" tIns="41046" rIns="82089" bIns="41046" anchor="b" anchorCtr="0">
            <a:spAutoFit/>
          </a:bodyPr>
          <a:lstStyle/>
          <a:p>
            <a:pPr defTabSz="814096"/>
            <a:r>
              <a:rPr lang="en-U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© 2014-</a:t>
            </a:r>
            <a:r>
              <a:rPr lang="is-I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  Cisco Systems Inc. and/or its affiliates. All rights reserved.</a:t>
            </a:r>
            <a:endParaRPr lang="en-US" sz="800" dirty="0">
              <a:solidFill>
                <a:srgbClr val="676767">
                  <a:lumMod val="50000"/>
                  <a:lumOff val="50000"/>
                </a:srgbClr>
              </a:solidFill>
              <a:latin typeface="Arial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20983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Grid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1" descr="Grid_Gray_Perspec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419888"/>
            <a:ext cx="12192000" cy="4449233"/>
          </a:xfrm>
          <a:prstGeom prst="rect">
            <a:avLst/>
          </a:prstGeom>
          <a:noFill/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6268" y="115447"/>
            <a:ext cx="11441232" cy="959596"/>
          </a:xfrm>
        </p:spPr>
        <p:txBody>
          <a:bodyPr anchor="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9763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16991" y="1339749"/>
            <a:ext cx="11436096" cy="4965699"/>
          </a:xfrm>
          <a:prstGeom prst="rect">
            <a:avLst/>
          </a:prstGeom>
        </p:spPr>
        <p:txBody>
          <a:bodyPr lIns="91426" tIns="45714" rIns="91426" bIns="4571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192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1104" y="310917"/>
            <a:ext cx="11301984" cy="607539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8" rIns="91392" bIns="45698" rtlCol="0" anchor="ctr"/>
          <a:lstStyle/>
          <a:p>
            <a:pPr algn="ctr" defTabSz="609555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44521" y="310920"/>
            <a:ext cx="11299825" cy="6054185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vert="horz" lIns="91392" tIns="45698" rIns="91392" bIns="45698" rtlCol="0" anchor="ctr" anchorCtr="0">
            <a:normAutofit/>
          </a:bodyPr>
          <a:lstStyle>
            <a:lvl1pPr marL="0" indent="0" algn="ctr" defTabSz="913942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4501" y="6381457"/>
            <a:ext cx="11303000" cy="163808"/>
          </a:xfrm>
          <a:prstGeom prst="rect">
            <a:avLst/>
          </a:prstGeom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54241" y="6570895"/>
            <a:ext cx="4560687" cy="190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77" tIns="41038" rIns="82077" bIns="41038" anchor="b" anchorCtr="0">
            <a:spAutoFit/>
          </a:bodyPr>
          <a:lstStyle/>
          <a:p>
            <a:pPr defTabSz="813980"/>
            <a:r>
              <a:rPr lang="en-US" sz="700" dirty="0" smtClean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11566301" y="6565096"/>
            <a:ext cx="275531" cy="1905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7" tIns="41038" rIns="82077" bIns="41038" anchor="b">
            <a:spAutoFit/>
          </a:bodyPr>
          <a:lstStyle/>
          <a:p>
            <a:pPr algn="r" defTabSz="813980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3980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465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1" tIns="60950" rIns="121901" bIns="60950">
            <a:noAutofit/>
          </a:bodyPr>
          <a:lstStyle>
            <a:lvl1pPr marL="311100" indent="-228565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10" indent="-2285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1" tIns="60950" rIns="121901" bIns="60950">
            <a:noAutofit/>
          </a:bodyPr>
          <a:lstStyle>
            <a:lvl1pPr marL="298403" indent="-228565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10" indent="-22856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118701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337" y="304800"/>
            <a:ext cx="9914467" cy="8382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8333" y="1600205"/>
            <a:ext cx="4732867" cy="4525963"/>
          </a:xfrm>
          <a:prstGeom prst="rect">
            <a:avLst/>
          </a:prstGeom>
        </p:spPr>
        <p:txBody>
          <a:bodyPr lIns="91434" tIns="45718" rIns="91434" bIns="45718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9937" y="1600205"/>
            <a:ext cx="4732867" cy="4525963"/>
          </a:xfrm>
          <a:prstGeom prst="rect">
            <a:avLst/>
          </a:prstGeom>
        </p:spPr>
        <p:txBody>
          <a:bodyPr lIns="91434" tIns="45718" rIns="91434" bIns="45718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8340" y="1186543"/>
            <a:ext cx="9914465" cy="381000"/>
          </a:xfrm>
          <a:prstGeom prst="rect">
            <a:avLst/>
          </a:prstGeom>
        </p:spPr>
        <p:txBody>
          <a:bodyPr lIns="91434" tIns="45718" rIns="91434" bIns="45718" anchor="ctr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58337" y="6357041"/>
            <a:ext cx="9948335" cy="323163"/>
          </a:xfrm>
          <a:prstGeom prst="rect">
            <a:avLst/>
          </a:prstGeom>
        </p:spPr>
        <p:txBody>
          <a:bodyPr lIns="91434" tIns="45718" rIns="91434" bIns="45718" anchor="b">
            <a:spAutoFit/>
          </a:bodyPr>
          <a:lstStyle>
            <a:lvl1pPr algn="l" defTabSz="804803">
              <a:lnSpc>
                <a:spcPct val="100000"/>
              </a:lnSpc>
              <a:spcBef>
                <a:spcPct val="50000"/>
              </a:spcBef>
              <a:buNone/>
              <a:defRPr sz="1500"/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20950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0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611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430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34" y="6323871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62" rIns="82113" bIns="41062" anchor="b">
            <a:spAutoFit/>
          </a:bodyPr>
          <a:lstStyle/>
          <a:p>
            <a:pPr algn="r" defTabSz="814281"/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cs typeface="CiscoSans Thin"/>
              </a:rPr>
              <a:pPr algn="r" defTabSz="814281"/>
              <a:t>‹#›</a:t>
            </a:fld>
            <a:endParaRPr lang="en-US" sz="8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02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62" rIns="82113" bIns="41062" anchor="b" anchorCtr="0">
            <a:spAutoFit/>
          </a:bodyPr>
          <a:lstStyle/>
          <a:p>
            <a:pPr defTabSz="814281"/>
            <a:r>
              <a:rPr lang="en-US" sz="800" dirty="0" smtClean="0">
                <a:solidFill>
                  <a:srgbClr val="FFFFFF"/>
                </a:solidFill>
                <a:latin typeface="Arial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4189" y="1520825"/>
            <a:ext cx="5192183" cy="3571875"/>
          </a:xfrm>
          <a:prstGeom prst="rect">
            <a:avLst/>
          </a:prstGeom>
        </p:spPr>
        <p:txBody>
          <a:bodyPr lIns="121912" tIns="60956" rIns="121912" bIns="60956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520825"/>
            <a:ext cx="5192184" cy="3571875"/>
          </a:xfrm>
          <a:prstGeom prst="rect">
            <a:avLst/>
          </a:prstGeom>
        </p:spPr>
        <p:txBody>
          <a:bodyPr lIns="121912" tIns="60956" rIns="121912" bIns="60956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70401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4" y="2811836"/>
            <a:ext cx="11068959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3" y="4828026"/>
            <a:ext cx="10816168" cy="384175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2" y="5164911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33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17" indent="0">
              <a:buNone/>
              <a:defRPr/>
            </a:lvl2pPr>
            <a:lvl3pPr marL="569788" indent="0">
              <a:buNone/>
              <a:defRPr/>
            </a:lvl3pPr>
            <a:lvl4pPr marL="688827" indent="0">
              <a:buNone/>
              <a:defRPr/>
            </a:lvl4pPr>
            <a:lvl5pPr marL="8015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3" y="410504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0550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4" y="2811836"/>
            <a:ext cx="11068959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3" y="4828026"/>
            <a:ext cx="10816168" cy="384175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2" y="5164911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33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317" indent="0">
              <a:buNone/>
              <a:defRPr/>
            </a:lvl2pPr>
            <a:lvl3pPr marL="569788" indent="0">
              <a:buNone/>
              <a:defRPr/>
            </a:lvl3pPr>
            <a:lvl4pPr marL="688827" indent="0">
              <a:buNone/>
              <a:defRPr/>
            </a:lvl4pPr>
            <a:lvl5pPr marL="8015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3" y="410504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717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4" y="2811836"/>
            <a:ext cx="11068959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6"/>
            <a:ext cx="10816168" cy="384175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11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33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17" indent="0">
              <a:buNone/>
              <a:defRPr/>
            </a:lvl2pPr>
            <a:lvl3pPr marL="569788" indent="0">
              <a:buNone/>
              <a:defRPr/>
            </a:lvl3pPr>
            <a:lvl4pPr marL="688827" indent="0">
              <a:buNone/>
              <a:defRPr/>
            </a:lvl4pPr>
            <a:lvl5pPr marL="8015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3" y="410504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219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4" y="2811836"/>
            <a:ext cx="11068959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6"/>
            <a:ext cx="10816168" cy="384175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0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11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33"/>
            <a:ext cx="10816867" cy="384175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877" tIns="60938" rIns="121877" bIns="60938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317" indent="0">
              <a:buNone/>
              <a:defRPr/>
            </a:lvl2pPr>
            <a:lvl3pPr marL="569788" indent="0">
              <a:buNone/>
              <a:defRPr/>
            </a:lvl3pPr>
            <a:lvl4pPr marL="688827" indent="0">
              <a:buNone/>
              <a:defRPr/>
            </a:lvl4pPr>
            <a:lvl5pPr marL="8015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3" y="410504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387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544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56" y="4279402"/>
            <a:ext cx="6246491" cy="384175"/>
          </a:xfrm>
          <a:prstGeom prst="rect">
            <a:avLst/>
          </a:prstGeom>
        </p:spPr>
        <p:txBody>
          <a:bodyPr vert="horz" lIns="91420" tIns="45711" rIns="91420" bIns="45711" rtlCol="0">
            <a:noAutofit/>
          </a:bodyPr>
          <a:lstStyle>
            <a:lvl1pPr marL="0" indent="0" algn="l" defTabSz="91420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20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40" y="3282704"/>
            <a:ext cx="6283409" cy="1022351"/>
          </a:xfrm>
        </p:spPr>
        <p:txBody>
          <a:bodyPr vert="horz" lIns="82277" tIns="45711" rIns="82277" bIns="45711" rtlCol="0" anchor="b" anchorCtr="0">
            <a:noAutofit/>
          </a:bodyPr>
          <a:lstStyle>
            <a:lvl1pPr marL="0" indent="0" algn="l" defTabSz="91420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7175" y="1917704"/>
            <a:ext cx="3568700" cy="2889251"/>
          </a:xfrm>
          <a:prstGeom prst="rect">
            <a:avLst/>
          </a:prstGeom>
        </p:spPr>
        <p:txBody>
          <a:bodyPr lIns="121877" tIns="60938" rIns="121877" bIns="60938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3174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10" rIns="91416" bIns="45710" anchor="ctr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16" tIns="45710" rIns="91416" bIns="45710" anchor="ctr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762104"/>
            <a:ext cx="11068959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02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750148"/>
            <a:ext cx="11068959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65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ＭＳ Ｐゴシック" charset="0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ＭＳ Ｐゴシック" charset="0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42" rIns="82075" bIns="41042" anchor="b">
            <a:spAutoFit/>
          </a:bodyPr>
          <a:lstStyle/>
          <a:p>
            <a:pPr algn="r" defTabSz="8139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8139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5" tIns="41042" rIns="82075" bIns="41042" anchor="b">
            <a:spAutoFit/>
          </a:bodyPr>
          <a:lstStyle/>
          <a:p>
            <a:pPr defTabSz="813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is-IS" sz="8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172259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7" y="302897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6020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750148"/>
            <a:ext cx="11068959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728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89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5" y="1600208"/>
            <a:ext cx="11546635" cy="4525433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80866" marR="0" indent="-380866" algn="ctr" defTabSz="6093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28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89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5" y="1600208"/>
            <a:ext cx="11546635" cy="4525433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80866" marR="0" indent="-380866" algn="l" defTabSz="6093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38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8776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74519" indent="-29834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098" indent="-28776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602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542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063" indent="-22428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11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6" y="1666619"/>
            <a:ext cx="5559511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04695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87" indent="-28776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907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427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46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7993" y="1666619"/>
            <a:ext cx="5559511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04695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387" indent="-28776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7907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427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4946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4337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11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11043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98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3" y="1666619"/>
            <a:ext cx="5559511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298347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98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73690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7472" y="1639740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7" tIns="60938" rIns="121877" bIns="60938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61632" y="1747693"/>
            <a:ext cx="4315968" cy="244000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114273" indent="-114273" algn="l" defTabSz="91416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73" indent="-114273" algn="l" defTabSz="91416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73" indent="-114273" algn="l" defTabSz="91416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73" indent="-114273" algn="l" defTabSz="91416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73" indent="-114273" algn="l" defTabSz="91416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6401" y="4736592"/>
            <a:ext cx="4434761" cy="338328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9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276" y="1666619"/>
            <a:ext cx="5559511" cy="4354712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311043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271" indent="-25391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70888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0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731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48" y="403341"/>
            <a:ext cx="5340096" cy="838200"/>
          </a:xfrm>
          <a:prstGeom prst="rect">
            <a:avLst/>
          </a:prstGeom>
        </p:spPr>
        <p:txBody>
          <a:bodyPr vert="horz" lIns="82273" tIns="45710" rIns="82273" bIns="45710" rtlCol="0" anchor="t" anchorCtr="0">
            <a:noAutofit/>
          </a:bodyPr>
          <a:lstStyle>
            <a:lvl1pPr algn="l" defTabSz="91416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87" y="1600200"/>
            <a:ext cx="5340096" cy="4526280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36" indent="-22854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5185" y="1600200"/>
            <a:ext cx="5340096" cy="4526280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836" indent="-228542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9907" y="403341"/>
            <a:ext cx="5340096" cy="841248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marR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98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4721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88" y="100584"/>
            <a:ext cx="3557943" cy="1152144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marR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4535" y="100584"/>
            <a:ext cx="3466479" cy="1152144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marR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2937" y="100584"/>
            <a:ext cx="3512211" cy="1152144"/>
          </a:xfrm>
          <a:prstGeom prst="rect">
            <a:avLst/>
          </a:prstGeom>
        </p:spPr>
        <p:txBody>
          <a:bodyPr lIns="121877" tIns="60938" rIns="121877" bIns="60938" anchor="b" anchorCtr="0">
            <a:noAutofit/>
          </a:bodyPr>
          <a:lstStyle>
            <a:lvl1pPr marL="0" marR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16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88" y="1602098"/>
            <a:ext cx="3557943" cy="444801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298347" indent="-22852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447" indent="-25391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617" indent="-2221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86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005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4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2937" y="1578600"/>
            <a:ext cx="3512211" cy="444801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228552" indent="-22855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832" indent="-28789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3850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486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005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4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4535" y="1602098"/>
            <a:ext cx="3466479" cy="444801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228552" indent="-228552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155" indent="-234869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562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197" indent="-228521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482" indent="-22428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04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2100" y="812803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9900" y="812803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1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3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9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3215" indent="-533215" algn="l">
              <a:lnSpc>
                <a:spcPct val="90000"/>
              </a:lnSpc>
              <a:defRPr sz="8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750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9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47" indent="-53744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353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992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3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9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47" indent="-53744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0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3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9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447" indent="-53744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42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Sol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95194" y="1254289"/>
            <a:ext cx="11068959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rgbClr val="272749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5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95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94" y="1254289"/>
            <a:ext cx="11068959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5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14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_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94" y="1254289"/>
            <a:ext cx="11068959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5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875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940737"/>
            <a:ext cx="11068959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042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940737"/>
            <a:ext cx="11068959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566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7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44379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275" y="940737"/>
            <a:ext cx="11068959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5771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353" y="1918747"/>
            <a:ext cx="5489928" cy="3020519"/>
          </a:xfrm>
        </p:spPr>
        <p:txBody>
          <a:bodyPr vert="horz" lIns="82277" tIns="45711" rIns="82277" bIns="45711" rtlCol="0" anchor="ctr" anchorCtr="0">
            <a:noAutofit/>
          </a:bodyPr>
          <a:lstStyle>
            <a:lvl1pPr marL="0" indent="0" algn="l" defTabSz="91420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93792" cy="5120640"/>
          </a:xfrm>
          <a:prstGeom prst="rect">
            <a:avLst/>
          </a:prstGeom>
        </p:spPr>
        <p:txBody>
          <a:bodyPr lIns="121877" tIns="60938" rIns="121877" bIns="60938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410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42408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9"/>
            <a:ext cx="1150843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4" y="1583270"/>
            <a:ext cx="11267016" cy="405765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5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847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83" y="403229"/>
            <a:ext cx="11486956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91" y="1583270"/>
            <a:ext cx="11267015" cy="4057651"/>
          </a:xfrm>
          <a:prstGeom prst="rect">
            <a:avLst/>
          </a:prstGeom>
        </p:spPr>
        <p:txBody>
          <a:bodyPr lIns="121877" tIns="60938" rIns="121877" bIns="60938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5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marL="0" indent="0" algn="l" defTabSz="804655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324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1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82" y="403229"/>
            <a:ext cx="1150940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70"/>
            <a:ext cx="11267016" cy="4057651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726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70"/>
            <a:ext cx="11267016" cy="4057651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6076" y="403229"/>
            <a:ext cx="11487920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1" y="5820194"/>
            <a:ext cx="9948335" cy="276999"/>
          </a:xfrm>
          <a:prstGeom prst="rect">
            <a:avLst/>
          </a:prstGeom>
        </p:spPr>
        <p:txBody>
          <a:bodyPr wrap="square" lIns="121877" tIns="60938" rIns="121877" bIns="60938" anchor="b" anchorCtr="0">
            <a:noAutofit/>
          </a:bodyPr>
          <a:lstStyle>
            <a:lvl1pPr algn="l" defTabSz="804655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16505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6077" y="403229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877" tIns="60938" rIns="121877" bIns="60938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1" y="1559096"/>
            <a:ext cx="5355167" cy="4292600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5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877" tIns="60938" rIns="121877" bIns="60938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1" y="1559096"/>
            <a:ext cx="5355167" cy="4292600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905" y="403229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52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621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877" tIns="60938" rIns="121877" bIns="60938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90" y="1559096"/>
            <a:ext cx="5353556" cy="4295015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416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ttom title_photo and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90" y="1559096"/>
            <a:ext cx="5353556" cy="4295015"/>
          </a:xfrm>
          <a:prstGeom prst="rect">
            <a:avLst/>
          </a:prstGeom>
        </p:spPr>
        <p:txBody>
          <a:bodyPr vert="horz" lIns="121877" tIns="60938" rIns="121877" bIns="60938"/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877" tIns="60938" rIns="121877" bIns="60938" anchor="ctr" anchorCtr="0"/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344905" y="403229"/>
            <a:ext cx="11546635" cy="971709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297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7888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9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71367" y="1559096"/>
            <a:ext cx="5353556" cy="4295015"/>
          </a:xfrm>
          <a:prstGeom prst="rect">
            <a:avLst/>
          </a:prstGeom>
        </p:spPr>
        <p:txBody>
          <a:bodyPr vert="horz" lIns="121877" tIns="60938" rIns="121877" bIns="60938">
            <a:noAutofit/>
          </a:bodyPr>
          <a:lstStyle>
            <a:lvl1pPr marL="0" indent="0" algn="ctr">
              <a:buNone/>
              <a:defRPr sz="27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877" tIns="60938" rIns="121877" bIns="60938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253" y="406403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52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4891617" y="311151"/>
            <a:ext cx="4357515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891995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446617" y="311151"/>
            <a:ext cx="43836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427771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2" name="Rectangle 51"/>
          <p:cNvSpPr/>
          <p:nvPr/>
        </p:nvSpPr>
        <p:spPr>
          <a:xfrm>
            <a:off x="446627" y="3028961"/>
            <a:ext cx="336421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 hasCustomPrompt="1"/>
          </p:nvPr>
        </p:nvSpPr>
        <p:spPr>
          <a:xfrm>
            <a:off x="427765" y="3028961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4" name="Rectangle 53"/>
          <p:cNvSpPr/>
          <p:nvPr/>
        </p:nvSpPr>
        <p:spPr>
          <a:xfrm>
            <a:off x="3881970" y="3028961"/>
            <a:ext cx="536716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 hasCustomPrompt="1"/>
          </p:nvPr>
        </p:nvSpPr>
        <p:spPr>
          <a:xfrm>
            <a:off x="3877781" y="3028961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9306444" y="1683669"/>
            <a:ext cx="2451640" cy="344215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 hasCustomPrompt="1"/>
          </p:nvPr>
        </p:nvSpPr>
        <p:spPr>
          <a:xfrm>
            <a:off x="9306444" y="1676404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9306444" y="5182967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0" rIns="91416" bIns="45710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 hasCustomPrompt="1"/>
          </p:nvPr>
        </p:nvSpPr>
        <p:spPr>
          <a:xfrm>
            <a:off x="9306444" y="5182967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0" rIns="91416" bIns="45710" rtlCol="0" anchor="ctr" anchorCtr="0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9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11896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 photo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2522501" y="795528"/>
            <a:ext cx="7132320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2522502" y="4794355"/>
            <a:ext cx="7130071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2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7" tIns="60938" rIns="121877" bIns="6093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67" y="6549656"/>
            <a:ext cx="294060" cy="2060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5" tIns="41051" rIns="82105" bIns="41051" anchor="b">
            <a:spAutoFit/>
          </a:bodyPr>
          <a:lstStyle/>
          <a:p>
            <a:pPr algn="r" defTabSz="81421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  <a:ea typeface="+mn-ea"/>
                <a:cs typeface="+mn-cs"/>
              </a:rPr>
              <a:pPr algn="r" defTabSz="81421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  <a:ea typeface="+mn-ea"/>
              <a:cs typeface="+mn-cs"/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764193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mall photo_top lef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451107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51107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0" tIns="45711" rIns="91420" bIns="45711" rtlCol="0" anchor="ctr" anchorCtr="0">
            <a:normAutofit/>
          </a:bodyPr>
          <a:lstStyle>
            <a:lvl1pPr marL="0" indent="0" algn="ctr" defTabSz="914201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17457" y="3429000"/>
            <a:ext cx="9345731" cy="1421928"/>
          </a:xfrm>
        </p:spPr>
        <p:txBody>
          <a:bodyPr anchor="t">
            <a:noAutofit/>
          </a:bodyPr>
          <a:lstStyle>
            <a:lvl1pPr marL="0" marR="0" indent="0" algn="l" defTabSz="91420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Large photo </a:t>
            </a:r>
            <a:br>
              <a:rPr lang="en-US" dirty="0" smtClean="0"/>
            </a:br>
            <a:r>
              <a:rPr lang="en-US" dirty="0" smtClean="0"/>
              <a:t>caption here.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8" y="6555467"/>
            <a:ext cx="4560687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5" tIns="41051" rIns="82105" bIns="41051" anchor="b" anchorCtr="0">
            <a:spAutoFit/>
          </a:bodyPr>
          <a:lstStyle/>
          <a:p>
            <a:pPr defTabSz="81421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72848"/>
                </a:solidFill>
                <a:latin typeface="CiscoSansTT ExtraLight"/>
                <a:ea typeface="+mn-ea"/>
                <a:cs typeface="+mn-cs"/>
              </a:rPr>
              <a:t>© 2013  Cisco and/or its affiliates. All rights reserved.</a:t>
            </a:r>
            <a:endParaRPr lang="en-US" sz="800" dirty="0">
              <a:solidFill>
                <a:srgbClr val="272848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67" y="6549656"/>
            <a:ext cx="294060" cy="2060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5" tIns="41051" rIns="82105" bIns="41051" anchor="b">
            <a:spAutoFit/>
          </a:bodyPr>
          <a:lstStyle/>
          <a:p>
            <a:pPr algn="r" defTabSz="81421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  <a:ea typeface="+mn-ea"/>
                <a:cs typeface="+mn-cs"/>
              </a:rPr>
              <a:pPr algn="r" defTabSz="81421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  <a:ea typeface="+mn-ea"/>
              <a:cs typeface="+mn-cs"/>
            </a:endParaRP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870918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rtrait photo_right s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6656832" y="859536"/>
            <a:ext cx="4840224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859536"/>
            <a:ext cx="4840224" cy="50292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lIns="121877" tIns="60938" rIns="121877" bIns="6093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9826" y="728981"/>
            <a:ext cx="5799891" cy="1085313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54230" y="6555467"/>
            <a:ext cx="4560687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5" tIns="41051" rIns="82105" bIns="41051" anchor="b" anchorCtr="0">
            <a:spAutoFit/>
          </a:bodyPr>
          <a:lstStyle/>
          <a:p>
            <a:pPr defTabSz="81421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72848"/>
                </a:solidFill>
                <a:latin typeface="CiscoSansTT Light"/>
                <a:ea typeface="+mn-ea"/>
                <a:cs typeface="+mn-cs"/>
              </a:rPr>
              <a:t>© 2013  Cisco and/or its affiliates. All rights reserved.</a:t>
            </a:r>
            <a:endParaRPr lang="en-US" sz="800" dirty="0">
              <a:solidFill>
                <a:srgbClr val="272848"/>
              </a:solidFill>
              <a:latin typeface="CiscoSansTT Light"/>
              <a:ea typeface="+mn-ea"/>
              <a:cs typeface="+mn-cs"/>
            </a:endParaRPr>
          </a:p>
        </p:txBody>
      </p:sp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67" y="6549656"/>
            <a:ext cx="294060" cy="2060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5" tIns="41051" rIns="82105" bIns="41051" anchor="b">
            <a:spAutoFit/>
          </a:bodyPr>
          <a:lstStyle/>
          <a:p>
            <a:pPr algn="r" defTabSz="81421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  <a:ea typeface="+mn-ea"/>
                <a:cs typeface="+mn-cs"/>
              </a:rPr>
              <a:pPr algn="r" defTabSz="81421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  <a:ea typeface="+mn-ea"/>
              <a:cs typeface="+mn-cs"/>
            </a:endParaRPr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973746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465" y="0"/>
            <a:ext cx="12192000" cy="6858000"/>
          </a:xfrm>
          <a:prstGeom prst="rect">
            <a:avLst/>
          </a:prstGeom>
        </p:spPr>
        <p:txBody>
          <a:bodyPr vert="horz" lIns="121877" tIns="60938" rIns="121877" bIns="6093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1813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262708" cy="5877827"/>
          </a:xfrm>
          <a:prstGeom prst="rect">
            <a:avLst/>
          </a:prstGeom>
        </p:spPr>
        <p:txBody>
          <a:bodyPr vert="horz" lIns="121877" tIns="60938" rIns="121877" bIns="6093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94820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bleed phot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7"/>
            <a:ext cx="12192001" cy="6677887"/>
          </a:xfrm>
          <a:prstGeom prst="rect">
            <a:avLst/>
          </a:prstGeom>
        </p:spPr>
        <p:txBody>
          <a:bodyPr vert="horz" lIns="121877" tIns="60938" rIns="121877" bIns="60938"/>
          <a:lstStyle>
            <a:lvl1pPr marL="0" indent="0" algn="ctr">
              <a:buNone/>
              <a:defRPr sz="2000" baseline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8866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de screen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3889021" y="777240"/>
            <a:ext cx="7865888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6" tIns="45710" rIns="91416" bIns="45710" rtlCol="0" anchor="ctr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38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39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3281172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vide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5855493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6" tIns="45710" rIns="91416" bIns="45710" rtlCol="0" anchor="ctr">
            <a:normAutofit/>
          </a:bodyPr>
          <a:lstStyle>
            <a:lvl1pPr marL="0" indent="0" algn="ctr" defTabSz="91416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r>
              <a:rPr lang="en-US" smtClean="0"/>
              <a:t>Click icon to add media</a:t>
            </a:r>
            <a:endParaRPr lang="en-US" dirty="0"/>
          </a:p>
        </p:txBody>
      </p:sp>
      <p:sp>
        <p:nvSpPr>
          <p:cNvPr id="22" name="Rectangle 7"/>
          <p:cNvSpPr>
            <a:spLocks noChangeArrowheads="1"/>
          </p:cNvSpPr>
          <p:nvPr userDrawn="1"/>
        </p:nvSpPr>
        <p:spPr bwMode="ltGray">
          <a:xfrm>
            <a:off x="11547775" y="6572065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9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0667520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Cisco_Logo_CMYK_TM_Whi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683" y="3096213"/>
            <a:ext cx="2531533" cy="133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052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_gradient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4911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_gradient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999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_gradient only">
    <p:bg>
      <p:bgPr>
        <a:gradFill>
          <a:gsLst>
            <a:gs pos="0">
              <a:schemeClr val="accent1"/>
            </a:gs>
            <a:gs pos="100000">
              <a:schemeClr val="accent6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3607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089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3915" y="5451747"/>
            <a:ext cx="1654560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0676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845" y="3066690"/>
            <a:ext cx="3289791" cy="861775"/>
          </a:xfrm>
          <a:prstGeom prst="rect">
            <a:avLst/>
          </a:prstGeom>
          <a:noFill/>
        </p:spPr>
        <p:txBody>
          <a:bodyPr wrap="none" lIns="121877" tIns="60938" rIns="121877" bIns="60938" rtlCol="0">
            <a:spAutoFit/>
          </a:bodyPr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  <a:ea typeface="+mn-ea"/>
                <a:cs typeface="+mn-cs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1656" y="3801573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7460" y="3786908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30780" y="3786908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900368" y="3786908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7831" y="3786908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21618" y="2966683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2031" y="2763676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5217" y="2484532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5629" y="2763672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7417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7833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71013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81427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9836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5"/>
          <p:cNvGrpSpPr>
            <a:grpSpLocks/>
          </p:cNvGrpSpPr>
          <p:nvPr userDrawn="1"/>
        </p:nvGrpSpPr>
        <p:grpSpPr bwMode="auto">
          <a:xfrm>
            <a:off x="5263915" y="5451747"/>
            <a:ext cx="1654560" cy="879663"/>
            <a:chOff x="384" y="331"/>
            <a:chExt cx="912" cy="485"/>
          </a:xfrm>
        </p:grpSpPr>
        <p:sp>
          <p:nvSpPr>
            <p:cNvPr id="19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0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5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6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7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8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9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3849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_Thank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93" y="1254289"/>
            <a:ext cx="11592011" cy="383823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16000" b="0" i="1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hanks</a:t>
            </a:r>
            <a:endParaRPr lang="en-US" dirty="0"/>
          </a:p>
        </p:txBody>
      </p:sp>
      <p:grpSp>
        <p:nvGrpSpPr>
          <p:cNvPr id="20" name="Group 5"/>
          <p:cNvGrpSpPr>
            <a:grpSpLocks/>
          </p:cNvGrpSpPr>
          <p:nvPr userDrawn="1"/>
        </p:nvGrpSpPr>
        <p:grpSpPr bwMode="auto">
          <a:xfrm>
            <a:off x="5263915" y="5451747"/>
            <a:ext cx="1654560" cy="879663"/>
            <a:chOff x="384" y="331"/>
            <a:chExt cx="912" cy="485"/>
          </a:xfrm>
        </p:grpSpPr>
        <p:sp>
          <p:nvSpPr>
            <p:cNvPr id="2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2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4164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+mn-ea"/>
                <a:cs typeface="+mn-cs"/>
              </a:endParaRPr>
            </a:p>
          </p:txBody>
        </p:sp>
      </p:grpSp>
      <p:cxnSp>
        <p:nvCxnSpPr>
          <p:cNvPr id="24" name="Straight Connector 23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513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845" y="3066690"/>
            <a:ext cx="3289791" cy="861775"/>
          </a:xfrm>
          <a:prstGeom prst="rect">
            <a:avLst/>
          </a:prstGeom>
          <a:noFill/>
        </p:spPr>
        <p:txBody>
          <a:bodyPr wrap="none" lIns="121877" tIns="60938" rIns="121877" bIns="60938" rtlCol="0">
            <a:spAutoFit/>
          </a:bodyPr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  <a:ea typeface="+mn-ea"/>
                <a:cs typeface="+mn-cs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1656" y="3801573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7460" y="3786908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30780" y="3786908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900368" y="3786908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7831" y="3786908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21618" y="2966683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2031" y="2763676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5217" y="2484532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5629" y="2763672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7417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7833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71013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81427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77" tIns="60938" rIns="121877" bIns="60938"/>
          <a:lstStyle/>
          <a:p>
            <a:pPr defTabSz="609387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69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 defTabSz="914210" rtl="0" eaLnBrk="1" latinLnBrk="0" hangingPunct="1">
              <a:lnSpc>
                <a:spcPct val="90000"/>
              </a:lnSpc>
              <a:spcBef>
                <a:spcPts val="600"/>
              </a:spcBef>
              <a:buNone/>
              <a:tabLst>
                <a:tab pos="4455407" algn="l"/>
              </a:tabLst>
              <a:defRPr lang="en-US" sz="3200" b="1" kern="1200" cap="all" spc="100" baseline="0" dirty="0">
                <a:solidFill>
                  <a:srgbClr val="B4E7EA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699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98" fontAlgn="base">
              <a:spcBef>
                <a:spcPct val="0"/>
              </a:spcBef>
              <a:spcAft>
                <a:spcPct val="0"/>
              </a:spcAft>
            </a:pPr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6" tIns="60948" rIns="121896" bIns="60948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6" tIns="60948" rIns="121896" bIns="60948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3"/>
            <a:ext cx="511213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 marL="0" algn="ctr" defTabSz="6105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1668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3900" y="304800"/>
            <a:ext cx="6766560" cy="1586848"/>
          </a:xfrm>
          <a:effectLst/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2"/>
                </a:solidFill>
                <a:effectLst/>
                <a:latin typeface="CiscoSansTT Heavy" panose="020B0903020201020303" pitchFamily="34" charset="0"/>
                <a:cs typeface="CiscoSansTT Heavy" panose="020B09030202010203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41250" y="2084832"/>
            <a:ext cx="6671311" cy="1344168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bg1">
                    <a:lumMod val="50000"/>
                  </a:schemeClr>
                </a:solidFill>
                <a:latin typeface="+mj-lt"/>
                <a:cs typeface="CiscoSansTT Thin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9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209551" y="6667502"/>
            <a:ext cx="229362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FFFFFF">
                  <a:lumMod val="9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875" y="6176966"/>
            <a:ext cx="878980" cy="33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880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608" userDrawn="1">
          <p15:clr>
            <a:srgbClr val="FBAE40"/>
          </p15:clr>
        </p15:guide>
        <p15:guide id="2" pos="456" userDrawn="1">
          <p15:clr>
            <a:srgbClr val="FBAE4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209551" y="6667502"/>
            <a:ext cx="229362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FFFFFF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3900" y="304800"/>
            <a:ext cx="10241280" cy="2258568"/>
          </a:xfrm>
          <a:effectLst/>
        </p:spPr>
        <p:txBody>
          <a:bodyPr anchor="b">
            <a:noAutofit/>
          </a:bodyPr>
          <a:lstStyle>
            <a:lvl1pPr algn="l">
              <a:defRPr sz="4400" b="0" i="0">
                <a:solidFill>
                  <a:schemeClr val="tx2"/>
                </a:solidFill>
                <a:effectLst/>
                <a:latin typeface="CiscoSansTT Heavy" panose="020B0903020201020303" pitchFamily="34" charset="0"/>
                <a:cs typeface="CiscoSansTT Heavy" panose="020B09030202010203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41248" y="2752344"/>
            <a:ext cx="8378952" cy="3419856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bg1">
                    <a:lumMod val="50000"/>
                  </a:schemeClr>
                </a:solidFill>
                <a:latin typeface="+mj-lt"/>
                <a:cs typeface="CiscoSansTT Thin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9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5587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608">
          <p15:clr>
            <a:srgbClr val="FBAE40"/>
          </p15:clr>
        </p15:guide>
        <p15:guide id="2" pos="456" userDrawn="1">
          <p15:clr>
            <a:srgbClr val="FBAE40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315749"/>
            <a:ext cx="11087100" cy="952499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82" indent="-342882">
              <a:buClr>
                <a:schemeClr val="accent6"/>
              </a:buClr>
              <a:defRPr/>
            </a:lvl1pPr>
            <a:lvl2pPr marL="685766" indent="-228589"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9622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315749"/>
            <a:ext cx="11087100" cy="952499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82" indent="-342882">
              <a:buClr>
                <a:schemeClr val="accent6"/>
              </a:buClr>
              <a:defRPr/>
            </a:lvl1pPr>
            <a:lvl2pPr marL="685766" indent="-228589"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2107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315749"/>
            <a:ext cx="11087100" cy="952499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47803"/>
            <a:ext cx="11094720" cy="4171951"/>
          </a:xfrm>
        </p:spPr>
        <p:txBody>
          <a:bodyPr/>
          <a:lstStyle>
            <a:lvl1pPr marL="342882" indent="-342882">
              <a:buClr>
                <a:schemeClr val="accent6"/>
              </a:buClr>
              <a:defRPr/>
            </a:lvl1pPr>
            <a:lvl2pPr marL="685766" indent="-228589"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8601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14338" y="1343027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0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  <a:latin typeface="CiscoSansT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431507" y="1343027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0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  <a:latin typeface="CiscoSansT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448674" y="1343028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0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  <a:latin typeface="CiscoSansT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315749"/>
            <a:ext cx="11087100" cy="952499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3" y="2009775"/>
            <a:ext cx="3076575" cy="4167188"/>
          </a:xfrm>
        </p:spPr>
        <p:txBody>
          <a:bodyPr/>
          <a:lstStyle>
            <a:lvl1pPr marL="342882" indent="-342882">
              <a:buClr>
                <a:schemeClr val="accent6"/>
              </a:buClr>
              <a:defRPr sz="2300"/>
            </a:lvl1pPr>
            <a:lvl2pPr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6F6F6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562477" y="2009776"/>
            <a:ext cx="3076575" cy="4167187"/>
          </a:xfrm>
        </p:spPr>
        <p:txBody>
          <a:bodyPr/>
          <a:lstStyle>
            <a:lvl1pPr marL="342882" indent="-342882">
              <a:buClr>
                <a:schemeClr val="accent6"/>
              </a:buClr>
              <a:defRPr sz="2300"/>
            </a:lvl1pPr>
            <a:lvl2pPr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8543927" y="2009775"/>
            <a:ext cx="3076575" cy="4167188"/>
          </a:xfrm>
        </p:spPr>
        <p:txBody>
          <a:bodyPr/>
          <a:lstStyle>
            <a:lvl1pPr marL="342882" indent="-342882">
              <a:buClr>
                <a:schemeClr val="accent6"/>
              </a:buClr>
              <a:defRPr sz="2300"/>
            </a:lvl1pPr>
            <a:lvl2pPr>
              <a:buClr>
                <a:schemeClr val="accent6"/>
              </a:buClr>
              <a:defRPr/>
            </a:lvl2pPr>
            <a:lvl3pPr>
              <a:buClr>
                <a:schemeClr val="accent6"/>
              </a:buClr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23875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chemeClr val="accent6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On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52951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chemeClr val="accent6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Two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543927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chemeClr val="accent6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Thre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9627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15043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plas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5507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nk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7596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872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83" y="432215"/>
            <a:ext cx="11441231" cy="838200"/>
          </a:xfrm>
        </p:spPr>
        <p:txBody>
          <a:bodyPr/>
          <a:lstStyle>
            <a:lvl1pPr algn="l" defTabSz="91411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977" y="1344168"/>
            <a:ext cx="11427883" cy="4965192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029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ificant Numb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58835" y="1320711"/>
            <a:ext cx="9074335" cy="2488999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0">
                <a:solidFill>
                  <a:schemeClr val="accent6"/>
                </a:solidFill>
              </a:defRPr>
            </a:lvl1pPr>
            <a:lvl2pPr marL="457178" indent="0" algn="ctr">
              <a:buFontTx/>
              <a:buNone/>
              <a:defRPr/>
            </a:lvl2pPr>
            <a:lvl3pPr marL="914354" indent="0" algn="ctr">
              <a:buFontTx/>
              <a:buNone/>
              <a:defRPr/>
            </a:lvl3pPr>
            <a:lvl4pPr marL="1371532" indent="0" algn="ctr">
              <a:buFontTx/>
              <a:buNone/>
              <a:defRPr/>
            </a:lvl4pPr>
            <a:lvl5pPr marL="1828709" indent="0" algn="ctr">
              <a:buFontTx/>
              <a:buNone/>
              <a:defRPr/>
            </a:lvl5pPr>
          </a:lstStyle>
          <a:p>
            <a:pPr lvl="0"/>
            <a:r>
              <a:rPr lang="en-US" dirty="0" smtClean="0"/>
              <a:t>XXX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554435" y="3813923"/>
            <a:ext cx="9083132" cy="7286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3500" baseline="0">
                <a:solidFill>
                  <a:schemeClr val="tx2"/>
                </a:solidFill>
              </a:defRPr>
            </a:lvl1pPr>
            <a:lvl2pPr marL="457178" indent="0">
              <a:buFontTx/>
              <a:buNone/>
              <a:defRPr/>
            </a:lvl2pPr>
            <a:lvl3pPr marL="914354" indent="0">
              <a:buFontTx/>
              <a:buNone/>
              <a:defRPr/>
            </a:lvl3pPr>
            <a:lvl4pPr marL="1371532" indent="0">
              <a:buFontTx/>
              <a:buNone/>
              <a:defRPr/>
            </a:lvl4pPr>
            <a:lvl5pPr marL="1828709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Brief descriptive label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3570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67598" y="1374587"/>
            <a:ext cx="10063187" cy="3092092"/>
          </a:xfrm>
        </p:spPr>
        <p:txBody>
          <a:bodyPr anchor="ctr">
            <a:normAutofit/>
          </a:bodyPr>
          <a:lstStyle>
            <a:lvl1pPr marL="230177" indent="-230177">
              <a:lnSpc>
                <a:spcPct val="100000"/>
              </a:lnSpc>
              <a:buFontTx/>
              <a:buNone/>
              <a:defRPr sz="4400"/>
            </a:lvl1pPr>
            <a:lvl2pPr marL="457178" indent="0">
              <a:buFontTx/>
              <a:buNone/>
              <a:defRPr/>
            </a:lvl2pPr>
            <a:lvl3pPr marL="914354" indent="0">
              <a:buFontTx/>
              <a:buNone/>
              <a:defRPr/>
            </a:lvl3pPr>
            <a:lvl4pPr marL="1371532" indent="0">
              <a:buFontTx/>
              <a:buNone/>
              <a:defRPr/>
            </a:lvl4pPr>
            <a:lvl5pPr marL="1828709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“Click to edit quote text.”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35696" y="4917147"/>
            <a:ext cx="9795091" cy="5508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accent6"/>
                </a:solidFill>
                <a:latin typeface="+mn-lt"/>
              </a:defRPr>
            </a:lvl1pPr>
            <a:lvl2pPr marL="457178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2pPr>
            <a:lvl3pPr marL="914354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3pPr>
            <a:lvl4pPr marL="1371532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4pPr>
            <a:lvl5pPr marL="1828709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5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3797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304" y="1124712"/>
            <a:ext cx="4562856" cy="855536"/>
          </a:xfrm>
          <a:prstGeom prst="rect">
            <a:avLst/>
          </a:prstGeom>
        </p:spPr>
      </p:pic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209551" y="6667502"/>
            <a:ext cx="229362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FFFFFF">
                    <a:lumMod val="9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FFFFFF">
                  <a:lumMod val="9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622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7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31799" y="6356367"/>
            <a:ext cx="2844800" cy="365125"/>
          </a:xfrm>
          <a:prstGeom prst="rect">
            <a:avLst/>
          </a:prstGeom>
        </p:spPr>
        <p:txBody>
          <a:bodyPr lIns="91418" tIns="45710" rIns="91418" bIns="45710"/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5302C3D5-9628-4096-B9E2-B44662FADAE3}" type="datetime1">
              <a:rPr lang="de-DE" smtClean="0">
                <a:solidFill>
                  <a:srgbClr val="000000"/>
                </a:solidFill>
                <a:latin typeface="CiscoSansTT"/>
                <a:ea typeface="+mn-ea"/>
                <a:cs typeface="+mn-cs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18.01.2017</a:t>
            </a:fld>
            <a:endParaRPr lang="de-DE">
              <a:solidFill>
                <a:srgbClr val="000000"/>
              </a:solidFill>
              <a:latin typeface="CiscoSansTT"/>
              <a:ea typeface="+mn-ea"/>
              <a:cs typeface="+mn-cs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276601" y="6356367"/>
            <a:ext cx="5639859" cy="365125"/>
          </a:xfrm>
          <a:prstGeom prst="rect">
            <a:avLst/>
          </a:prstGeom>
        </p:spPr>
        <p:txBody>
          <a:bodyPr lIns="91418" tIns="45710" rIns="91418" bIns="45710"/>
          <a:lstStyle/>
          <a:p>
            <a:r>
              <a:rPr lang="de-DE" dirty="0" smtClean="0">
                <a:solidFill>
                  <a:srgbClr val="F6F6F6"/>
                </a:solidFill>
              </a:rPr>
              <a:t>Fußzeile - Key-Account-Management  Plan</a:t>
            </a:r>
            <a:endParaRPr lang="de-DE" dirty="0">
              <a:solidFill>
                <a:srgbClr val="F6F6F6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916457" y="6356367"/>
            <a:ext cx="2844800" cy="365125"/>
          </a:xfrm>
          <a:prstGeom prst="rect">
            <a:avLst/>
          </a:prstGeom>
        </p:spPr>
        <p:txBody>
          <a:bodyPr lIns="91418" tIns="45710" rIns="91418" bIns="45710"/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9DC1E638-3F78-4E0D-883A-B278700C48C0}" type="slidenum">
              <a:rPr lang="de-DE" smtClean="0">
                <a:solidFill>
                  <a:srgbClr val="000000"/>
                </a:solidFill>
                <a:latin typeface="CiscoSansTT"/>
                <a:ea typeface="+mn-ea"/>
                <a:cs typeface="+mn-cs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>
              <a:solidFill>
                <a:srgbClr val="000000"/>
              </a:solidFill>
              <a:latin typeface="CiscoSansTT"/>
              <a:ea typeface="+mn-ea"/>
              <a:cs typeface="+mn-cs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5"/>
            <a:ext cx="11328400" cy="33624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5434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2"/>
            <a:ext cx="2286000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6135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4692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:\Production\Cisco Projects\C97 Presentation (PPT-PDF)\C97-734842-00\Supporting Files\ZN00500.jpg"/>
          <p:cNvPicPr>
            <a:picLocks noChangeAspect="1" noChangeArrowheads="1"/>
          </p:cNvPicPr>
          <p:nvPr/>
        </p:nvPicPr>
        <p:blipFill>
          <a:blip r:embed="rId2"/>
          <a:srcRect r="18192"/>
          <a:stretch>
            <a:fillRect/>
          </a:stretch>
        </p:blipFill>
        <p:spPr bwMode="auto">
          <a:xfrm>
            <a:off x="5179491" y="0"/>
            <a:ext cx="7012509" cy="6858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5147735" y="0"/>
            <a:ext cx="512838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3" cstate="print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67" y="427567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4D4D4D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55076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62" y="4279405"/>
            <a:ext cx="6246489" cy="384175"/>
          </a:xfrm>
          <a:prstGeom prst="rect">
            <a:avLst/>
          </a:prstGeom>
        </p:spPr>
        <p:txBody>
          <a:bodyPr vert="horz" lIns="91430" tIns="45716" rIns="91430" bIns="45716" rtlCol="0">
            <a:noAutofit/>
          </a:bodyPr>
          <a:lstStyle>
            <a:lvl1pPr marL="0" indent="0" algn="l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09" y="3282704"/>
            <a:ext cx="6283409" cy="1022351"/>
          </a:xfrm>
        </p:spPr>
        <p:txBody>
          <a:bodyPr lIns="82285" tIns="45716" rIns="82285" bIns="45716" rtlCol="0" anchor="b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1"/>
            <a:ext cx="3568700" cy="2889251"/>
          </a:xfrm>
          <a:prstGeom prst="rect">
            <a:avLst/>
          </a:prstGeom>
        </p:spPr>
        <p:txBody>
          <a:bodyPr lIns="121890" tIns="60945" rIns="121890" bIns="60945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57283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3559" y="6544009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387831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06336" y="6542337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8363804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42871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abric-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17251" cy="688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0403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90" y="1797053"/>
            <a:ext cx="11040076" cy="4098595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51630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08653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80448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5" y="1194135"/>
            <a:ext cx="11198319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0741379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283193" indent="-523187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960985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6494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7" y="1797051"/>
            <a:ext cx="5201497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3975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13" y="403345"/>
            <a:ext cx="4954660" cy="1101929"/>
          </a:xfrm>
          <a:prstGeom prst="rect">
            <a:avLst/>
          </a:prstGeom>
        </p:spPr>
        <p:txBody>
          <a:bodyPr lIns="82281" tIns="45714" rIns="82281" bIns="45714" rtlCol="0">
            <a:noAutofit/>
          </a:bodyPr>
          <a:lstStyle>
            <a:lvl1pPr algn="l" defTabSz="9142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94" y="403341"/>
            <a:ext cx="4954660" cy="1101928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13" y="1797051"/>
            <a:ext cx="4954660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94" y="1797051"/>
            <a:ext cx="4954660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999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0" y="304429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6" y="303789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3" y="293976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1" y="1601459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3" y="1600428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201613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42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0" tIns="60945" rIns="121890" bIns="60945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114288" indent="-114288" algn="l" defTabSz="91427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45" y="4736592"/>
            <a:ext cx="4674993" cy="338328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7" y="1797051"/>
            <a:ext cx="5201497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35123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655799"/>
            <a:ext cx="11127317" cy="574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773" tIns="60886" rIns="121773" bIns="60886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2528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9580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3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94" indent="-533277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5051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1" y="1918751"/>
            <a:ext cx="5093797" cy="3020519"/>
          </a:xfrm>
        </p:spPr>
        <p:txBody>
          <a:bodyPr lIns="82285" tIns="45716" rIns="82285" bIns="45716" rtlCol="0" anchor="ctr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54507" cy="5120640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7689194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0" y="5530965"/>
            <a:ext cx="9573749" cy="434977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2778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0" y="5530965"/>
            <a:ext cx="9573749" cy="434977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5751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7" y="1799275"/>
            <a:ext cx="5342668" cy="4054364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70"/>
            <a:ext cx="5431128" cy="4052529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28716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3" y="1799139"/>
            <a:ext cx="5338660" cy="4054500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4177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8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7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8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7" y="3733528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6" y="3730932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7" y="3730932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1785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0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8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0" y="5164189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593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4" y="5161593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7769147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3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1" y="4635533"/>
            <a:ext cx="10852149" cy="6942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96" tIns="0" rIns="121917" bIns="60958" numCol="1" anchor="ctr" anchorCtr="0" compatLnSpc="1">
            <a:prstTxWarp prst="textNoShape">
              <a:avLst/>
            </a:prstTxWarp>
            <a:spAutoFit/>
          </a:bodyPr>
          <a:lstStyle>
            <a:lvl1pPr marL="23039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590437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 bwMode="black">
          <a:xfrm>
            <a:off x="475488" y="1332638"/>
            <a:ext cx="11241024" cy="448735"/>
          </a:xfrm>
          <a:prstGeom prst="rect">
            <a:avLst/>
          </a:prstGeom>
        </p:spPr>
        <p:txBody>
          <a:bodyPr vert="horz" lIns="100571" tIns="45726" rIns="91432" bIns="45726" rtlCol="0">
            <a:normAutofit/>
          </a:bodyPr>
          <a:lstStyle>
            <a:lvl1pPr marL="2380" indent="0">
              <a:lnSpc>
                <a:spcPct val="85000"/>
              </a:lnSpc>
              <a:spcBef>
                <a:spcPts val="0"/>
              </a:spcBef>
              <a:buFontTx/>
              <a:buNone/>
              <a:defRPr lang="en-US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 bwMode="black">
          <a:xfrm>
            <a:off x="11212945" y="6228633"/>
            <a:ext cx="479555" cy="366183"/>
          </a:xfrm>
          <a:prstGeom prst="rect">
            <a:avLst/>
          </a:prstGeom>
        </p:spPr>
        <p:txBody>
          <a:bodyPr vert="horz" lIns="121888" tIns="60944" rIns="121888" bIns="60944" rtlCol="0" anchor="ctr"/>
          <a:lstStyle>
            <a:lvl1pPr>
              <a:defRPr lang="en-US" sz="80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algn="r" defTabSz="609407" fontAlgn="auto">
              <a:spcBef>
                <a:spcPts val="0"/>
              </a:spcBef>
              <a:spcAft>
                <a:spcPts val="0"/>
              </a:spcAft>
            </a:pPr>
            <a:fld id="{96A97DD0-5BE7-4856-A2A9-C42C6688E607}" type="slidenum">
              <a:rPr lang="en-US" smtClean="0">
                <a:solidFill>
                  <a:prstClr val="white">
                    <a:alpha val="60000"/>
                  </a:prstClr>
                </a:solidFill>
                <a:latin typeface="Calibri"/>
              </a:rPr>
              <a:pPr algn="r" defTabSz="60940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white">
                  <a:alpha val="60000"/>
                </a:prstClr>
              </a:solidFill>
              <a:latin typeface="Calibri"/>
            </a:endParaRPr>
          </a:p>
        </p:txBody>
      </p:sp>
      <p:sp>
        <p:nvSpPr>
          <p:cNvPr id="25" name="Content Placeholder 23"/>
          <p:cNvSpPr>
            <a:spLocks noGrp="1"/>
          </p:cNvSpPr>
          <p:nvPr>
            <p:ph sz="quarter" idx="11"/>
          </p:nvPr>
        </p:nvSpPr>
        <p:spPr>
          <a:xfrm>
            <a:off x="475488" y="1905000"/>
            <a:ext cx="11241024" cy="3874888"/>
          </a:xfrm>
          <a:prstGeom prst="rect">
            <a:avLst/>
          </a:prstGeom>
        </p:spPr>
        <p:txBody>
          <a:bodyPr lIns="91432" tIns="45726" rIns="91432" bIns="4572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9937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4" y="401387"/>
            <a:ext cx="11417563" cy="3389567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0" y="4072695"/>
            <a:ext cx="11152315" cy="757254"/>
          </a:xfrm>
          <a:prstGeom prst="rect">
            <a:avLst/>
          </a:prstGeom>
        </p:spPr>
        <p:txBody>
          <a:bodyPr vert="horz" wrap="square" lIns="121917" tIns="60958" rIns="121917" bIns="60958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6265077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3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92855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96" tIns="60948" rIns="121896" bIns="6094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65674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7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7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1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96" tIns="60948" rIns="121896" bIns="6094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5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885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5" y="311155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34" tIns="45718" rIns="91434" bIns="45718" rtlCol="0" anchor="ctr" anchorCtr="0">
            <a:normAutofit/>
          </a:bodyPr>
          <a:lstStyle>
            <a:lvl1pPr marL="0" indent="0" algn="ctr" defTabSz="914346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89" y="3307595"/>
            <a:ext cx="8973153" cy="2152559"/>
          </a:xfrm>
        </p:spPr>
        <p:txBody>
          <a:bodyPr>
            <a:noAutofit/>
          </a:bodyPr>
          <a:lstStyle>
            <a:lvl1pPr marL="0" marR="0" indent="0" algn="l" defTabSz="914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90699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96" tIns="60948" rIns="121896" bIns="6094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59" y="728984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95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6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6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93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22" y="3028956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7" y="3028956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93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93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2002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5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62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79" y="3028962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27445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1878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59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30" tIns="45716" rIns="91430" bIns="45716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48241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30" tIns="45716" rIns="91430" bIns="45716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5920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 fontAlgn="base">
              <a:spcBef>
                <a:spcPct val="0"/>
              </a:spcBef>
              <a:spcAft>
                <a:spcPct val="0"/>
              </a:spcAft>
            </a:pPr>
            <a:endParaRPr lang="en-US" sz="1900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 fontAlgn="base">
              <a:spcBef>
                <a:spcPct val="0"/>
              </a:spcBef>
              <a:spcAft>
                <a:spcPct val="0"/>
              </a:spcAft>
            </a:pPr>
            <a:endParaRPr lang="en-US" sz="1900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16779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5" y="5057607"/>
            <a:ext cx="11061895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5" y="5377603"/>
            <a:ext cx="11061895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5" y="5697599"/>
            <a:ext cx="11061895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3" y="4281951"/>
            <a:ext cx="11070167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295" indent="0">
              <a:buNone/>
              <a:defRPr/>
            </a:lvl2pPr>
            <a:lvl3pPr marL="569756" indent="0">
              <a:buNone/>
              <a:defRPr/>
            </a:lvl3pPr>
            <a:lvl4pPr marL="688787" indent="0">
              <a:buNone/>
              <a:defRPr/>
            </a:lvl4pPr>
            <a:lvl5pPr marL="8014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grpSp>
        <p:nvGrpSpPr>
          <p:cNvPr id="8" name="Group 67"/>
          <p:cNvGrpSpPr/>
          <p:nvPr userDrawn="1"/>
        </p:nvGrpSpPr>
        <p:grpSpPr>
          <a:xfrm>
            <a:off x="380226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9" name="Rectangle 8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01023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85218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26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57799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8" y="-3427"/>
            <a:ext cx="12200575" cy="6864857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6323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>
            <a:spLocks noChangeArrowheads="1"/>
          </p:cNvSpPr>
          <p:nvPr/>
        </p:nvSpPr>
        <p:spPr bwMode="ltGray">
          <a:xfrm>
            <a:off x="11448275" y="6250106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61" tIns="54728" rIns="109461" bIns="54728" anchor="b">
            <a:spAutoFit/>
          </a:bodyPr>
          <a:lstStyle/>
          <a:p>
            <a:pPr algn="r" defTabSz="1085505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50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ltGray">
          <a:xfrm>
            <a:off x="11448275" y="6250106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61" tIns="54728" rIns="109461" bIns="54728" anchor="b">
            <a:spAutoFit/>
          </a:bodyPr>
          <a:lstStyle/>
          <a:p>
            <a:pPr algn="r" defTabSz="1085505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50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71387" y="1559096"/>
            <a:ext cx="5353556" cy="4295015"/>
          </a:xfrm>
          <a:prstGeom prst="rect">
            <a:avLst/>
          </a:prstGeom>
        </p:spPr>
        <p:txBody>
          <a:bodyPr vert="horz" lIns="162493" tIns="81245" rIns="162493" bIns="81245">
            <a:noAutofit/>
          </a:bodyPr>
          <a:lstStyle>
            <a:lvl1pPr marL="0" indent="0" algn="ctr">
              <a:buNone/>
              <a:defRPr sz="36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62493" tIns="81245" rIns="162493" bIns="81245" anchor="ctr" anchorCtr="0">
            <a:noAutofit/>
          </a:bodyPr>
          <a:lstStyle>
            <a:lvl1pPr marL="0" indent="0">
              <a:buNone/>
              <a:defRPr sz="43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251" y="406404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ltGray">
          <a:xfrm>
            <a:off x="389403" y="6255943"/>
            <a:ext cx="4560687" cy="279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9461" tIns="54728" rIns="109461" bIns="54728" anchor="b" anchorCtr="0">
            <a:spAutoFit/>
          </a:bodyPr>
          <a:lstStyle/>
          <a:p>
            <a:pPr defTabSz="1085505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811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8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fld id="{C1CA7520-E178-CE4F-A38E-20F39FA060C7}" type="datetimeFigureOut">
              <a:rPr lang="en-US" sz="2400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585" fontAlgn="auto">
                <a:spcBef>
                  <a:spcPts val="0"/>
                </a:spcBef>
                <a:spcAft>
                  <a:spcPts val="0"/>
                </a:spcAft>
              </a:pPr>
              <a:t>1/18/2017</a:t>
            </a:fld>
            <a:endParaRPr lang="en-US" sz="240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fld id="{E9B4911D-0A1E-6649-90B1-380E377C62F4}" type="slidenum">
              <a:rPr lang="en-US" sz="2400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5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240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5008916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370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51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0380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2"/>
            <a:ext cx="10816168" cy="384175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7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29"/>
            <a:ext cx="10816867" cy="384175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5" y="3496671"/>
            <a:ext cx="11070167" cy="398668"/>
          </a:xfrm>
          <a:prstGeom prst="rect">
            <a:avLst/>
          </a:prstGeom>
        </p:spPr>
        <p:txBody>
          <a:bodyPr lIns="121909" tIns="60954" rIns="121909" bIns="60954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15" indent="0">
              <a:buNone/>
              <a:defRPr/>
            </a:lvl2pPr>
            <a:lvl3pPr marL="569932" indent="0">
              <a:buNone/>
              <a:defRPr/>
            </a:lvl3pPr>
            <a:lvl4pPr marL="688997" indent="0">
              <a:buNone/>
              <a:defRPr/>
            </a:lvl4pPr>
            <a:lvl5pPr marL="80171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1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39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534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57" y="4279398"/>
            <a:ext cx="6246489" cy="384175"/>
          </a:xfrm>
          <a:prstGeom prst="rect">
            <a:avLst/>
          </a:prstGeom>
        </p:spPr>
        <p:txBody>
          <a:bodyPr vert="horz" lIns="91444" tIns="45726" rIns="91444" bIns="45726" rtlCol="0">
            <a:noAutofit/>
          </a:bodyPr>
          <a:lstStyle>
            <a:lvl1pPr marL="0" indent="0" algn="l" defTabSz="9144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4" tIns="45726" rIns="91444" bIns="45726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37" y="3282701"/>
            <a:ext cx="6283409" cy="1022351"/>
          </a:xfrm>
        </p:spPr>
        <p:txBody>
          <a:bodyPr vert="horz" lIns="82299" tIns="45726" rIns="82299" bIns="45726" rtlCol="0" anchor="b" anchorCtr="0">
            <a:noAutofit/>
          </a:bodyPr>
          <a:lstStyle>
            <a:lvl1pPr marL="0" indent="0" algn="l" defTabSz="9144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4" tIns="45726" rIns="91444" bIns="45726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7171" y="1917701"/>
            <a:ext cx="3568700" cy="2889251"/>
          </a:xfrm>
          <a:prstGeom prst="rect">
            <a:avLst/>
          </a:prstGeom>
        </p:spPr>
        <p:txBody>
          <a:bodyPr lIns="121909" tIns="60954" rIns="121909" bIns="60954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4624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:\Production\Cisco Projects\C97 Presentation (PPT-PDF)\C97-734842-00\Supporting Files\ZN00500.jpg"/>
          <p:cNvPicPr>
            <a:picLocks noChangeAspect="1" noChangeArrowheads="1"/>
          </p:cNvPicPr>
          <p:nvPr/>
        </p:nvPicPr>
        <p:blipFill>
          <a:blip r:embed="rId2"/>
          <a:srcRect r="18192"/>
          <a:stretch>
            <a:fillRect/>
          </a:stretch>
        </p:blipFill>
        <p:spPr bwMode="auto">
          <a:xfrm>
            <a:off x="5179492" y="0"/>
            <a:ext cx="7012509" cy="6858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5147735" y="0"/>
            <a:ext cx="512838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3" cstate="print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77" y="427569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3" y="4281951"/>
            <a:ext cx="11070167" cy="398668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4D4D4D"/>
                </a:solidFill>
                <a:latin typeface="+mj-lt"/>
              </a:defRPr>
            </a:lvl1pPr>
            <a:lvl2pPr marL="406295" indent="0">
              <a:buNone/>
              <a:defRPr/>
            </a:lvl2pPr>
            <a:lvl3pPr marL="569756" indent="0">
              <a:buNone/>
              <a:defRPr/>
            </a:lvl3pPr>
            <a:lvl4pPr marL="688787" indent="0">
              <a:buNone/>
              <a:defRPr/>
            </a:lvl4pPr>
            <a:lvl5pPr marL="80146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5" y="5057607"/>
            <a:ext cx="11061895" cy="384175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457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5" y="5377603"/>
            <a:ext cx="11061895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5" y="5697599"/>
            <a:ext cx="11061895" cy="384175"/>
          </a:xfrm>
          <a:prstGeom prst="rect">
            <a:avLst/>
          </a:prstGeom>
        </p:spPr>
        <p:txBody>
          <a:bodyPr lIns="121872" tIns="60936" rIns="121872" bIns="6093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pic>
        <p:nvPicPr>
          <p:cNvPr id="11" name="Picture 2" descr="Y:\Production\Cisco Projects\C97 Presentation (PPT-PDF)\C97-734842-00\Supporting Files\ZN00500.jpg"/>
          <p:cNvPicPr>
            <a:picLocks noChangeAspect="1" noChangeArrowheads="1"/>
          </p:cNvPicPr>
          <p:nvPr userDrawn="1"/>
        </p:nvPicPr>
        <p:blipFill>
          <a:blip r:embed="rId2"/>
          <a:srcRect r="18192"/>
          <a:stretch>
            <a:fillRect/>
          </a:stretch>
        </p:blipFill>
        <p:spPr bwMode="auto">
          <a:xfrm>
            <a:off x="5179492" y="0"/>
            <a:ext cx="7012509" cy="6858000"/>
          </a:xfrm>
          <a:prstGeom prst="rect">
            <a:avLst/>
          </a:prstGeom>
          <a:noFill/>
        </p:spPr>
      </p:pic>
      <p:sp>
        <p:nvSpPr>
          <p:cNvPr id="12" name="Rectangle 11"/>
          <p:cNvSpPr/>
          <p:nvPr userDrawn="1"/>
        </p:nvSpPr>
        <p:spPr>
          <a:xfrm>
            <a:off x="5147735" y="0"/>
            <a:ext cx="512838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3" name="Picture 8" descr="logo_black.ai"/>
          <p:cNvPicPr>
            <a:picLocks noChangeAspect="1"/>
          </p:cNvPicPr>
          <p:nvPr userDrawn="1"/>
        </p:nvPicPr>
        <p:blipFill>
          <a:blip r:embed="rId3" cstate="print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77" y="427569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95410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0" tIns="45722" rIns="91440" bIns="45722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0" tIns="45722" rIns="91440" bIns="45722" anchor="ctr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62101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20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50145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4704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89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5" y="1600205"/>
            <a:ext cx="11546635" cy="4525433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80962" marR="0" indent="-380962" algn="ctr" defTabSz="6095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53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92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74613" indent="-29841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266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85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846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423" indent="-22434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4005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04768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39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118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93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7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04768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39" indent="-287835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118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93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7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78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111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4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984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4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137929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7472" y="1639737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61632" y="1747689"/>
            <a:ext cx="4315968" cy="244000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114300" indent="-114300" algn="l" defTabSz="91439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300" indent="-114300" algn="l" defTabSz="9143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6401" y="4736592"/>
            <a:ext cx="4434761" cy="338328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3111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423" indent="-25397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13898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20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699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48" y="403341"/>
            <a:ext cx="5340096" cy="838200"/>
          </a:xfrm>
          <a:prstGeom prst="rect">
            <a:avLst/>
          </a:prstGeom>
        </p:spPr>
        <p:txBody>
          <a:bodyPr vert="horz" lIns="82295" tIns="45722" rIns="82295" bIns="45722" rtlCol="0" anchor="t" anchorCtr="0">
            <a:noAutofit/>
          </a:bodyPr>
          <a:lstStyle>
            <a:lvl1pPr algn="l" defTabSz="91439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85" y="1600200"/>
            <a:ext cx="5340096" cy="4526280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95" indent="-22860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5184" y="1600200"/>
            <a:ext cx="5340096" cy="4526280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95" indent="-22860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9905" y="403341"/>
            <a:ext cx="5340096" cy="841248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753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6" tIns="45714" rIns="91416" bIns="45714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6" tIns="45714" rIns="91416" bIns="45714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2" y="4279414"/>
            <a:ext cx="6246489" cy="384175"/>
          </a:xfrm>
          <a:prstGeom prst="rect">
            <a:avLst/>
          </a:prstGeom>
        </p:spPr>
        <p:txBody>
          <a:bodyPr vert="horz" lIns="91416" tIns="45714" rIns="91416" bIns="45714" rtlCol="0">
            <a:noAutofit/>
          </a:bodyPr>
          <a:lstStyle>
            <a:lvl1pPr marL="0" indent="0" algn="l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18" y="3282704"/>
            <a:ext cx="6283409" cy="1022351"/>
          </a:xfrm>
        </p:spPr>
        <p:txBody>
          <a:bodyPr lIns="82271" tIns="45714" rIns="82271" bIns="45714" rtlCol="0" anchor="b">
            <a:noAutofit/>
          </a:bodyPr>
          <a:lstStyle>
            <a:lvl1pPr marL="0" indent="0" algn="l" defTabSz="914149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1"/>
            <a:ext cx="3568700" cy="2889251"/>
          </a:xfrm>
          <a:prstGeom prst="rect">
            <a:avLst/>
          </a:prstGeom>
        </p:spPr>
        <p:txBody>
          <a:bodyPr lIns="121872" tIns="60936" rIns="121872" bIns="60936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8366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88" y="100584"/>
            <a:ext cx="3557943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4537" y="100584"/>
            <a:ext cx="3466479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2937" y="100584"/>
            <a:ext cx="3512211" cy="1152144"/>
          </a:xfrm>
          <a:prstGeom prst="rect">
            <a:avLst/>
          </a:prstGeom>
        </p:spPr>
        <p:txBody>
          <a:bodyPr lIns="121909" tIns="60954" rIns="121909" bIns="60954" anchor="b" anchorCtr="0">
            <a:noAutofit/>
          </a:bodyPr>
          <a:lstStyle>
            <a:lvl1pPr marL="0" marR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88" y="1602098"/>
            <a:ext cx="3557943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98419" indent="-228578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580" indent="-25397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809" indent="-22222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311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2937" y="1578597"/>
            <a:ext cx="3512211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28609" indent="-22860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952" indent="-28797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4042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311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4537" y="1602098"/>
            <a:ext cx="3466479" cy="444801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228609" indent="-22860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271" indent="-23492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734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426" indent="-228578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770" indent="-22434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78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2100" y="812805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9900" y="812805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3140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352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46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19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5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80" indent="-537580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516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01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9037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9786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353" y="1918746"/>
            <a:ext cx="5489928" cy="3020519"/>
          </a:xfrm>
        </p:spPr>
        <p:txBody>
          <a:bodyPr vert="horz" lIns="82299" tIns="45726" rIns="82299" bIns="45726" rtlCol="0" anchor="ctr" anchorCtr="0">
            <a:noAutofit/>
          </a:bodyPr>
          <a:lstStyle>
            <a:lvl1pPr marL="0" indent="0" algn="l" defTabSz="9144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93792" cy="5120640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41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30139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81" y="403228"/>
            <a:ext cx="1150843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36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486956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9" y="1583269"/>
            <a:ext cx="11267015" cy="4057651"/>
          </a:xfrm>
          <a:prstGeom prst="rect">
            <a:avLst/>
          </a:prstGeom>
        </p:spPr>
        <p:txBody>
          <a:bodyPr lIns="121909" tIns="60954" rIns="121909" bIns="60954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marL="0" indent="0" algn="l" defTabSz="804857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72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210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3559" y="6544009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9" tIns="41054" rIns="82099" bIns="41054" anchor="b">
            <a:spAutoFit/>
          </a:bodyPr>
          <a:lstStyle/>
          <a:p>
            <a:pPr algn="r" defTabSz="8141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1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387831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06336" y="6542337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9" tIns="41054" rIns="82099" bIns="41054" anchor="b">
            <a:spAutoFit/>
          </a:bodyPr>
          <a:lstStyle/>
          <a:p>
            <a:pPr defTabSz="814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11547733" y="6323870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389401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52343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50940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96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6076" y="403228"/>
            <a:ext cx="11487920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0"/>
            <a:ext cx="9948333" cy="276999"/>
          </a:xfrm>
          <a:prstGeom prst="rect">
            <a:avLst/>
          </a:prstGeom>
        </p:spPr>
        <p:txBody>
          <a:bodyPr wrap="square" lIns="121909" tIns="60954" rIns="121909" bIns="60954" anchor="b" anchorCtr="0">
            <a:noAutofit/>
          </a:bodyPr>
          <a:lstStyle>
            <a:lvl1pPr algn="l" defTabSz="80485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27" y="6572042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5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02157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6077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2" y="1559096"/>
            <a:ext cx="5355167" cy="4292600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74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2" y="1559096"/>
            <a:ext cx="5355167" cy="4292600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905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378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621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9" tIns="60954" rIns="121909" bIns="60954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91" y="1559096"/>
            <a:ext cx="5353556" cy="4295015"/>
          </a:xfrm>
          <a:prstGeom prst="rect">
            <a:avLst/>
          </a:prstGeom>
        </p:spPr>
        <p:txBody>
          <a:bodyPr vert="horz" lIns="121909" tIns="60954" rIns="121909" bIns="60954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54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844" y="3066687"/>
            <a:ext cx="3289789" cy="861775"/>
          </a:xfrm>
          <a:prstGeom prst="rect">
            <a:avLst/>
          </a:prstGeom>
          <a:noFill/>
        </p:spPr>
        <p:txBody>
          <a:bodyPr wrap="none" lIns="121909" tIns="60954" rIns="121909" bIns="60954" rtlCol="0">
            <a:spAutoFit/>
          </a:bodyPr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1656" y="3801569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7460" y="378690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30780" y="378690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900368" y="3786905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7831" y="3786905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21615" y="2966680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2027" y="2763672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5214" y="2484528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5626" y="2763669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7417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7833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71011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81427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9" tIns="60954" rIns="121909" bIns="60954"/>
          <a:lstStyle/>
          <a:p>
            <a:pPr defTabSz="609539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1400467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9" y="5057618"/>
            <a:ext cx="11061895" cy="384175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9" y="5377614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9" y="5697610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7" y="4281951"/>
            <a:ext cx="11070167" cy="398668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67" indent="0">
              <a:buNone/>
              <a:defRPr/>
            </a:lvl2pPr>
            <a:lvl3pPr marL="569570" indent="0">
              <a:buNone/>
              <a:defRPr/>
            </a:lvl3pPr>
            <a:lvl4pPr marL="688565" indent="0">
              <a:buNone/>
              <a:defRPr/>
            </a:lvl4pPr>
            <a:lvl5pPr marL="8012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658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3" y="4279421"/>
            <a:ext cx="6246489" cy="384175"/>
          </a:xfrm>
          <a:prstGeom prst="rect">
            <a:avLst/>
          </a:prstGeom>
        </p:spPr>
        <p:txBody>
          <a:bodyPr vert="horz" lIns="91388" tIns="45702" rIns="91388" bIns="45702" rtlCol="0">
            <a:noAutofit/>
          </a:bodyPr>
          <a:lstStyle>
            <a:lvl1pPr marL="0" indent="0" algn="l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0" y="3282704"/>
            <a:ext cx="6283409" cy="1022351"/>
          </a:xfrm>
        </p:spPr>
        <p:txBody>
          <a:bodyPr lIns="82245" tIns="45702" rIns="82245" bIns="45702" rtlCol="0" anchor="b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4" tIns="60917" rIns="121834" bIns="60917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9366143"/>
      </p:ext>
    </p:extLst>
  </p:cSld>
  <p:clrMapOvr>
    <a:masterClrMapping/>
  </p:clrMapOvr>
  <p:transition spd="slow">
    <p:wip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42" rIns="82075" bIns="41042" anchor="b">
            <a:spAutoFit/>
          </a:bodyPr>
          <a:lstStyle/>
          <a:p>
            <a:pPr algn="r" defTabSz="8139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pPr algn="r" defTabSz="8139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5" tIns="41042" rIns="82075" bIns="41042" anchor="b">
            <a:spAutoFit/>
          </a:bodyPr>
          <a:lstStyle/>
          <a:p>
            <a:pPr defTabSz="813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5335928"/>
      </p:ext>
    </p:extLst>
  </p:cSld>
  <p:clrMapOvr>
    <a:masterClrMapping/>
  </p:clrMapOvr>
  <p:transition spd="med">
    <p:fade/>
  </p:transition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318776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2" tIns="45714" rIns="91412" bIns="45714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2" tIns="45714" rIns="91412" bIns="45714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2" tIns="45722" rIns="91432" bIns="45722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2" tIns="45722" rIns="91432" bIns="45722" anchor="ctr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209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99644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2114613"/>
      </p:ext>
    </p:extLst>
  </p:cSld>
  <p:clrMapOvr>
    <a:masterClrMapping/>
  </p:clrMapOvr>
  <p:transition spd="med">
    <p:fade/>
  </p:transition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1" y="1194135"/>
            <a:ext cx="1119831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2118606"/>
      </p:ext>
    </p:extLst>
  </p:cSld>
  <p:clrMapOvr>
    <a:masterClrMapping/>
  </p:clrMapOvr>
  <p:transition spd="med">
    <p:fade/>
  </p:transition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283054" indent="-522934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09002904"/>
      </p:ext>
    </p:extLst>
  </p:cSld>
  <p:clrMapOvr>
    <a:masterClrMapping/>
  </p:clrMapOvr>
  <p:transition spd="med"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52351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1797369"/>
      </p:ext>
    </p:extLst>
  </p:cSld>
  <p:clrMapOvr>
    <a:masterClrMapping/>
  </p:clrMapOvr>
  <p:transition spd="med"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8"/>
            <a:ext cx="4954660" cy="1101929"/>
          </a:xfrm>
          <a:prstGeom prst="rect">
            <a:avLst/>
          </a:prstGeom>
        </p:spPr>
        <p:txBody>
          <a:bodyPr lIns="82241" tIns="45698" rIns="82241" bIns="45698" rtlCol="0">
            <a:noAutofit/>
          </a:bodyPr>
          <a:lstStyle>
            <a:lvl1pPr algn="l" defTabSz="91381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569917"/>
      </p:ext>
    </p:extLst>
  </p:cSld>
  <p:clrMapOvr>
    <a:masterClrMapping/>
  </p:clrMapOvr>
  <p:transition spd="med">
    <p:fade/>
  </p:transition>
  <p:hf hdr="0" ftr="0" dt="0"/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6" y="30444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2" y="30380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8" y="293992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6043324"/>
      </p:ext>
    </p:extLst>
  </p:cSld>
  <p:clrMapOvr>
    <a:masterClrMapping/>
  </p:clrMapOvr>
  <p:transition spd="med">
    <p:fade/>
  </p:transition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4" tIns="60917" rIns="121834" bIns="60917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114234" indent="-114234" algn="l" defTabSz="91381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6" y="4736592"/>
            <a:ext cx="4674993" cy="338328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259470"/>
      </p:ext>
    </p:extLst>
  </p:cSld>
  <p:clrMapOvr>
    <a:masterClrMapping/>
  </p:clrMapOvr>
  <p:transition spd="med">
    <p:fade/>
  </p:transition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02984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90" y="1797053"/>
            <a:ext cx="11040076" cy="4098595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80845" marR="0" indent="-380845" algn="ctr" defTabSz="60934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30051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marL="0" indent="0" algn="l" defTabSz="8043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71" indent="-53301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689772"/>
      </p:ext>
    </p:extLst>
  </p:cSld>
  <p:clrMapOvr>
    <a:masterClrMapping/>
  </p:clrMapOvr>
  <p:transition spd="med"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3"/>
            <a:ext cx="5093797" cy="3020519"/>
          </a:xfrm>
        </p:spPr>
        <p:txBody>
          <a:bodyPr lIns="82245" tIns="45702" rIns="82245" bIns="45702" rtlCol="0" anchor="ctr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601385644"/>
      </p:ext>
    </p:extLst>
  </p:cSld>
  <p:clrMapOvr>
    <a:masterClrMapping/>
  </p:clrMapOvr>
  <p:transition spd="slow">
    <p:wip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617505"/>
      </p:ext>
    </p:extLst>
  </p:cSld>
  <p:clrMapOvr>
    <a:masterClrMapping/>
  </p:clrMapOvr>
  <p:transition spd="med">
    <p:fad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2502954"/>
      </p:ext>
    </p:extLst>
  </p:cSld>
  <p:clrMapOvr>
    <a:masterClrMapping/>
  </p:clrMapOvr>
  <p:transition spd="med">
    <p:fade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6"/>
            <a:ext cx="5431128" cy="4052529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7907669"/>
      </p:ext>
    </p:extLst>
  </p:cSld>
  <p:clrMapOvr>
    <a:masterClrMapping/>
  </p:clrMapOvr>
  <p:transition spd="med"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308542"/>
      </p:ext>
    </p:extLst>
  </p:cSld>
  <p:clrMapOvr>
    <a:masterClrMapping/>
  </p:clrMapOvr>
  <p:transition spd="med">
    <p:fade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4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3110197"/>
      </p:ext>
    </p:extLst>
  </p:cSld>
  <p:clrMapOvr>
    <a:masterClrMapping/>
  </p:clrMapOvr>
  <p:transition spd="slow">
    <p:wipe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5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1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"/>
              <a:cs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740759355"/>
      </p:ext>
    </p:extLst>
  </p:cSld>
  <p:clrMapOvr>
    <a:masterClrMapping/>
  </p:clrMapOvr>
  <p:transition spd="slow">
    <p:wipe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3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7" tIns="0" rIns="121861" bIns="60930" numCol="1" anchor="ctr" anchorCtr="0" compatLnSpc="1">
            <a:prstTxWarp prst="textNoShape">
              <a:avLst/>
            </a:prstTxWarp>
            <a:spAutoFit/>
          </a:bodyPr>
          <a:lstStyle>
            <a:lvl1pPr marL="2302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89376348"/>
      </p:ext>
    </p:extLst>
  </p:cSld>
  <p:clrMapOvr>
    <a:masterClrMapping/>
  </p:clrMapOvr>
  <p:transition spd="slow">
    <p:wip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9"/>
            <a:ext cx="11417563" cy="3389567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61" tIns="60930" rIns="121861" bIns="60930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450573622"/>
      </p:ext>
    </p:extLst>
  </p:cSld>
  <p:clrMapOvr>
    <a:masterClrMapping/>
  </p:clrMapOvr>
  <p:transition spd="slow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496" indent="-29832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062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550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472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979" indent="-22427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88888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4949299"/>
      </p:ext>
    </p:extLst>
  </p:cSld>
  <p:clrMapOvr>
    <a:masterClrMapping/>
  </p:clrMapOvr>
  <p:transition spd="slow">
    <p:wip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40" tIns="60920" rIns="121840" bIns="60920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9195746"/>
      </p:ext>
    </p:extLst>
  </p:cSld>
  <p:clrMapOvr>
    <a:masterClrMapping/>
  </p:clrMapOvr>
  <p:transition spd="slow">
    <p:wip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3543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1" y="31117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2" tIns="45702" rIns="91392" bIns="45702" rtlCol="0" anchor="ctr" anchorCtr="0">
            <a:normAutofit/>
          </a:bodyPr>
          <a:lstStyle>
            <a:lvl1pPr marL="0" indent="0" algn="ctr" defTabSz="91389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0" y="3307611"/>
            <a:ext cx="8973153" cy="2152559"/>
          </a:xfrm>
        </p:spPr>
        <p:txBody>
          <a:bodyPr>
            <a:noAutofit/>
          </a:bodyPr>
          <a:lstStyle>
            <a:lvl1pPr marL="0" marR="0" indent="0" algn="l" defTabSz="9138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89023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0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267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7" y="302897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5425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04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7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9229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0079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7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6485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7616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12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0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96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70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03990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98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6" tIns="60948" rIns="121896" bIns="60948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6" tIns="60948" rIns="121896" bIns="60948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3"/>
            <a:ext cx="511213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 marL="0" algn="ctr" defTabSz="6105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5867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991188" y="6518523"/>
            <a:ext cx="511213" cy="366183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marL="0" algn="ctr" defTabSz="45804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43408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9" y="5057618"/>
            <a:ext cx="11061895" cy="384175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9" y="5377614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9" y="5697610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7" y="4281951"/>
            <a:ext cx="11070167" cy="398668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67" indent="0">
              <a:buNone/>
              <a:defRPr/>
            </a:lvl2pPr>
            <a:lvl3pPr marL="569570" indent="0">
              <a:buNone/>
              <a:defRPr/>
            </a:lvl3pPr>
            <a:lvl4pPr marL="688565" indent="0">
              <a:buNone/>
              <a:defRPr/>
            </a:lvl4pPr>
            <a:lvl5pPr marL="8012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4784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3" y="4279421"/>
            <a:ext cx="6246489" cy="384175"/>
          </a:xfrm>
          <a:prstGeom prst="rect">
            <a:avLst/>
          </a:prstGeom>
        </p:spPr>
        <p:txBody>
          <a:bodyPr vert="horz" lIns="91388" tIns="45702" rIns="91388" bIns="45702" rtlCol="0">
            <a:noAutofit/>
          </a:bodyPr>
          <a:lstStyle>
            <a:lvl1pPr marL="0" indent="0" algn="l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0" y="3282704"/>
            <a:ext cx="6283409" cy="1022351"/>
          </a:xfrm>
        </p:spPr>
        <p:txBody>
          <a:bodyPr lIns="82245" tIns="45702" rIns="82245" bIns="45702" rtlCol="0" anchor="b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4" tIns="60917" rIns="121834" bIns="60917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72044483"/>
      </p:ext>
    </p:extLst>
  </p:cSld>
  <p:clrMapOvr>
    <a:masterClrMapping/>
  </p:clrMapOvr>
  <p:transition spd="slow">
    <p:wip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42" rIns="82075" bIns="41042" anchor="b">
            <a:spAutoFit/>
          </a:bodyPr>
          <a:lstStyle/>
          <a:p>
            <a:pPr algn="r" defTabSz="8139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5" tIns="41042" rIns="82075" bIns="41042" anchor="b">
            <a:spAutoFit/>
          </a:bodyPr>
          <a:lstStyle/>
          <a:p>
            <a:pPr defTabSz="813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0021414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427467"/>
      </p:ext>
    </p:extLst>
  </p:cSld>
  <p:clrMapOvr>
    <a:masterClrMapping/>
  </p:clrMapOvr>
  <p:transition spd="med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72704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457852"/>
      </p:ext>
    </p:extLst>
  </p:cSld>
  <p:clrMapOvr>
    <a:masterClrMapping/>
  </p:clrMapOvr>
  <p:transition spd="med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1" y="1194135"/>
            <a:ext cx="1119831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1181505"/>
      </p:ext>
    </p:extLst>
  </p:cSld>
  <p:clrMapOvr>
    <a:masterClrMapping/>
  </p:clrMapOvr>
  <p:transition spd="med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283054" indent="-522934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4611790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5" y="1194135"/>
            <a:ext cx="11198319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76165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12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03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96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70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2920291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791645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697954"/>
      </p:ext>
    </p:extLst>
  </p:cSld>
  <p:clrMapOvr>
    <a:masterClrMapping/>
  </p:clrMapOvr>
  <p:transition spd="med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8"/>
            <a:ext cx="4954660" cy="1101929"/>
          </a:xfrm>
          <a:prstGeom prst="rect">
            <a:avLst/>
          </a:prstGeom>
        </p:spPr>
        <p:txBody>
          <a:bodyPr lIns="82241" tIns="45698" rIns="82241" bIns="45698" rtlCol="0">
            <a:noAutofit/>
          </a:bodyPr>
          <a:lstStyle>
            <a:lvl1pPr algn="l" defTabSz="91381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019656"/>
      </p:ext>
    </p:extLst>
  </p:cSld>
  <p:clrMapOvr>
    <a:masterClrMapping/>
  </p:clrMapOvr>
  <p:transition spd="med">
    <p:fade/>
  </p:transition>
  <p:hf hdr="0" ftr="0" dt="0"/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6" y="30444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2" y="30380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8" y="293992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79195182"/>
      </p:ext>
    </p:extLst>
  </p:cSld>
  <p:clrMapOvr>
    <a:masterClrMapping/>
  </p:clrMapOvr>
  <p:transition spd="med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4" tIns="60917" rIns="121834" bIns="60917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114234" indent="-114234" algn="l" defTabSz="91381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6" y="4736592"/>
            <a:ext cx="4674993" cy="338328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7848138"/>
      </p:ext>
    </p:extLst>
  </p:cSld>
  <p:clrMapOvr>
    <a:masterClrMapping/>
  </p:clrMapOvr>
  <p:transition spd="med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5499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marL="0" indent="0" algn="l" defTabSz="8043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71" indent="-53301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671839"/>
      </p:ext>
    </p:extLst>
  </p:cSld>
  <p:clrMapOvr>
    <a:masterClrMapping/>
  </p:clrMapOvr>
  <p:transition spd="med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3"/>
            <a:ext cx="5093797" cy="3020519"/>
          </a:xfrm>
        </p:spPr>
        <p:txBody>
          <a:bodyPr lIns="82245" tIns="45702" rIns="82245" bIns="45702" rtlCol="0" anchor="ctr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95263683"/>
      </p:ext>
    </p:extLst>
  </p:cSld>
  <p:clrMapOvr>
    <a:masterClrMapping/>
  </p:clrMapOvr>
  <p:transition spd="slow">
    <p:wip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1331248"/>
      </p:ext>
    </p:extLst>
  </p:cSld>
  <p:clrMapOvr>
    <a:masterClrMapping/>
  </p:clrMapOvr>
  <p:transition spd="med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8701908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83146" indent="-523102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062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550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472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979" indent="-22427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692182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6"/>
            <a:ext cx="5431128" cy="4052529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267393"/>
      </p:ext>
    </p:extLst>
  </p:cSld>
  <p:clrMapOvr>
    <a:masterClrMapping/>
  </p:clrMapOvr>
  <p:transition spd="med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337268"/>
      </p:ext>
    </p:extLst>
  </p:cSld>
  <p:clrMapOvr>
    <a:masterClrMapping/>
  </p:clrMapOvr>
  <p:transition spd="med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4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6509215"/>
      </p:ext>
    </p:extLst>
  </p:cSld>
  <p:clrMapOvr>
    <a:masterClrMapping/>
  </p:clrMapOvr>
  <p:transition spd="slow">
    <p:wip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5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1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249562"/>
      </p:ext>
    </p:extLst>
  </p:cSld>
  <p:clrMapOvr>
    <a:masterClrMapping/>
  </p:clrMapOvr>
  <p:transition spd="slow">
    <p:wip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3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7" tIns="0" rIns="121861" bIns="60930" numCol="1" anchor="ctr" anchorCtr="0" compatLnSpc="1">
            <a:prstTxWarp prst="textNoShape">
              <a:avLst/>
            </a:prstTxWarp>
            <a:spAutoFit/>
          </a:bodyPr>
          <a:lstStyle>
            <a:lvl1pPr marL="2302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9081562"/>
      </p:ext>
    </p:extLst>
  </p:cSld>
  <p:clrMapOvr>
    <a:masterClrMapping/>
  </p:clrMapOvr>
  <p:transition spd="slow">
    <p:wip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9"/>
            <a:ext cx="11417563" cy="3389567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61" tIns="60930" rIns="121861" bIns="60930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86408108"/>
      </p:ext>
    </p:extLst>
  </p:cSld>
  <p:clrMapOvr>
    <a:masterClrMapping/>
  </p:clrMapOvr>
  <p:transition spd="slow">
    <p:wip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607512"/>
      </p:ext>
    </p:extLst>
  </p:cSld>
  <p:clrMapOvr>
    <a:masterClrMapping/>
  </p:clrMapOvr>
  <p:transition spd="slow">
    <p:wip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40" tIns="60920" rIns="121840" bIns="60920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1019666"/>
      </p:ext>
    </p:extLst>
  </p:cSld>
  <p:clrMapOvr>
    <a:masterClrMapping/>
  </p:clrMapOvr>
  <p:transition spd="slow">
    <p:wip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832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1" y="31117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2" tIns="45702" rIns="91392" bIns="45702" rtlCol="0" anchor="ctr" anchorCtr="0">
            <a:normAutofit/>
          </a:bodyPr>
          <a:lstStyle>
            <a:lvl1pPr marL="0" indent="0" algn="ctr" defTabSz="91389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0" y="3307611"/>
            <a:ext cx="8973153" cy="2152559"/>
          </a:xfrm>
        </p:spPr>
        <p:txBody>
          <a:bodyPr>
            <a:noAutofit/>
          </a:bodyPr>
          <a:lstStyle>
            <a:lvl1pPr marL="0" marR="0" indent="0" algn="l" defTabSz="9138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92782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29121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496" indent="-29832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062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550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472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979" indent="-22427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0283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0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0027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7" y="302897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4866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37802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7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073459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6575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7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243379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98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6" tIns="60948" rIns="121896" bIns="60948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6" tIns="60948" rIns="121896" bIns="60948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3"/>
            <a:ext cx="511213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 marL="0" algn="ctr" defTabSz="6105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724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991188" y="6518523"/>
            <a:ext cx="511213" cy="366183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marL="0" algn="ctr" defTabSz="45804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138994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9" y="5057618"/>
            <a:ext cx="11061895" cy="384175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9" y="5377614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9" y="5697610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7" y="4281951"/>
            <a:ext cx="11070167" cy="398668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67" indent="0">
              <a:buNone/>
              <a:defRPr/>
            </a:lvl2pPr>
            <a:lvl3pPr marL="569570" indent="0">
              <a:buNone/>
              <a:defRPr/>
            </a:lvl3pPr>
            <a:lvl4pPr marL="688565" indent="0">
              <a:buNone/>
              <a:defRPr/>
            </a:lvl4pPr>
            <a:lvl5pPr marL="8012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447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3" y="4279421"/>
            <a:ext cx="6246489" cy="384175"/>
          </a:xfrm>
          <a:prstGeom prst="rect">
            <a:avLst/>
          </a:prstGeom>
        </p:spPr>
        <p:txBody>
          <a:bodyPr vert="horz" lIns="91388" tIns="45702" rIns="91388" bIns="45702" rtlCol="0">
            <a:noAutofit/>
          </a:bodyPr>
          <a:lstStyle>
            <a:lvl1pPr marL="0" indent="0" algn="l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0" y="3282704"/>
            <a:ext cx="6283409" cy="1022351"/>
          </a:xfrm>
        </p:spPr>
        <p:txBody>
          <a:bodyPr lIns="82245" tIns="45702" rIns="82245" bIns="45702" rtlCol="0" anchor="b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4" tIns="60917" rIns="121834" bIns="60917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9937182"/>
      </p:ext>
    </p:extLst>
  </p:cSld>
  <p:clrMapOvr>
    <a:masterClrMapping/>
  </p:clrMapOvr>
  <p:transition spd="slow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6" y="1797051"/>
            <a:ext cx="5201497" cy="411079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76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3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866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365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873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76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3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866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365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873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546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42" rIns="82075" bIns="41042" anchor="b">
            <a:spAutoFit/>
          </a:bodyPr>
          <a:lstStyle/>
          <a:p>
            <a:pPr algn="r" defTabSz="8139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5" tIns="41042" rIns="82075" bIns="41042" anchor="b">
            <a:spAutoFit/>
          </a:bodyPr>
          <a:lstStyle/>
          <a:p>
            <a:pPr defTabSz="813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372891"/>
      </p:ext>
    </p:extLst>
  </p:cSld>
  <p:clrMapOvr>
    <a:masterClrMapping/>
  </p:clrMapOvr>
  <p:transition spd="med">
    <p:fad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984018"/>
      </p:ext>
    </p:extLst>
  </p:cSld>
  <p:clrMapOvr>
    <a:masterClrMapping/>
  </p:clrMapOvr>
  <p:transition spd="med">
    <p:fad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2222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0839422"/>
      </p:ext>
    </p:extLst>
  </p:cSld>
  <p:clrMapOvr>
    <a:masterClrMapping/>
  </p:clrMapOvr>
  <p:transition spd="med">
    <p:fad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1" y="1194135"/>
            <a:ext cx="1119831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375840542"/>
      </p:ext>
    </p:extLst>
  </p:cSld>
  <p:clrMapOvr>
    <a:masterClrMapping/>
  </p:clrMapOvr>
  <p:transition spd="med">
    <p:fad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283054" indent="-522934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636760461"/>
      </p:ext>
    </p:extLst>
  </p:cSld>
  <p:clrMapOvr>
    <a:masterClrMapping/>
  </p:clrMapOvr>
  <p:transition spd="med">
    <p:fad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76026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6154068"/>
      </p:ext>
    </p:extLst>
  </p:cSld>
  <p:clrMapOvr>
    <a:masterClrMapping/>
  </p:clrMapOvr>
  <p:transition spd="med">
    <p:fade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8"/>
            <a:ext cx="4954660" cy="1101929"/>
          </a:xfrm>
          <a:prstGeom prst="rect">
            <a:avLst/>
          </a:prstGeom>
        </p:spPr>
        <p:txBody>
          <a:bodyPr lIns="82241" tIns="45698" rIns="82241" bIns="45698" rtlCol="0">
            <a:noAutofit/>
          </a:bodyPr>
          <a:lstStyle>
            <a:lvl1pPr algn="l" defTabSz="91381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674713"/>
      </p:ext>
    </p:extLst>
  </p:cSld>
  <p:clrMapOvr>
    <a:masterClrMapping/>
  </p:clrMapOvr>
  <p:transition spd="med">
    <p:fade/>
  </p:transition>
  <p:hf hdr="0" ftr="0" dt="0"/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6" y="30444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2" y="30380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8" y="293992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45432159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15" y="403354"/>
            <a:ext cx="4954660" cy="1101929"/>
          </a:xfrm>
          <a:prstGeom prst="rect">
            <a:avLst/>
          </a:prstGeom>
        </p:spPr>
        <p:txBody>
          <a:bodyPr lIns="82267" tIns="45714" rIns="82267" bIns="45714" rtlCol="0">
            <a:noAutofit/>
          </a:bodyPr>
          <a:lstStyle>
            <a:lvl1pPr algn="l" defTabSz="91411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95" y="403341"/>
            <a:ext cx="4954660" cy="1101928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marR="0" indent="0" algn="l" defTabSz="91411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15" y="1797051"/>
            <a:ext cx="4954660" cy="411079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76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3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866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365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873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95" y="1797051"/>
            <a:ext cx="4954660" cy="411079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76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3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866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365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873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18510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4" tIns="60917" rIns="121834" bIns="60917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114234" indent="-114234" algn="l" defTabSz="91381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6" y="4736592"/>
            <a:ext cx="4674993" cy="338328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4703064"/>
      </p:ext>
    </p:extLst>
  </p:cSld>
  <p:clrMapOvr>
    <a:masterClrMapping/>
  </p:clrMapOvr>
  <p:transition spd="med"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28967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marL="0" indent="0" algn="l" defTabSz="8043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71" indent="-53301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482772"/>
      </p:ext>
    </p:extLst>
  </p:cSld>
  <p:clrMapOvr>
    <a:masterClrMapping/>
  </p:clrMapOvr>
  <p:transition spd="med">
    <p:fad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3"/>
            <a:ext cx="5093797" cy="3020519"/>
          </a:xfrm>
        </p:spPr>
        <p:txBody>
          <a:bodyPr lIns="82245" tIns="45702" rIns="82245" bIns="45702" rtlCol="0" anchor="ctr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98952983"/>
      </p:ext>
    </p:extLst>
  </p:cSld>
  <p:clrMapOvr>
    <a:masterClrMapping/>
  </p:clrMapOvr>
  <p:transition spd="slow">
    <p:wip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8672619"/>
      </p:ext>
    </p:extLst>
  </p:cSld>
  <p:clrMapOvr>
    <a:masterClrMapping/>
  </p:clrMapOvr>
  <p:transition spd="med">
    <p:fade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6307389"/>
      </p:ext>
    </p:extLst>
  </p:cSld>
  <p:clrMapOvr>
    <a:masterClrMapping/>
  </p:clrMapOvr>
  <p:transition spd="med">
    <p:fade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6"/>
            <a:ext cx="5431128" cy="4052529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5179387"/>
      </p:ext>
    </p:extLst>
  </p:cSld>
  <p:clrMapOvr>
    <a:masterClrMapping/>
  </p:clrMapOvr>
  <p:transition spd="med">
    <p:fade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6511049"/>
      </p:ext>
    </p:extLst>
  </p:cSld>
  <p:clrMapOvr>
    <a:masterClrMapping/>
  </p:clrMapOvr>
  <p:transition spd="med">
    <p:fade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4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3580816"/>
      </p:ext>
    </p:extLst>
  </p:cSld>
  <p:clrMapOvr>
    <a:masterClrMapping/>
  </p:clrMapOvr>
  <p:transition spd="slow">
    <p:wipe/>
  </p:transition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5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1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444149"/>
      </p:ext>
    </p:extLst>
  </p:cSld>
  <p:clrMapOvr>
    <a:masterClrMapping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9" y="304438"/>
            <a:ext cx="3116145" cy="1027281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1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6" y="303798"/>
            <a:ext cx="3116145" cy="1027281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1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102" y="293985"/>
            <a:ext cx="3116145" cy="1027281"/>
          </a:xfrm>
          <a:prstGeom prst="rect">
            <a:avLst/>
          </a:prstGeom>
        </p:spPr>
        <p:txBody>
          <a:bodyPr lIns="121872" tIns="60936" rIns="121872" bIns="60936" anchor="b" anchorCtr="0">
            <a:noAutofit/>
          </a:bodyPr>
          <a:lstStyle>
            <a:lvl1pPr marL="0" marR="0" indent="0" algn="l" defTabSz="91411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24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68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24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68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11024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768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10210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8089900" y="812810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8536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3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7" tIns="0" rIns="121861" bIns="60930" numCol="1" anchor="ctr" anchorCtr="0" compatLnSpc="1">
            <a:prstTxWarp prst="textNoShape">
              <a:avLst/>
            </a:prstTxWarp>
            <a:spAutoFit/>
          </a:bodyPr>
          <a:lstStyle>
            <a:lvl1pPr marL="2302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26209511"/>
      </p:ext>
    </p:extLst>
  </p:cSld>
  <p:clrMapOvr>
    <a:masterClrMapping/>
  </p:clrMapOvr>
  <p:transition spd="slow">
    <p:wipe/>
  </p:transition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9"/>
            <a:ext cx="11417563" cy="3389567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61" tIns="60930" rIns="121861" bIns="60930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98193918"/>
      </p:ext>
    </p:extLst>
  </p:cSld>
  <p:clrMapOvr>
    <a:masterClrMapping/>
  </p:clrMapOvr>
  <p:transition spd="slow">
    <p:wip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8028553"/>
      </p:ext>
    </p:extLst>
  </p:cSld>
  <p:clrMapOvr>
    <a:masterClrMapping/>
  </p:clrMapOvr>
  <p:transition spd="slow">
    <p:wip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40" tIns="60920" rIns="121840" bIns="60920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4958862"/>
      </p:ext>
    </p:extLst>
  </p:cSld>
  <p:clrMapOvr>
    <a:masterClrMapping/>
  </p:clrMapOvr>
  <p:transition spd="slow">
    <p:wip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9481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1" y="31117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2" tIns="45702" rIns="91392" bIns="45702" rtlCol="0" anchor="ctr" anchorCtr="0">
            <a:normAutofit/>
          </a:bodyPr>
          <a:lstStyle>
            <a:lvl1pPr marL="0" indent="0" algn="ctr" defTabSz="91389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0" y="3307611"/>
            <a:ext cx="8973153" cy="2152559"/>
          </a:xfrm>
        </p:spPr>
        <p:txBody>
          <a:bodyPr>
            <a:noAutofit/>
          </a:bodyPr>
          <a:lstStyle>
            <a:lvl1pPr marL="0" marR="0" indent="0" algn="l" defTabSz="9138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23975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0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491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7" y="302897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71698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64747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7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5972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43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72" tIns="60936" rIns="121872" bIns="60936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114269" indent="-114269" algn="l" defTabSz="91411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69" indent="-114269" algn="l" defTabSz="91411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69" indent="-114269" algn="l" defTabSz="91411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69" indent="-114269" algn="l" defTabSz="91411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69" indent="-114269" algn="l" defTabSz="91411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4" y="4736592"/>
            <a:ext cx="4674993" cy="338328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6" y="1797051"/>
            <a:ext cx="5201497" cy="4110792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04676" indent="-22851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347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866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365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873" indent="-22851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Rounded Rectangle 6"/>
          <p:cNvSpPr/>
          <p:nvPr userDrawn="1"/>
        </p:nvSpPr>
        <p:spPr>
          <a:xfrm>
            <a:off x="6857472" y="1639737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92787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27063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7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22720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98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6" tIns="60948" rIns="121896" bIns="60948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6" tIns="60948" rIns="121896" bIns="60948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3"/>
            <a:ext cx="511213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 marL="0" algn="ctr" defTabSz="6105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459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991188" y="6518523"/>
            <a:ext cx="511213" cy="366183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marL="0" algn="ctr" defTabSz="45804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873451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516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Y:\Production\Cisco Projects\C97 Presentation (PPT-PDF)\C97-734842-00\Supporting Files\ZN00500.jpg"/>
          <p:cNvPicPr>
            <a:picLocks noChangeAspect="1" noChangeArrowheads="1"/>
          </p:cNvPicPr>
          <p:nvPr/>
        </p:nvPicPr>
        <p:blipFill>
          <a:blip r:embed="rId2"/>
          <a:srcRect r="18192"/>
          <a:stretch>
            <a:fillRect/>
          </a:stretch>
        </p:blipFill>
        <p:spPr bwMode="auto">
          <a:xfrm>
            <a:off x="5179491" y="0"/>
            <a:ext cx="7012509" cy="6858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5147735" y="0"/>
            <a:ext cx="5128380" cy="685800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</a:endParaRPr>
          </a:p>
        </p:txBody>
      </p:sp>
      <p:pic>
        <p:nvPicPr>
          <p:cNvPr id="15" name="Picture 8" descr="logo_black.ai"/>
          <p:cNvPicPr>
            <a:picLocks noChangeAspect="1"/>
          </p:cNvPicPr>
          <p:nvPr/>
        </p:nvPicPr>
        <p:blipFill>
          <a:blip r:embed="rId3" cstate="print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7267" y="427567"/>
            <a:ext cx="1265767" cy="78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3" y="4281951"/>
            <a:ext cx="11070167" cy="398668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4D4D4D"/>
                </a:solidFill>
                <a:latin typeface="+mj-l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5" y="5057598"/>
            <a:ext cx="11061895" cy="384175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457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2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5" y="5377594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2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697590"/>
            <a:ext cx="11061895" cy="384175"/>
          </a:xfrm>
          <a:prstGeom prst="rect">
            <a:avLst/>
          </a:prstGeom>
        </p:spPr>
        <p:txBody>
          <a:bodyPr lIns="121890" tIns="60945" rIns="121890" bIns="60945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806290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0" tIns="45716" rIns="91430" bIns="45716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62" y="4279405"/>
            <a:ext cx="6246489" cy="384175"/>
          </a:xfrm>
          <a:prstGeom prst="rect">
            <a:avLst/>
          </a:prstGeom>
        </p:spPr>
        <p:txBody>
          <a:bodyPr vert="horz" lIns="91430" tIns="45716" rIns="91430" bIns="45716" rtlCol="0">
            <a:noAutofit/>
          </a:bodyPr>
          <a:lstStyle>
            <a:lvl1pPr marL="0" indent="0" algn="l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09" y="3282704"/>
            <a:ext cx="6283409" cy="1022351"/>
          </a:xfrm>
        </p:spPr>
        <p:txBody>
          <a:bodyPr lIns="82285" tIns="45716" rIns="82285" bIns="45716" rtlCol="0" anchor="b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1"/>
            <a:ext cx="3568700" cy="2889251"/>
          </a:xfrm>
          <a:prstGeom prst="rect">
            <a:avLst/>
          </a:prstGeom>
        </p:spPr>
        <p:txBody>
          <a:bodyPr lIns="121890" tIns="60945" rIns="121890" bIns="60945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22680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22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3559" y="6544009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387831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ltGray">
          <a:xfrm>
            <a:off x="7006336" y="6542337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7602850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4" rIns="91426" bIns="45714" anchor="ctr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4486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90" y="1797053"/>
            <a:ext cx="11040076" cy="4098595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2047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67411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31556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7412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5" y="1194135"/>
            <a:ext cx="11198319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7617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7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135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91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89573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283193" indent="-523187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965515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74561" indent="-29838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76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719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6430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7" y="1797051"/>
            <a:ext cx="5201497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11648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13" y="403345"/>
            <a:ext cx="4954660" cy="1101929"/>
          </a:xfrm>
          <a:prstGeom prst="rect">
            <a:avLst/>
          </a:prstGeom>
        </p:spPr>
        <p:txBody>
          <a:bodyPr lIns="82281" tIns="45714" rIns="82281" bIns="45714" rtlCol="0">
            <a:noAutofit/>
          </a:bodyPr>
          <a:lstStyle>
            <a:lvl1pPr algn="l" defTabSz="9142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94" y="403341"/>
            <a:ext cx="4954660" cy="1101928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13" y="1797051"/>
            <a:ext cx="4954660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94" y="1797051"/>
            <a:ext cx="4954660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028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0" y="304429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6" y="303789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3" y="293976"/>
            <a:ext cx="3116145" cy="1027281"/>
          </a:xfrm>
          <a:prstGeom prst="rect">
            <a:avLst/>
          </a:prstGeom>
        </p:spPr>
        <p:txBody>
          <a:bodyPr lIns="121890" tIns="60945" rIns="121890" bIns="60945" anchor="b" anchorCtr="0">
            <a:noAutofit/>
          </a:bodyPr>
          <a:lstStyle>
            <a:lvl1pPr marL="0" marR="0" indent="0" algn="l" defTabSz="91427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1" y="1601459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3" y="1600428"/>
            <a:ext cx="3116147" cy="441987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11080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66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152756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42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0" tIns="60945" rIns="121890" bIns="60945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114288" indent="-114288" algn="l" defTabSz="91427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8" indent="-114288" algn="l" defTabSz="91427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45" y="4736592"/>
            <a:ext cx="4674993" cy="338328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7" y="1797051"/>
            <a:ext cx="5201497" cy="4110792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304732" indent="-22854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58" indent="-28779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8006" indent="-228548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552" indent="-228548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97" indent="-22854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04815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28426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marL="0" indent="0" algn="l" defTabSz="80460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53" indent="-533184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9311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marL="0" indent="0" algn="l" defTabSz="8047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3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94" indent="-533277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800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1" y="1918751"/>
            <a:ext cx="5093797" cy="3020519"/>
          </a:xfrm>
        </p:spPr>
        <p:txBody>
          <a:bodyPr lIns="82285" tIns="45716" rIns="82285" bIns="45716" rtlCol="0" anchor="ctr">
            <a:noAutofit/>
          </a:bodyPr>
          <a:lstStyle>
            <a:lvl1pPr marL="0" indent="0" algn="l" defTabSz="9143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54507" cy="5120640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8623175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90" tIns="60945" rIns="121890" bIns="60945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0" y="5530965"/>
            <a:ext cx="9573749" cy="434977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16640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0" y="5530965"/>
            <a:ext cx="9573749" cy="434977"/>
          </a:xfrm>
          <a:prstGeom prst="rect">
            <a:avLst/>
          </a:prstGeom>
        </p:spPr>
        <p:txBody>
          <a:bodyPr wrap="square" lIns="121890" tIns="60945" rIns="121890" bIns="60945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40753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7" y="1799275"/>
            <a:ext cx="5342668" cy="4054364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70"/>
            <a:ext cx="5431128" cy="4052529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9866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3" y="1799139"/>
            <a:ext cx="5338660" cy="4054500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90" tIns="60945" rIns="121890" bIns="60945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2426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8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7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8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7" y="3733528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6" y="3730932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7" y="3730932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917" tIns="60958" rIns="121917" bIns="60958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9601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0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8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34" tIns="45718" rIns="91434" bIns="45718" anchor="ctr"/>
          <a:lstStyle/>
          <a:p>
            <a:pPr algn="ctr" defTabSz="12191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96" tIns="60948" rIns="121896" bIns="6094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0" y="5164189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593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4" y="5161593"/>
            <a:ext cx="3056181" cy="804881"/>
          </a:xfrm>
          <a:prstGeom prst="rect">
            <a:avLst/>
          </a:prstGeom>
        </p:spPr>
        <p:txBody>
          <a:bodyPr lIns="121890" tIns="60945" rIns="121890" bIns="60945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139871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3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1" y="4635533"/>
            <a:ext cx="10852149" cy="6942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96" tIns="0" rIns="121917" bIns="60958" numCol="1" anchor="ctr" anchorCtr="0" compatLnSpc="1">
            <a:prstTxWarp prst="textNoShape">
              <a:avLst/>
            </a:prstTxWarp>
            <a:spAutoFit/>
          </a:bodyPr>
          <a:lstStyle>
            <a:lvl1pPr marL="23039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7976560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4" y="401387"/>
            <a:ext cx="11417563" cy="3389567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0" y="4072695"/>
            <a:ext cx="11152315" cy="757254"/>
          </a:xfrm>
          <a:prstGeom prst="rect">
            <a:avLst/>
          </a:prstGeom>
        </p:spPr>
        <p:txBody>
          <a:bodyPr vert="horz" wrap="square" lIns="121917" tIns="60958" rIns="121917" bIns="60958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841430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1"/>
            <a:ext cx="5093797" cy="3020519"/>
          </a:xfrm>
        </p:spPr>
        <p:txBody>
          <a:bodyPr lIns="82271" tIns="45714" rIns="82271" bIns="45714" rtlCol="0" anchor="ctr">
            <a:noAutofit/>
          </a:bodyPr>
          <a:lstStyle>
            <a:lvl1pPr marL="0" indent="0" algn="l" defTabSz="914149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134100" y="812811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756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3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90" tIns="60945" rIns="121890" bIns="60945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266592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96" tIns="60948" rIns="121896" bIns="6094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92095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7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7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1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96" tIns="60948" rIns="121896" bIns="6094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5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33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5" y="311155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34" tIns="45718" rIns="91434" bIns="45718" rtlCol="0" anchor="ctr" anchorCtr="0">
            <a:normAutofit/>
          </a:bodyPr>
          <a:lstStyle>
            <a:lvl1pPr marL="0" indent="0" algn="ctr" defTabSz="914346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89" y="3307595"/>
            <a:ext cx="8973153" cy="2152559"/>
          </a:xfrm>
        </p:spPr>
        <p:txBody>
          <a:bodyPr>
            <a:noAutofit/>
          </a:bodyPr>
          <a:lstStyle>
            <a:lvl1pPr marL="0" marR="0" indent="0" algn="l" defTabSz="914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966097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8" rIns="91434" bIns="45718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96" tIns="60948" rIns="121896" bIns="6094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59" y="728984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6875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6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6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93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22" y="3028956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7" y="3028956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93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93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 defTabSz="60958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2002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5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62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79" y="3028962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30" tIns="45716" rIns="91430" bIns="45716" rtlCol="0" anchor="ctr" anchorCtr="0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3644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2666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59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30" tIns="45716" rIns="91430" bIns="45716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3537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30" tIns="45716" rIns="91430" bIns="45716" rtlCol="0" anchor="ctr">
            <a:normAutofit/>
          </a:bodyPr>
          <a:lstStyle>
            <a:lvl1pPr marL="0" indent="0" algn="ctr" defTabSz="9143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15614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03573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4"/>
            <a:ext cx="9573749" cy="434977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7009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26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481372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8" y="-3427"/>
            <a:ext cx="12200575" cy="6864857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6358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>
            <a:spLocks noChangeArrowheads="1"/>
          </p:cNvSpPr>
          <p:nvPr/>
        </p:nvSpPr>
        <p:spPr bwMode="ltGray">
          <a:xfrm>
            <a:off x="11448275" y="6250106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61" tIns="54728" rIns="109461" bIns="54728" anchor="b">
            <a:spAutoFit/>
          </a:bodyPr>
          <a:lstStyle/>
          <a:p>
            <a:pPr algn="r" defTabSz="1085505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cs typeface="CiscoSans Thin"/>
              </a:rPr>
              <a:pPr algn="r" defTabSz="108550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ltGray">
          <a:xfrm>
            <a:off x="11448275" y="6250106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61" tIns="54728" rIns="109461" bIns="54728" anchor="b">
            <a:spAutoFit/>
          </a:bodyPr>
          <a:lstStyle/>
          <a:p>
            <a:pPr algn="r" defTabSz="1085505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cs typeface="CiscoSans Thin"/>
              </a:rPr>
              <a:pPr algn="r" defTabSz="108550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71387" y="1559096"/>
            <a:ext cx="5353556" cy="4295015"/>
          </a:xfrm>
          <a:prstGeom prst="rect">
            <a:avLst/>
          </a:prstGeom>
        </p:spPr>
        <p:txBody>
          <a:bodyPr vert="horz" lIns="162493" tIns="81245" rIns="162493" bIns="81245">
            <a:noAutofit/>
          </a:bodyPr>
          <a:lstStyle>
            <a:lvl1pPr marL="0" indent="0" algn="ctr">
              <a:buNone/>
              <a:defRPr sz="36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62493" tIns="81245" rIns="162493" bIns="81245" anchor="ctr" anchorCtr="0">
            <a:noAutofit/>
          </a:bodyPr>
          <a:lstStyle>
            <a:lvl1pPr marL="0" indent="0">
              <a:buNone/>
              <a:defRPr sz="43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251" y="406404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ltGray">
          <a:xfrm>
            <a:off x="389403" y="6255943"/>
            <a:ext cx="4560687" cy="279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9461" tIns="54728" rIns="109461" bIns="54728" anchor="b" anchorCtr="0">
            <a:spAutoFit/>
          </a:bodyPr>
          <a:lstStyle/>
          <a:p>
            <a:pPr defTabSz="1085505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FFFFFF"/>
                </a:solidFill>
                <a:latin typeface="Arial"/>
                <a:cs typeface="CiscoSans Thin"/>
              </a:rPr>
              <a:t>© 2013-2014  Cisco and/or its affiliates. All rights reserved.</a:t>
            </a:r>
            <a:endParaRPr lang="en-US" sz="11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8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fld id="{C1CA7520-E178-CE4F-A38E-20F39FA060C7}" type="datetimeFigureOut">
              <a:rPr lang="en-US" sz="2400" smtClean="0">
                <a:solidFill>
                  <a:srgbClr val="676767"/>
                </a:solidFill>
                <a:latin typeface="Arial"/>
                <a:cs typeface="+mn-cs"/>
              </a:rPr>
              <a:pPr defTabSz="609585" fontAlgn="auto">
                <a:spcBef>
                  <a:spcPts val="0"/>
                </a:spcBef>
                <a:spcAft>
                  <a:spcPts val="0"/>
                </a:spcAft>
              </a:pPr>
              <a:t>1/18/2017</a:t>
            </a:fld>
            <a:endParaRPr lang="en-US" sz="240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676767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121906" tIns="60953" rIns="121906" bIns="60953"/>
          <a:lstStyle/>
          <a:p>
            <a:pPr defTabSz="609585" fontAlgn="auto">
              <a:spcBef>
                <a:spcPts val="0"/>
              </a:spcBef>
              <a:spcAft>
                <a:spcPts val="0"/>
              </a:spcAft>
            </a:pPr>
            <a:fld id="{E9B4911D-0A1E-6649-90B1-380E377C62F4}" type="slidenum">
              <a:rPr lang="en-US" sz="2400" smtClean="0">
                <a:solidFill>
                  <a:srgbClr val="676767"/>
                </a:solidFill>
                <a:latin typeface="Arial"/>
                <a:cs typeface="+mn-cs"/>
              </a:rPr>
              <a:pPr defTabSz="6095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2400">
              <a:solidFill>
                <a:srgbClr val="676767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7896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9" y="5057618"/>
            <a:ext cx="11061895" cy="384175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3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9" y="5377614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9" y="5697610"/>
            <a:ext cx="11061895" cy="384175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7" y="4281951"/>
            <a:ext cx="11070167" cy="398668"/>
          </a:xfrm>
          <a:prstGeom prst="rect">
            <a:avLst/>
          </a:prstGeom>
        </p:spPr>
        <p:txBody>
          <a:bodyPr lIns="121834" tIns="60917" rIns="121834" bIns="60917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67" indent="0">
              <a:buNone/>
              <a:defRPr/>
            </a:lvl2pPr>
            <a:lvl3pPr marL="569570" indent="0">
              <a:buNone/>
              <a:defRPr/>
            </a:lvl3pPr>
            <a:lvl4pPr marL="688565" indent="0">
              <a:buNone/>
              <a:defRPr/>
            </a:lvl4pPr>
            <a:lvl5pPr marL="80120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2612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702" rIns="91388" bIns="45702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3" y="4279421"/>
            <a:ext cx="6246489" cy="384175"/>
          </a:xfrm>
          <a:prstGeom prst="rect">
            <a:avLst/>
          </a:prstGeom>
        </p:spPr>
        <p:txBody>
          <a:bodyPr vert="horz" lIns="91388" tIns="45702" rIns="91388" bIns="45702" rtlCol="0">
            <a:noAutofit/>
          </a:bodyPr>
          <a:lstStyle>
            <a:lvl1pPr marL="0" indent="0" algn="l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0" y="3282704"/>
            <a:ext cx="6283409" cy="1022351"/>
          </a:xfrm>
        </p:spPr>
        <p:txBody>
          <a:bodyPr lIns="82245" tIns="45702" rIns="82245" bIns="45702" rtlCol="0" anchor="b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4" tIns="60917" rIns="121834" bIns="60917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00449802"/>
      </p:ext>
    </p:extLst>
  </p:cSld>
  <p:clrMapOvr>
    <a:masterClrMapping/>
  </p:clrMapOvr>
  <p:transition spd="slow">
    <p:wipe/>
  </p:transition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42" rIns="82075" bIns="41042" anchor="b">
            <a:spAutoFit/>
          </a:bodyPr>
          <a:lstStyle/>
          <a:p>
            <a:pPr algn="r" defTabSz="81394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4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5" tIns="41042" rIns="82075" bIns="41042" anchor="b">
            <a:spAutoFit/>
          </a:bodyPr>
          <a:lstStyle/>
          <a:p>
            <a:pPr defTabSz="81394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1621056"/>
      </p:ext>
    </p:extLst>
  </p:cSld>
  <p:clrMapOvr>
    <a:masterClrMapping/>
  </p:clrMapOvr>
  <p:transition spd="med">
    <p:fade/>
  </p:transition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4" tIns="45698" rIns="91384" bIns="45698" anchor="ctr"/>
          <a:lstStyle/>
          <a:p>
            <a:pPr defTabSz="609275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088770"/>
      </p:ext>
    </p:extLst>
  </p:cSld>
  <p:clrMapOvr>
    <a:masterClrMapping/>
  </p:clrMapOvr>
  <p:transition spd="med">
    <p:fade/>
  </p:transition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14016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2895165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74"/>
            <a:ext cx="9573749" cy="434977"/>
          </a:xfrm>
          <a:prstGeom prst="rect">
            <a:avLst/>
          </a:prstGeom>
        </p:spPr>
        <p:txBody>
          <a:bodyPr wrap="square" lIns="121872" tIns="60936" rIns="121872" bIns="60936" anchor="b" anchorCtr="0">
            <a:noAutofit/>
          </a:bodyPr>
          <a:lstStyle>
            <a:lvl1pPr algn="l" defTabSz="80460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7180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1" y="1194135"/>
            <a:ext cx="1119831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41139623"/>
      </p:ext>
    </p:extLst>
  </p:cSld>
  <p:clrMapOvr>
    <a:masterClrMapping/>
  </p:clrMapOvr>
  <p:transition spd="med">
    <p:fade/>
  </p:transition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283054" indent="-522934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452662884"/>
      </p:ext>
    </p:extLst>
  </p:cSld>
  <p:clrMapOvr>
    <a:masterClrMapping/>
  </p:clrMapOvr>
  <p:transition spd="med">
    <p:fade/>
  </p:transition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796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663941"/>
      </p:ext>
    </p:extLst>
  </p:cSld>
  <p:clrMapOvr>
    <a:masterClrMapping/>
  </p:clrMapOvr>
  <p:transition spd="med">
    <p:fade/>
  </p:transition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58"/>
            <a:ext cx="4954660" cy="1101929"/>
          </a:xfrm>
          <a:prstGeom prst="rect">
            <a:avLst/>
          </a:prstGeom>
        </p:spPr>
        <p:txBody>
          <a:bodyPr lIns="82241" tIns="45698" rIns="82241" bIns="45698" rtlCol="0">
            <a:noAutofit/>
          </a:bodyPr>
          <a:lstStyle>
            <a:lvl1pPr algn="l" defTabSz="913814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45489"/>
      </p:ext>
    </p:extLst>
  </p:cSld>
  <p:clrMapOvr>
    <a:masterClrMapping/>
  </p:clrMapOvr>
  <p:transition spd="med">
    <p:fade/>
  </p:transition>
  <p:hf hdr="0" ftr="0" dt="0"/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6" y="30444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2" y="303805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98" y="293992"/>
            <a:ext cx="3116145" cy="1027281"/>
          </a:xfrm>
          <a:prstGeom prst="rect">
            <a:avLst/>
          </a:prstGeom>
        </p:spPr>
        <p:txBody>
          <a:bodyPr lIns="121834" tIns="60917" rIns="121834" bIns="60917" anchor="b" anchorCtr="0">
            <a:noAutofit/>
          </a:bodyPr>
          <a:lstStyle>
            <a:lvl1pPr marL="0" marR="0" indent="0" algn="l" defTabSz="91381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10927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80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36792597"/>
      </p:ext>
    </p:extLst>
  </p:cSld>
  <p:clrMapOvr>
    <a:masterClrMapping/>
  </p:clrMapOvr>
  <p:transition spd="med">
    <p:fad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4" tIns="60917" rIns="121834" bIns="60917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114234" indent="-114234" algn="l" defTabSz="913814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4" indent="-114234" algn="l" defTabSz="913814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6" y="4736592"/>
            <a:ext cx="4674993" cy="338328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8" y="1797051"/>
            <a:ext cx="5201497" cy="4110792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04579" indent="-22843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47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94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020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53" indent="-2284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4259510"/>
      </p:ext>
    </p:extLst>
  </p:cSld>
  <p:clrMapOvr>
    <a:masterClrMapping/>
  </p:clrMapOvr>
  <p:transition spd="med">
    <p:fade/>
  </p:transition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64251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marL="0" indent="0" algn="l" defTabSz="80434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71" indent="-533011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299784"/>
      </p:ext>
    </p:extLst>
  </p:cSld>
  <p:clrMapOvr>
    <a:masterClrMapping/>
  </p:clrMapOvr>
  <p:transition spd="med">
    <p:fade/>
  </p:transition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3"/>
            <a:ext cx="5093797" cy="3020519"/>
          </a:xfrm>
        </p:spPr>
        <p:txBody>
          <a:bodyPr lIns="82245" tIns="45702" rIns="82245" bIns="45702" rtlCol="0" anchor="ctr">
            <a:noAutofit/>
          </a:bodyPr>
          <a:lstStyle>
            <a:lvl1pPr marL="0" indent="0" algn="l" defTabSz="913853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11386768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76955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9" y="1799275"/>
            <a:ext cx="5342668" cy="4054364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79"/>
            <a:ext cx="5431128" cy="4052529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3487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3805308"/>
      </p:ext>
    </p:extLst>
  </p:cSld>
  <p:clrMapOvr>
    <a:masterClrMapping/>
  </p:clrMapOvr>
  <p:transition spd="med">
    <p:fade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1"/>
            <a:ext cx="9573749" cy="434977"/>
          </a:xfrm>
          <a:prstGeom prst="rect">
            <a:avLst/>
          </a:prstGeom>
        </p:spPr>
        <p:txBody>
          <a:bodyPr wrap="square" lIns="121834" tIns="60917" rIns="121834" bIns="60917" anchor="b" anchorCtr="0">
            <a:noAutofit/>
          </a:bodyPr>
          <a:lstStyle>
            <a:lvl1pPr algn="l" defTabSz="80434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531328"/>
      </p:ext>
    </p:extLst>
  </p:cSld>
  <p:clrMapOvr>
    <a:masterClrMapping/>
  </p:clrMapOvr>
  <p:transition spd="med">
    <p:fade/>
  </p:transition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6"/>
            <a:ext cx="5431128" cy="4052529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430307"/>
      </p:ext>
    </p:extLst>
  </p:cSld>
  <p:clrMapOvr>
    <a:masterClrMapping/>
  </p:clrMapOvr>
  <p:transition spd="med">
    <p:fade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4" tIns="60917" rIns="121834" bIns="60917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5808720"/>
      </p:ext>
    </p:extLst>
  </p:cSld>
  <p:clrMapOvr>
    <a:masterClrMapping/>
  </p:clrMapOvr>
  <p:transition spd="med">
    <p:fade/>
  </p:transition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1" tIns="60930" rIns="121861" bIns="60930" rtlCol="0" anchor="ctr"/>
          <a:lstStyle/>
          <a:p>
            <a:pPr algn="ctr" defTabSz="609275"/>
            <a:endParaRPr lang="en-US" sz="19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4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7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61" tIns="60930" rIns="121861" bIns="6093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6" tIns="60933" rIns="121866" bIns="60933" rtlCol="0" anchor="ctr"/>
          <a:lstStyle/>
          <a:p>
            <a:pPr algn="ctr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6656899"/>
      </p:ext>
    </p:extLst>
  </p:cSld>
  <p:clrMapOvr>
    <a:masterClrMapping/>
  </p:clrMapOvr>
  <p:transition spd="slow">
    <p:wipe/>
  </p:transition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2" tIns="45702" rIns="91392" bIns="45702" anchor="ctr"/>
          <a:lstStyle/>
          <a:p>
            <a:pPr algn="ctr" defTabSz="121856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40" tIns="60920" rIns="121840" bIns="60920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5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9"/>
            <a:ext cx="3056181" cy="804881"/>
          </a:xfrm>
          <a:prstGeom prst="rect">
            <a:avLst/>
          </a:prstGeom>
        </p:spPr>
        <p:txBody>
          <a:bodyPr lIns="121834" tIns="60917" rIns="121834" bIns="60917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1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6" tIns="45706" rIns="91396" bIns="45706" anchor="ctr"/>
          <a:lstStyle/>
          <a:p>
            <a:pPr algn="ctr" defTabSz="121862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097959"/>
      </p:ext>
    </p:extLst>
  </p:cSld>
  <p:clrMapOvr>
    <a:masterClrMapping/>
  </p:clrMapOvr>
  <p:transition spd="slow">
    <p:wipe/>
  </p:transition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48643"/>
            <a:ext cx="10852149" cy="6680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7" tIns="0" rIns="121861" bIns="60930" numCol="1" anchor="ctr" anchorCtr="0" compatLnSpc="1">
            <a:prstTxWarp prst="textNoShape">
              <a:avLst/>
            </a:prstTxWarp>
            <a:spAutoFit/>
          </a:bodyPr>
          <a:lstStyle>
            <a:lvl1pPr marL="230284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38548875"/>
      </p:ext>
    </p:extLst>
  </p:cSld>
  <p:clrMapOvr>
    <a:masterClrMapping/>
  </p:clrMapOvr>
  <p:transition spd="slow">
    <p:wipe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9"/>
            <a:ext cx="11417563" cy="3389567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61" tIns="60930" rIns="121861" bIns="60930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1846154"/>
      </p:ext>
    </p:extLst>
  </p:cSld>
  <p:clrMapOvr>
    <a:masterClrMapping/>
  </p:clrMapOvr>
  <p:transition spd="slow">
    <p:wipe/>
  </p:transition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1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4" tIns="60917" rIns="121834" bIns="60917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4187861"/>
      </p:ext>
    </p:extLst>
  </p:cSld>
  <p:clrMapOvr>
    <a:masterClrMapping/>
  </p:clrMapOvr>
  <p:transition spd="slow">
    <p:wip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40" tIns="60920" rIns="121840" bIns="60920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9017467"/>
      </p:ext>
    </p:extLst>
  </p:cSld>
  <p:clrMapOvr>
    <a:masterClrMapping/>
  </p:clrMapOvr>
  <p:transition spd="slow">
    <p:wip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139"/>
            <a:ext cx="5338660" cy="4054500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72" tIns="60936" rIns="121872" bIns="60936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76023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139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1" y="311171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2" tIns="45702" rIns="91392" bIns="45702" rtlCol="0" anchor="ctr" anchorCtr="0">
            <a:normAutofit/>
          </a:bodyPr>
          <a:lstStyle>
            <a:lvl1pPr marL="0" indent="0" algn="ctr" defTabSz="91389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0" y="3307611"/>
            <a:ext cx="8973153" cy="2152559"/>
          </a:xfrm>
        </p:spPr>
        <p:txBody>
          <a:bodyPr>
            <a:noAutofit/>
          </a:bodyPr>
          <a:lstStyle>
            <a:lvl1pPr marL="0" marR="0" indent="0" algn="l" defTabSz="9138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023630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702" rIns="91392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40" tIns="60920" rIns="121840" bIns="6092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0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155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2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2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7" y="3028972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2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2" rIns="91388" bIns="45702" anchor="ctr"/>
          <a:lstStyle/>
          <a:p>
            <a:pPr algn="ctr" defTabSz="609275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8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8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8" tIns="45702" rIns="91388" bIns="45702" rtlCol="0" anchor="ctr" anchorCtr="0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6552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29852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7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838579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8" tIns="45702" rIns="91388" bIns="45702" rtlCol="0" anchor="ctr">
            <a:normAutofit/>
          </a:bodyPr>
          <a:lstStyle>
            <a:lvl1pPr marL="0" indent="0" algn="ctr" defTabSz="913853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0580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7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046071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98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6" tIns="60948" rIns="121896" bIns="60948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6" tIns="60948" rIns="121896" bIns="60948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3"/>
            <a:ext cx="511213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 marL="0" algn="ctr" defTabSz="6105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2462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991188" y="6518523"/>
            <a:ext cx="511213" cy="366183"/>
          </a:xfrm>
          <a:prstGeom prst="rect">
            <a:avLst/>
          </a:prstGeom>
        </p:spPr>
        <p:txBody>
          <a:bodyPr vert="horz" lIns="91432" tIns="45718" rIns="91432" bIns="45718" rtlCol="0" anchor="ctr"/>
          <a:lstStyle>
            <a:lvl1pPr marL="0" algn="ctr" defTabSz="45804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ea typeface="Apple LiGothic Medium"/>
                <a:cs typeface="Apple LiGothic Medium"/>
              </a:rPr>
              <a:pPr/>
              <a:t>‹#›</a:t>
            </a:fld>
            <a:endParaRPr dirty="0">
              <a:solidFill>
                <a:srgbClr val="595959"/>
              </a:solidFill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519354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8" tIns="60949" rIns="121898" bIns="60949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37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1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1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98" tIns="60949" rIns="121898" bIns="6094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98" tIns="60949" rIns="121898" bIns="6094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98" tIns="60949" rIns="121898" bIns="6094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54101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10" y="5057619"/>
            <a:ext cx="11061895" cy="384175"/>
          </a:xfrm>
          <a:prstGeom prst="rect">
            <a:avLst/>
          </a:prstGeom>
        </p:spPr>
        <p:txBody>
          <a:bodyPr lIns="121832" tIns="60916" rIns="121832" bIns="60916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10" y="5377615"/>
            <a:ext cx="11061895" cy="384175"/>
          </a:xfrm>
          <a:prstGeom prst="rect">
            <a:avLst/>
          </a:prstGeom>
        </p:spPr>
        <p:txBody>
          <a:bodyPr lIns="121832" tIns="60916" rIns="121832" bIns="6091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10" y="5697611"/>
            <a:ext cx="11061895" cy="384175"/>
          </a:xfrm>
          <a:prstGeom prst="rect">
            <a:avLst/>
          </a:prstGeom>
        </p:spPr>
        <p:txBody>
          <a:bodyPr lIns="121832" tIns="60916" rIns="121832" bIns="60916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8" y="4281951"/>
            <a:ext cx="11070167" cy="398668"/>
          </a:xfrm>
          <a:prstGeom prst="rect">
            <a:avLst/>
          </a:prstGeom>
        </p:spPr>
        <p:txBody>
          <a:bodyPr lIns="121832" tIns="60916" rIns="121832" bIns="60916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157" indent="0">
              <a:buNone/>
              <a:defRPr/>
            </a:lvl2pPr>
            <a:lvl3pPr marL="569556" indent="0">
              <a:buNone/>
              <a:defRPr/>
            </a:lvl3pPr>
            <a:lvl4pPr marL="688548" indent="0">
              <a:buNone/>
              <a:defRPr/>
            </a:lvl4pPr>
            <a:lvl5pPr marL="80118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03356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6" tIns="45702" rIns="91386" bIns="45702" anchor="ctr"/>
          <a:lstStyle/>
          <a:p>
            <a:pPr defTabSz="60925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6" tIns="45702" rIns="91386" bIns="45702" anchor="ctr"/>
          <a:lstStyle/>
          <a:p>
            <a:pPr defTabSz="60925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74" y="4279422"/>
            <a:ext cx="6246489" cy="384175"/>
          </a:xfrm>
          <a:prstGeom prst="rect">
            <a:avLst/>
          </a:prstGeom>
        </p:spPr>
        <p:txBody>
          <a:bodyPr vert="horz" lIns="91386" tIns="45702" rIns="91386" bIns="45702" rtlCol="0">
            <a:noAutofit/>
          </a:bodyPr>
          <a:lstStyle>
            <a:lvl1pPr marL="0" indent="0" algn="l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5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21" y="3282704"/>
            <a:ext cx="6283409" cy="1022351"/>
          </a:xfrm>
        </p:spPr>
        <p:txBody>
          <a:bodyPr lIns="82243" tIns="45702" rIns="82243" bIns="45702" rtlCol="0" anchor="b">
            <a:noAutofit/>
          </a:bodyPr>
          <a:lstStyle>
            <a:lvl1pPr marL="0" indent="0" algn="l" defTabSz="9138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32" tIns="60916" rIns="121832" bIns="60916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8927277"/>
      </p:ext>
    </p:extLst>
  </p:cSld>
  <p:clrMapOvr>
    <a:masterClrMapping/>
  </p:clrMapOvr>
  <p:transition spd="slow">
    <p:wipe/>
  </p:transition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11351479" y="6323915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1" tIns="41042" rIns="82071" bIns="41042" anchor="b">
            <a:spAutoFit/>
          </a:bodyPr>
          <a:lstStyle/>
          <a:p>
            <a:pPr algn="r" defTabSz="813882"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882"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7823345" y="6322245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1" tIns="41042" rIns="82071" bIns="41042" anchor="b">
            <a:spAutoFit/>
          </a:bodyPr>
          <a:lstStyle/>
          <a:p>
            <a:pPr defTabSz="813882"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351469" y="6323900"/>
            <a:ext cx="294027" cy="206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2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392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1" name="Rectangle 4"/>
          <p:cNvSpPr>
            <a:spLocks noChangeArrowheads="1"/>
          </p:cNvSpPr>
          <p:nvPr userDrawn="1"/>
        </p:nvSpPr>
        <p:spPr bwMode="ltGray">
          <a:xfrm>
            <a:off x="7823345" y="6322231"/>
            <a:ext cx="3544024" cy="20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2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12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109414"/>
      </p:ext>
    </p:extLst>
  </p:cSld>
  <p:clrMapOvr>
    <a:masterClrMapping/>
  </p:clrMapOvr>
  <p:transition spd="med">
    <p:fade/>
  </p:transition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2" tIns="45698" rIns="91382" bIns="45698" anchor="ctr"/>
          <a:lstStyle/>
          <a:p>
            <a:pPr defTabSz="60925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2" tIns="45698" rIns="91382" bIns="45698" anchor="ctr"/>
          <a:lstStyle/>
          <a:p>
            <a:pPr defTabSz="60925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9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558033"/>
      </p:ext>
    </p:extLst>
  </p:cSld>
  <p:clrMapOvr>
    <a:masterClrMapping/>
  </p:clrMapOvr>
  <p:transition spd="med">
    <p:fade/>
  </p:transition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74364" indent="-29822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30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06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48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475" indent="-22420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1539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7613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2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28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823749"/>
      </p:ext>
    </p:extLst>
  </p:cSld>
  <p:clrMapOvr>
    <a:masterClrMapping/>
  </p:clrMapOvr>
  <p:transition spd="med">
    <p:fade/>
  </p:transition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2" y="1194135"/>
            <a:ext cx="11198319" cy="4224280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76137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77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6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2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28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60115012"/>
      </p:ext>
    </p:extLst>
  </p:cSld>
  <p:clrMapOvr>
    <a:masterClrMapping/>
  </p:clrMapOvr>
  <p:transition spd="med">
    <p:fade/>
  </p:transition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283048" indent="-522922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30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06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48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475" indent="-22420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616537"/>
      </p:ext>
    </p:extLst>
  </p:cSld>
  <p:clrMapOvr>
    <a:masterClrMapping/>
  </p:clrMapOvr>
  <p:transition spd="med">
    <p:fade/>
  </p:transition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74364" indent="-29822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30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06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48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475" indent="-224200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98756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9" y="1797051"/>
            <a:ext cx="5201497" cy="411079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04571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31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74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5993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21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6" y="1797051"/>
            <a:ext cx="5624613" cy="411079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04571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31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74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5993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21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8457026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3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0" tIns="45718" rIns="91420" bIns="45718" anchor="ctr"/>
          <a:lstStyle/>
          <a:p>
            <a:pPr algn="ctr" defTabSz="121896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0" tIns="45718" rIns="91420" bIns="45718" anchor="ctr"/>
          <a:lstStyle/>
          <a:p>
            <a:pPr algn="ctr" defTabSz="121896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497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0" tIns="45718" rIns="91420" bIns="45718" anchor="ctr"/>
          <a:lstStyle/>
          <a:p>
            <a:pPr algn="ctr" defTabSz="121896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77" tIns="60938" rIns="121877" bIns="60938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77" tIns="60938" rIns="121877" bIns="6093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77" tIns="60938" rIns="121877" bIns="6093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198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02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02"/>
            <a:ext cx="3056181" cy="804881"/>
          </a:xfrm>
          <a:prstGeom prst="rect">
            <a:avLst/>
          </a:prstGeom>
        </p:spPr>
        <p:txBody>
          <a:bodyPr lIns="121872" tIns="60936" rIns="121872" bIns="6093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227594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60"/>
            <a:ext cx="4954660" cy="1101929"/>
          </a:xfrm>
          <a:prstGeom prst="rect">
            <a:avLst/>
          </a:prstGeom>
        </p:spPr>
        <p:txBody>
          <a:bodyPr lIns="82239" tIns="45698" rIns="82239" bIns="45698" rtlCol="0">
            <a:noAutofit/>
          </a:bodyPr>
          <a:lstStyle>
            <a:lvl1pPr algn="l" defTabSz="91379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marR="0" indent="0" algn="l" defTabSz="9137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04571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31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74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5993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21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04571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31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74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5993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21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596778"/>
      </p:ext>
    </p:extLst>
  </p:cSld>
  <p:clrMapOvr>
    <a:masterClrMapping/>
  </p:clrMapOvr>
  <p:transition spd="med">
    <p:fade/>
  </p:transition>
  <p:hf hdr="0" ftr="0" dt="0"/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11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68" y="304446"/>
            <a:ext cx="3116145" cy="1027281"/>
          </a:xfrm>
          <a:prstGeom prst="rect">
            <a:avLst/>
          </a:prstGeom>
        </p:spPr>
        <p:txBody>
          <a:bodyPr lIns="121832" tIns="60916" rIns="121832" bIns="60916" anchor="b" anchorCtr="0">
            <a:noAutofit/>
          </a:bodyPr>
          <a:lstStyle>
            <a:lvl1pPr marL="0" marR="0" indent="0" algn="l" defTabSz="9137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53" y="303806"/>
            <a:ext cx="3116145" cy="1027281"/>
          </a:xfrm>
          <a:prstGeom prst="rect">
            <a:avLst/>
          </a:prstGeom>
        </p:spPr>
        <p:txBody>
          <a:bodyPr lIns="121832" tIns="60916" rIns="121832" bIns="60916" anchor="b" anchorCtr="0">
            <a:noAutofit/>
          </a:bodyPr>
          <a:lstStyle>
            <a:lvl1pPr marL="0" marR="0" indent="0" algn="l" defTabSz="9137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100" y="293993"/>
            <a:ext cx="3116145" cy="1027281"/>
          </a:xfrm>
          <a:prstGeom prst="rect">
            <a:avLst/>
          </a:prstGeom>
        </p:spPr>
        <p:txBody>
          <a:bodyPr lIns="121832" tIns="60916" rIns="121832" bIns="60916" anchor="b" anchorCtr="0">
            <a:noAutofit/>
          </a:bodyPr>
          <a:lstStyle>
            <a:lvl1pPr marL="0" marR="0" indent="0" algn="l" defTabSz="91379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10919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66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41" y="1600428"/>
            <a:ext cx="3116147" cy="441987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10919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66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10919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566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26907476"/>
      </p:ext>
    </p:extLst>
  </p:cSld>
  <p:clrMapOvr>
    <a:masterClrMapping/>
  </p:clrMapOvr>
  <p:transition spd="med">
    <p:fade/>
  </p:transition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9" y="1773772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32" tIns="60916" rIns="121832" bIns="60916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114232" indent="-114232" algn="l" defTabSz="91379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32" indent="-114232" algn="l" defTabSz="9137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32" indent="-114232" algn="l" defTabSz="9137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32" indent="-114232" algn="l" defTabSz="9137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32" indent="-114232" algn="l" defTabSz="91379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57" y="4736592"/>
            <a:ext cx="4674993" cy="338328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709" y="1797051"/>
            <a:ext cx="5201497" cy="4110792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304571" indent="-2284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131" indent="-2876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574" indent="-2284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5993" indent="-2284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4421" indent="-2284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295541"/>
      </p:ext>
    </p:extLst>
  </p:cSld>
  <p:clrMapOvr>
    <a:masterClrMapping/>
  </p:clrMapOvr>
  <p:transition spd="med">
    <p:fade/>
  </p:transition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39096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32" tIns="60916" rIns="121832" bIns="60916" anchor="b" anchorCtr="0">
            <a:noAutofit/>
          </a:bodyPr>
          <a:lstStyle>
            <a:lvl1pPr marL="0" indent="0" algn="l" defTabSz="80432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5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665" indent="-532997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942208"/>
      </p:ext>
    </p:extLst>
  </p:cSld>
  <p:clrMapOvr>
    <a:masterClrMapping/>
  </p:clrMapOvr>
  <p:transition spd="med">
    <p:fade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11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64"/>
            <a:ext cx="5093797" cy="3020519"/>
          </a:xfrm>
        </p:spPr>
        <p:txBody>
          <a:bodyPr lIns="82243" tIns="45702" rIns="82243" bIns="45702" rtlCol="0" anchor="ctr">
            <a:noAutofit/>
          </a:bodyPr>
          <a:lstStyle>
            <a:lvl1pPr marL="0" indent="0" algn="l" defTabSz="91383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24464554"/>
      </p:ext>
    </p:extLst>
  </p:cSld>
  <p:clrMapOvr>
    <a:masterClrMapping/>
  </p:clrMapOvr>
  <p:transition spd="slow">
    <p:wipe/>
  </p:transition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4"/>
            <a:ext cx="11127317" cy="3544971"/>
          </a:xfrm>
          <a:prstGeom prst="rect">
            <a:avLst/>
          </a:prstGeom>
        </p:spPr>
        <p:txBody>
          <a:bodyPr lIns="121832" tIns="60916" rIns="121832" bIns="60916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2"/>
            <a:ext cx="9573749" cy="434977"/>
          </a:xfrm>
          <a:prstGeom prst="rect">
            <a:avLst/>
          </a:prstGeom>
        </p:spPr>
        <p:txBody>
          <a:bodyPr wrap="square" lIns="121832" tIns="60916" rIns="121832" bIns="60916" anchor="b" anchorCtr="0">
            <a:noAutofit/>
          </a:bodyPr>
          <a:lstStyle>
            <a:lvl1pPr algn="l" defTabSz="8043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2367065"/>
      </p:ext>
    </p:extLst>
  </p:cSld>
  <p:clrMapOvr>
    <a:masterClrMapping/>
  </p:clrMapOvr>
  <p:transition spd="med">
    <p:fade/>
  </p:transition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32" tIns="60916" rIns="121832" bIns="60916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82"/>
            <a:ext cx="9573749" cy="434977"/>
          </a:xfrm>
          <a:prstGeom prst="rect">
            <a:avLst/>
          </a:prstGeom>
        </p:spPr>
        <p:txBody>
          <a:bodyPr wrap="square" lIns="121832" tIns="60916" rIns="121832" bIns="60916" anchor="b" anchorCtr="0">
            <a:noAutofit/>
          </a:bodyPr>
          <a:lstStyle>
            <a:lvl1pPr algn="l" defTabSz="80432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20003"/>
      </p:ext>
    </p:extLst>
  </p:cSld>
  <p:clrMapOvr>
    <a:masterClrMapping/>
  </p:clrMapOvr>
  <p:transition spd="med">
    <p:fade/>
  </p:transition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5" y="1799275"/>
            <a:ext cx="5342668" cy="4054364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88"/>
            <a:ext cx="5431128" cy="4052529"/>
          </a:xfrm>
          <a:prstGeom prst="rect">
            <a:avLst/>
          </a:prstGeom>
        </p:spPr>
        <p:txBody>
          <a:bodyPr vert="horz" lIns="121832" tIns="60916" rIns="121832" bIns="60916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1709005"/>
      </p:ext>
    </p:extLst>
  </p:cSld>
  <p:clrMapOvr>
    <a:masterClrMapping/>
  </p:clrMapOvr>
  <p:transition spd="med">
    <p:fade/>
  </p:transition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32" tIns="60916" rIns="121832" bIns="60916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3378289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5" y="6172214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35542"/>
            <a:ext cx="10852149" cy="69420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68" tIns="0" rIns="121898" bIns="60949" numCol="1" anchor="ctr" anchorCtr="0" compatLnSpc="1">
            <a:prstTxWarp prst="textNoShape">
              <a:avLst/>
            </a:prstTxWarp>
            <a:spAutoFit/>
          </a:bodyPr>
          <a:lstStyle>
            <a:lvl1pPr marL="230357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591027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8" tIns="60929" rIns="121858" bIns="60929" rtlCol="0" anchor="ctr"/>
          <a:lstStyle/>
          <a:p>
            <a:pPr algn="ctr" defTabSz="60925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8" tIns="60929" rIns="121858" bIns="60929" rtlCol="0" anchor="ctr"/>
          <a:lstStyle/>
          <a:p>
            <a:pPr algn="ctr" defTabSz="60925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58" tIns="60929" rIns="121858" bIns="60929" rtlCol="0" anchor="ctr"/>
          <a:lstStyle/>
          <a:p>
            <a:pPr algn="ctr" defTabSz="609259"/>
            <a:endParaRPr lang="en-US" sz="1900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45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49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49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858" tIns="60929" rIns="121858" bIns="6092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858" tIns="60929" rIns="121858" bIns="6092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858" tIns="60929" rIns="121858" bIns="60929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8113489" y="2163197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4" tIns="60932" rIns="121864" bIns="60932" rtlCol="0" anchor="ctr"/>
          <a:lstStyle/>
          <a:p>
            <a:pPr algn="ctr" defTabSz="60929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4309" y="2163197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4" tIns="60932" rIns="121864" bIns="60932" rtlCol="0" anchor="ctr"/>
          <a:lstStyle/>
          <a:p>
            <a:pPr algn="ctr" defTabSz="60929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1019029" y="2163197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64" tIns="60932" rIns="121864" bIns="60932" rtlCol="0" anchor="ctr"/>
          <a:lstStyle/>
          <a:p>
            <a:pPr algn="ctr" defTabSz="609291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8817617"/>
      </p:ext>
    </p:extLst>
  </p:cSld>
  <p:clrMapOvr>
    <a:masterClrMapping/>
  </p:clrMapOvr>
  <p:transition spd="slow">
    <p:wipe/>
  </p:transition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1033116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0" tIns="45702" rIns="91390" bIns="45702" anchor="ctr"/>
          <a:lstStyle/>
          <a:p>
            <a:pPr algn="ctr" defTabSz="121853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0" tIns="45702" rIns="91390" bIns="45702" anchor="ctr"/>
          <a:lstStyle/>
          <a:p>
            <a:pPr algn="ctr" defTabSz="121853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/>
        </p:nvSpPr>
        <p:spPr>
          <a:xfrm>
            <a:off x="8116500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0" tIns="45702" rIns="91390" bIns="45702" anchor="ctr"/>
          <a:lstStyle/>
          <a:p>
            <a:pPr algn="ctr" defTabSz="1218534">
              <a:defRPr/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8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37" tIns="60918" rIns="121837" bIns="60918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37" tIns="60918" rIns="121837" bIns="6091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37" tIns="60918" rIns="121837" bIns="60918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206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610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610"/>
            <a:ext cx="3056181" cy="804881"/>
          </a:xfrm>
          <a:prstGeom prst="rect">
            <a:avLst/>
          </a:prstGeom>
        </p:spPr>
        <p:txBody>
          <a:bodyPr lIns="121832" tIns="60916" rIns="121832" bIns="60916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33118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4" tIns="45706" rIns="91394" bIns="45706" anchor="ctr"/>
          <a:lstStyle/>
          <a:p>
            <a:pPr algn="ctr" defTabSz="12185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4563799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4" tIns="45706" rIns="91394" bIns="45706" anchor="ctr"/>
          <a:lstStyle/>
          <a:p>
            <a:pPr algn="ctr" defTabSz="12185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8116502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394" tIns="45706" rIns="91394" bIns="45706" anchor="ctr"/>
          <a:lstStyle/>
          <a:p>
            <a:pPr algn="ctr" defTabSz="12185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9755420"/>
      </p:ext>
    </p:extLst>
  </p:cSld>
  <p:clrMapOvr>
    <a:masterClrMapping/>
  </p:clrMapOvr>
  <p:transition spd="slow">
    <p:wipe/>
  </p:transition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2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32" tIns="60916" rIns="121832" bIns="60916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35560"/>
            <a:ext cx="10852149" cy="694177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23" tIns="0" rIns="121858" bIns="60929" numCol="1" anchor="ctr" anchorCtr="0" compatLnSpc="1">
            <a:prstTxWarp prst="textNoShape">
              <a:avLst/>
            </a:prstTxWarp>
            <a:spAutoFit/>
          </a:bodyPr>
          <a:lstStyle>
            <a:lvl1pPr marL="230278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11956246"/>
      </p:ext>
    </p:extLst>
  </p:cSld>
  <p:clrMapOvr>
    <a:masterClrMapping/>
  </p:clrMapOvr>
  <p:transition spd="slow">
    <p:wipe/>
  </p:transition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401"/>
            <a:ext cx="11417563" cy="3389567"/>
          </a:xfrm>
          <a:prstGeom prst="rect">
            <a:avLst/>
          </a:prstGeom>
        </p:spPr>
        <p:txBody>
          <a:bodyPr vert="horz" lIns="121832" tIns="60916" rIns="121832" bIns="60916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7"/>
            <a:ext cx="11152315" cy="751707"/>
          </a:xfrm>
          <a:prstGeom prst="rect">
            <a:avLst/>
          </a:prstGeom>
        </p:spPr>
        <p:txBody>
          <a:bodyPr vert="horz" wrap="square" lIns="121858" tIns="60929" rIns="121858" bIns="60929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741980221"/>
      </p:ext>
    </p:extLst>
  </p:cSld>
  <p:clrMapOvr>
    <a:masterClrMapping/>
  </p:clrMapOvr>
  <p:transition spd="slow">
    <p:wipe/>
  </p:transition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1" y="6172222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32" tIns="60916" rIns="121832" bIns="60916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0759760"/>
      </p:ext>
    </p:extLst>
  </p:cSld>
  <p:clrMapOvr>
    <a:masterClrMapping/>
  </p:clrMapOvr>
  <p:transition spd="slow">
    <p:wipe/>
  </p:transition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8"/>
            <a:ext cx="11307184" cy="5688861"/>
          </a:xfrm>
          <a:prstGeom prst="rect">
            <a:avLst/>
          </a:prstGeom>
        </p:spPr>
        <p:txBody>
          <a:bodyPr vert="horz" lIns="121837" tIns="60918" rIns="121837" bIns="6091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9100046"/>
      </p:ext>
    </p:extLst>
  </p:cSld>
  <p:clrMapOvr>
    <a:masterClrMapping/>
  </p:clrMapOvr>
  <p:transition spd="slow">
    <p:wipe/>
  </p:transition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72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702" rIns="91390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6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702" rIns="91390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37" tIns="60918" rIns="121837" bIns="6091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839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2" y="311173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702" rIns="91390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3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390" tIns="45702" rIns="91390" bIns="45702" rtlCol="0" anchor="ctr" anchorCtr="0">
            <a:normAutofit/>
          </a:bodyPr>
          <a:lstStyle>
            <a:lvl1pPr marL="0" indent="0" algn="ctr" defTabSz="91386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601" y="3307613"/>
            <a:ext cx="8973153" cy="2152559"/>
          </a:xfrm>
        </p:spPr>
        <p:txBody>
          <a:bodyPr>
            <a:noAutofit/>
          </a:bodyPr>
          <a:lstStyle>
            <a:lvl1pPr marL="0" marR="0" indent="0" algn="l" defTabSz="91386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298081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6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702" rIns="91390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4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37" tIns="60918" rIns="121837" bIns="6091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9001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67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73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73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8" y="3028973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73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21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702" rIns="91386" bIns="45702" anchor="ctr"/>
          <a:lstStyle/>
          <a:p>
            <a:pPr algn="ctr" defTabSz="609259">
              <a:defRPr/>
            </a:pPr>
            <a:endParaRPr lang="en-US" sz="19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9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9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9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9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5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8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386" tIns="45702" rIns="91386" bIns="45702" rtlCol="0" anchor="ctr" anchorCtr="0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32822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97"/>
            <a:ext cx="11417563" cy="3389567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703"/>
            <a:ext cx="11152315" cy="757255"/>
          </a:xfrm>
          <a:prstGeom prst="rect">
            <a:avLst/>
          </a:prstGeom>
        </p:spPr>
        <p:txBody>
          <a:bodyPr vert="horz" wrap="square" lIns="121898" tIns="60949" rIns="121898" bIns="60949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0957565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02108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9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6" tIns="45702" rIns="91386" bIns="45702" rtlCol="0" anchor="ctr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2022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386" tIns="45702" rIns="91386" bIns="45702" rtlCol="0" anchor="ctr">
            <a:normAutofit/>
          </a:bodyPr>
          <a:lstStyle>
            <a:lvl1pPr marL="0" indent="0" algn="ctr" defTabSz="91383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2426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4232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Cisco_Logo_CMYK_TM_Whi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684" y="3096214"/>
            <a:ext cx="2531533" cy="1336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2148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0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82"/>
            <a:endParaRPr lang="en-US" sz="19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  <a:prstGeom prst="rect">
            <a:avLst/>
          </a:prstGeom>
        </p:spPr>
        <p:txBody>
          <a:bodyPr lIns="121893" tIns="60946" rIns="121893" bIns="60946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  <a:prstGeom prst="rect">
            <a:avLst/>
          </a:prstGeom>
        </p:spPr>
        <p:txBody>
          <a:bodyPr lIns="121893" tIns="60946" rIns="121893" bIns="60946"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554"/>
            <a:ext cx="511213" cy="366183"/>
          </a:xfrm>
          <a:prstGeom prst="rect">
            <a:avLst/>
          </a:prstGeom>
        </p:spPr>
        <p:txBody>
          <a:bodyPr vert="horz" lIns="121882" tIns="60941" rIns="121882" bIns="60941" rtlCol="0" anchor="ctr"/>
          <a:lstStyle>
            <a:lvl1pPr marL="0" algn="ctr" defTabSz="610583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</a:rPr>
              <a:pPr/>
              <a:t>‹#›</a:t>
            </a:fld>
            <a:endParaRPr dirty="0">
              <a:solidFill>
                <a:srgbClr val="59595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6462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85" y="432215"/>
            <a:ext cx="11441231" cy="838200"/>
          </a:xfrm>
        </p:spPr>
        <p:txBody>
          <a:bodyPr/>
          <a:lstStyle>
            <a:lvl1pPr algn="l" defTabSz="91409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977" y="1344168"/>
            <a:ext cx="11427883" cy="4965192"/>
          </a:xfrm>
          <a:prstGeom prst="rect">
            <a:avLst/>
          </a:prstGeom>
        </p:spPr>
        <p:txBody>
          <a:bodyPr lIns="91438" tIns="45719" rIns="91438" bIns="45719"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9079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abric-gray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217251" cy="6882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9259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655801"/>
            <a:ext cx="11127317" cy="574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770" tIns="60885" rIns="121770" bIns="60885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0306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0"/>
          </p:nvPr>
        </p:nvSpPr>
        <p:spPr bwMode="black">
          <a:xfrm>
            <a:off x="475488" y="1332639"/>
            <a:ext cx="11241024" cy="448735"/>
          </a:xfrm>
          <a:prstGeom prst="rect">
            <a:avLst/>
          </a:prstGeom>
        </p:spPr>
        <p:txBody>
          <a:bodyPr vert="horz" lIns="100568" tIns="45726" rIns="91430" bIns="45726" rtlCol="0">
            <a:normAutofit/>
          </a:bodyPr>
          <a:lstStyle>
            <a:lvl1pPr marL="2380" indent="0">
              <a:lnSpc>
                <a:spcPct val="85000"/>
              </a:lnSpc>
              <a:spcBef>
                <a:spcPts val="0"/>
              </a:spcBef>
              <a:buFontTx/>
              <a:buNone/>
              <a:defRPr lang="en-US" dirty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Slide Number Placeholder 1"/>
          <p:cNvSpPr>
            <a:spLocks noGrp="1"/>
          </p:cNvSpPr>
          <p:nvPr>
            <p:ph type="sldNum" sz="quarter" idx="4"/>
          </p:nvPr>
        </p:nvSpPr>
        <p:spPr bwMode="black">
          <a:xfrm>
            <a:off x="11212945" y="6228634"/>
            <a:ext cx="479555" cy="366183"/>
          </a:xfrm>
          <a:prstGeom prst="rect">
            <a:avLst/>
          </a:prstGeom>
        </p:spPr>
        <p:txBody>
          <a:bodyPr vert="horz" lIns="121885" tIns="60942" rIns="121885" bIns="60942" rtlCol="0" anchor="ctr"/>
          <a:lstStyle>
            <a:lvl1pPr>
              <a:defRPr lang="en-US" sz="80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algn="r" defTabSz="609391" fontAlgn="auto">
              <a:spcBef>
                <a:spcPts val="0"/>
              </a:spcBef>
              <a:spcAft>
                <a:spcPts val="0"/>
              </a:spcAft>
            </a:pPr>
            <a:fld id="{96A97DD0-5BE7-4856-A2A9-C42C6688E607}" type="slidenum">
              <a:rPr>
                <a:solidFill>
                  <a:prstClr val="white">
                    <a:alpha val="60000"/>
                  </a:prstClr>
                </a:solidFill>
                <a:latin typeface="Calibri"/>
              </a:rPr>
              <a:pPr algn="r" defTabSz="60939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>
              <a:solidFill>
                <a:prstClr val="white">
                  <a:alpha val="60000"/>
                </a:prstClr>
              </a:solidFill>
              <a:latin typeface="Calibri"/>
            </a:endParaRPr>
          </a:p>
        </p:txBody>
      </p:sp>
      <p:sp>
        <p:nvSpPr>
          <p:cNvPr id="25" name="Content Placeholder 23"/>
          <p:cNvSpPr>
            <a:spLocks noGrp="1"/>
          </p:cNvSpPr>
          <p:nvPr>
            <p:ph sz="quarter" idx="11"/>
          </p:nvPr>
        </p:nvSpPr>
        <p:spPr>
          <a:xfrm>
            <a:off x="475488" y="1905000"/>
            <a:ext cx="11241024" cy="3874888"/>
          </a:xfrm>
          <a:prstGeom prst="rect">
            <a:avLst/>
          </a:prstGeom>
        </p:spPr>
        <p:txBody>
          <a:bodyPr lIns="91430" tIns="45726" rIns="91430" bIns="4572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9104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-animat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3"/>
            <a:ext cx="10816168" cy="384175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9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30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6" y="3496671"/>
            <a:ext cx="11070167" cy="398668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05" indent="0">
              <a:buNone/>
              <a:defRPr/>
            </a:lvl2pPr>
            <a:lvl3pPr marL="569918" indent="0">
              <a:buNone/>
              <a:defRPr/>
            </a:lvl3pPr>
            <a:lvl4pPr marL="688980" indent="0">
              <a:buNone/>
              <a:defRPr/>
            </a:lvl4pPr>
            <a:lvl5pPr marL="80169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2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2584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95" y="6172214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72" tIns="60936" rIns="121872" bIns="60936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84559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47261" y="4828023"/>
            <a:ext cx="10816168" cy="384175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 marL="45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46493" y="5164909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35797" y="5938230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6766" y="3496671"/>
            <a:ext cx="11070167" cy="398668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tx1"/>
                </a:solidFill>
                <a:latin typeface="+mj-lt"/>
              </a:defRPr>
            </a:lvl1pPr>
            <a:lvl2pPr marL="406405" indent="0">
              <a:buNone/>
              <a:defRPr/>
            </a:lvl2pPr>
            <a:lvl3pPr marL="569918" indent="0">
              <a:buNone/>
              <a:defRPr/>
            </a:lvl3pPr>
            <a:lvl4pPr marL="688980" indent="0">
              <a:buNone/>
              <a:defRPr/>
            </a:lvl4pPr>
            <a:lvl5pPr marL="80169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67"/>
          <p:cNvGrpSpPr/>
          <p:nvPr userDrawn="1"/>
        </p:nvGrpSpPr>
        <p:grpSpPr>
          <a:xfrm>
            <a:off x="380222" y="410501"/>
            <a:ext cx="1150319" cy="613107"/>
            <a:chOff x="609606" y="528528"/>
            <a:chExt cx="1444732" cy="763787"/>
          </a:xfrm>
          <a:solidFill>
            <a:srgbClr val="7F7F7F"/>
          </a:solidFill>
        </p:grpSpPr>
        <p:sp>
          <p:nvSpPr>
            <p:cNvPr id="74" name="Rectangle 7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076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3"/>
            <a:ext cx="10816168" cy="384175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9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30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6" y="3496671"/>
            <a:ext cx="11070167" cy="398668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05" indent="0">
              <a:buNone/>
              <a:defRPr/>
            </a:lvl2pPr>
            <a:lvl3pPr marL="569918" indent="0">
              <a:buNone/>
              <a:defRPr/>
            </a:lvl3pPr>
            <a:lvl4pPr marL="688980" indent="0">
              <a:buNone/>
              <a:defRPr/>
            </a:lvl4pPr>
            <a:lvl5pPr marL="80169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2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764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gradi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7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23"/>
            <a:ext cx="10816168" cy="384175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7" y="5164909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7" y="5938230"/>
            <a:ext cx="10816867" cy="384175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6" y="3496671"/>
            <a:ext cx="11070167" cy="398668"/>
          </a:xfrm>
          <a:prstGeom prst="rect">
            <a:avLst/>
          </a:prstGeom>
        </p:spPr>
        <p:txBody>
          <a:bodyPr lIns="121906" tIns="60953" rIns="121906" bIns="60953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6405" indent="0">
              <a:buNone/>
              <a:defRPr/>
            </a:lvl2pPr>
            <a:lvl3pPr marL="569918" indent="0">
              <a:buNone/>
              <a:defRPr/>
            </a:lvl3pPr>
            <a:lvl4pPr marL="688980" indent="0">
              <a:buNone/>
              <a:defRPr/>
            </a:lvl4pPr>
            <a:lvl5pPr marL="801695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22" y="410501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52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054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8658" y="4279399"/>
            <a:ext cx="6246489" cy="384175"/>
          </a:xfrm>
          <a:prstGeom prst="rect">
            <a:avLst/>
          </a:prstGeom>
        </p:spPr>
        <p:txBody>
          <a:bodyPr vert="horz" lIns="91442" tIns="45726" rIns="91442" bIns="45726" rtlCol="0">
            <a:noAutofit/>
          </a:bodyPr>
          <a:lstStyle>
            <a:lvl1pPr marL="0" indent="0" algn="l" defTabSz="9144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91440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</a:pPr>
            <a:r>
              <a:rPr lang="en-US" dirty="0" smtClean="0"/>
              <a:t>Presenter Name and Title Go Here</a:t>
            </a:r>
            <a:endParaRPr lang="en-US" dirty="0"/>
          </a:p>
        </p:txBody>
      </p:sp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2" tIns="45726" rIns="91442" bIns="45726" anchor="ctr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38" y="3282702"/>
            <a:ext cx="6283409" cy="1022351"/>
          </a:xfrm>
        </p:spPr>
        <p:txBody>
          <a:bodyPr vert="horz" lIns="82297" tIns="45726" rIns="82297" bIns="45726" rtlCol="0" anchor="b" anchorCtr="0">
            <a:noAutofit/>
          </a:bodyPr>
          <a:lstStyle>
            <a:lvl1pPr marL="0" indent="0" algn="l" defTabSz="9144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42" tIns="45726" rIns="91442" bIns="45726" anchor="ctr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7171" y="1917701"/>
            <a:ext cx="3568700" cy="2889251"/>
          </a:xfrm>
          <a:prstGeom prst="rect">
            <a:avLst/>
          </a:prstGeom>
        </p:spPr>
        <p:txBody>
          <a:bodyPr lIns="121906" tIns="60953" rIns="121906" bIns="60953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07230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31" grpId="0"/>
    </p:bldLst>
  </p:timing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8" tIns="45722" rIns="91438" bIns="45722" anchor="ctr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438" tIns="45722" rIns="91438" bIns="45722" anchor="ctr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62101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61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g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750145"/>
            <a:ext cx="11068957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01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89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5" y="1600206"/>
            <a:ext cx="11546635" cy="4525433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80953" marR="0" indent="-380953" algn="ctr" defTabSz="609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94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74604" indent="-29841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7250" indent="-28782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83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816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3387" indent="-22434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98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04760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23" indent="-28782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98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67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4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04760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9523" indent="-28782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8098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6667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524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32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11111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3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298411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93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382297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77" tIns="60938" rIns="121877" bIns="60938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562461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7472" y="1639737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6" tIns="60953" rIns="121906" bIns="60953" rtlCol="0" anchor="ctr"/>
          <a:lstStyle/>
          <a:p>
            <a:pPr algn="ctr"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61632" y="1747690"/>
            <a:ext cx="4315968" cy="244000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114297" indent="-114297" algn="l" defTabSz="914369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297" indent="-114297" algn="l" defTabSz="91436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97" indent="-114297" algn="l" defTabSz="91436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97" indent="-114297" algn="l" defTabSz="91436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97" indent="-114297" algn="l" defTabSz="914369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6402" y="4736592"/>
            <a:ext cx="4434761" cy="338328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1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311111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7407" indent="-25397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>
      <p:ext uri="{BB962C8B-B14F-4D97-AF65-F5344CB8AC3E}">
        <p14:creationId xmlns:p14="http://schemas.microsoft.com/office/powerpoint/2010/main" val="27296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57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90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48" y="403341"/>
            <a:ext cx="5340096" cy="838200"/>
          </a:xfrm>
          <a:prstGeom prst="rect">
            <a:avLst/>
          </a:prstGeom>
        </p:spPr>
        <p:txBody>
          <a:bodyPr vert="horz" lIns="82293" tIns="45722" rIns="82293" bIns="45722" rtlCol="0" anchor="t" anchorCtr="0">
            <a:noAutofit/>
          </a:bodyPr>
          <a:lstStyle>
            <a:lvl1pPr algn="l" defTabSz="91436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85" y="1600200"/>
            <a:ext cx="5340096" cy="4526280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79" indent="-22859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5184" y="1600200"/>
            <a:ext cx="5340096" cy="4526280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4979" indent="-22859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9905" y="403341"/>
            <a:ext cx="5340096" cy="841248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marR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07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108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292688" y="100584"/>
            <a:ext cx="3557943" cy="1152144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marR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44538" y="100584"/>
            <a:ext cx="3466479" cy="1152144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marR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8362937" y="100584"/>
            <a:ext cx="3512211" cy="1152144"/>
          </a:xfrm>
          <a:prstGeom prst="rect">
            <a:avLst/>
          </a:prstGeom>
        </p:spPr>
        <p:txBody>
          <a:bodyPr lIns="121906" tIns="60953" rIns="121906" bIns="60953" anchor="b" anchorCtr="0">
            <a:noAutofit/>
          </a:bodyPr>
          <a:lstStyle>
            <a:lvl1pPr marL="0" marR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00A2BF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436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2688" y="1602098"/>
            <a:ext cx="3557943" cy="444801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298411" indent="-228573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37567" indent="-25397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59790" indent="-22222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1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28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5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62937" y="1578597"/>
            <a:ext cx="3512211" cy="444801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228604" indent="-22860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79940" indent="-287963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64024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9471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23280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5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344538" y="1602098"/>
            <a:ext cx="3466479" cy="444801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228604" indent="-228604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9259" indent="-23492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85718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6404" indent="-228573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30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140742" indent="-22434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5pPr>
            <a:lvl6pPr marL="923256" indent="0">
              <a:buNone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1021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8089900" y="812806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83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6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67" indent="-537567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352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marL="0" indent="0"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25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marL="0" indent="0"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6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67" indent="-53756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1889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Quot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4384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marL="0" indent="0"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bg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286"/>
            <a:ext cx="10891027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7567" indent="-537567" algn="l">
              <a:lnSpc>
                <a:spcPct val="90000"/>
              </a:lnSpc>
              <a:defRPr sz="8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61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bg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26467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8" rIns="91420" bIns="45718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8" rIns="91420" bIns="45718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77" tIns="60938" rIns="121877" bIns="6093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522500" y="4794355"/>
            <a:ext cx="7130069" cy="99637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26" rIns="91436" bIns="45726" rtlCol="0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5" y="6549624"/>
            <a:ext cx="294111" cy="206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9" tIns="41066" rIns="82119" bIns="41066" anchor="b">
            <a:spAutoFit/>
          </a:bodyPr>
          <a:lstStyle/>
          <a:p>
            <a:pPr algn="r" defTabSz="814336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968AF"/>
                </a:solidFill>
                <a:latin typeface="Arial"/>
                <a:ea typeface="+mn-ea"/>
                <a:cs typeface="+mn-cs"/>
              </a:rPr>
              <a:pPr algn="r" defTabSz="81433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968A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156793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327276" y="940737"/>
            <a:ext cx="11068957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765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353" y="1918747"/>
            <a:ext cx="5489928" cy="3020519"/>
          </a:xfrm>
        </p:spPr>
        <p:txBody>
          <a:bodyPr vert="horz" lIns="82297" tIns="45726" rIns="82297" bIns="45726" rtlCol="0" anchor="ctr" anchorCtr="0">
            <a:noAutofit/>
          </a:bodyPr>
          <a:lstStyle>
            <a:lvl1pPr marL="0" indent="0" algn="l" defTabSz="91440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93792" cy="5120640"/>
          </a:xfrm>
          <a:prstGeom prst="rect">
            <a:avLst/>
          </a:prstGeom>
        </p:spPr>
        <p:txBody>
          <a:bodyPr lIns="121906" tIns="60953" rIns="121906" bIns="60953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4100" y="812807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5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82" y="403228"/>
            <a:ext cx="1150843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69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Tab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486956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90" y="1583269"/>
            <a:ext cx="11267015" cy="4057651"/>
          </a:xfrm>
          <a:prstGeom prst="rect">
            <a:avLst/>
          </a:prstGeom>
        </p:spPr>
        <p:txBody>
          <a:bodyPr lIns="121906" tIns="60953" rIns="121906" bIns="60953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4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marL="0" indent="0" algn="l" defTabSz="804837">
              <a:lnSpc>
                <a:spcPct val="100000"/>
              </a:lnSpc>
              <a:spcBef>
                <a:spcPct val="50000"/>
              </a:spcBef>
              <a:buNone/>
              <a:defRPr lang="en-US" sz="2100" b="0" i="0" kern="1200" dirty="0" smtClean="0">
                <a:solidFill>
                  <a:srgbClr val="FFFFFF"/>
                </a:solidFill>
                <a:latin typeface="+mj-lt"/>
                <a:ea typeface="+mn-ea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8880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9" y="403228"/>
            <a:ext cx="1150940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6" tIns="60953" rIns="121906" bIns="60953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04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69"/>
            <a:ext cx="11267016" cy="4057651"/>
          </a:xfrm>
          <a:prstGeom prst="rect">
            <a:avLst/>
          </a:prstGeom>
        </p:spPr>
        <p:txBody>
          <a:bodyPr vert="horz" lIns="121906" tIns="60953" rIns="121906" bIns="60953">
            <a:noAutofit/>
          </a:bodyPr>
          <a:lstStyle>
            <a:lvl1pPr marL="0" indent="0" algn="ctr">
              <a:buNone/>
              <a:defRPr sz="2700" b="0" i="0">
                <a:solidFill>
                  <a:srgbClr val="FFFFFF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46076" y="403228"/>
            <a:ext cx="11487920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40" y="5820191"/>
            <a:ext cx="9948333" cy="276999"/>
          </a:xfrm>
          <a:prstGeom prst="rect">
            <a:avLst/>
          </a:prstGeom>
        </p:spPr>
        <p:txBody>
          <a:bodyPr wrap="square" lIns="121906" tIns="60953" rIns="121906" bIns="60953" anchor="b" anchorCtr="0">
            <a:noAutofit/>
          </a:bodyPr>
          <a:lstStyle>
            <a:lvl1pPr algn="l" defTabSz="80483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FFFFFF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29" y="6572043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397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7428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6077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6" tIns="60953" rIns="121906" bIns="60953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3" y="1559096"/>
            <a:ext cx="5355167" cy="4292600"/>
          </a:xfrm>
          <a:prstGeom prst="rect">
            <a:avLst/>
          </a:prstGeom>
        </p:spPr>
        <p:txBody>
          <a:bodyPr vert="horz" lIns="121906" tIns="60953" rIns="121906" bIns="60953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363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Chart and text_Gradient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6" tIns="60953" rIns="121906" bIns="60953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83" y="1559096"/>
            <a:ext cx="5355167" cy="4292600"/>
          </a:xfrm>
          <a:prstGeom prst="rect">
            <a:avLst/>
          </a:prstGeom>
        </p:spPr>
        <p:txBody>
          <a:bodyPr vert="horz" lIns="121906" tIns="60953" rIns="121906" bIns="60953">
            <a:noAutofit/>
          </a:bodyPr>
          <a:lstStyle>
            <a:lvl1pPr marL="0" indent="0" algn="ctr">
              <a:buNone/>
              <a:defRPr sz="270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44905" y="403228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cs typeface="CiscoSans Thin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61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  <p:bldP spid="13" grpId="0"/>
    </p:bld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621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906" tIns="60953" rIns="121906" bIns="60953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91" y="1559096"/>
            <a:ext cx="5353556" cy="4295015"/>
          </a:xfrm>
          <a:prstGeom prst="rect">
            <a:avLst/>
          </a:prstGeom>
        </p:spPr>
        <p:txBody>
          <a:bodyPr vert="horz" lIns="121906" tIns="60953" rIns="121906" bIns="60953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80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844" y="3066689"/>
            <a:ext cx="3289789" cy="861775"/>
          </a:xfrm>
          <a:prstGeom prst="rect">
            <a:avLst/>
          </a:prstGeom>
          <a:noFill/>
        </p:spPr>
        <p:txBody>
          <a:bodyPr wrap="none" lIns="121906" tIns="60953" rIns="121906" bIns="60953" rtlCol="0">
            <a:spAutoFit/>
          </a:bodyPr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1656" y="3801570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7460" y="3786906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30780" y="3786906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900368" y="3786906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7833" y="3786906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21617" y="2966680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2029" y="2763673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5215" y="2484529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5627" y="2763669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7418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7834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71013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81429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906" tIns="60953" rIns="121906" bIns="60953"/>
          <a:lstStyle/>
          <a:p>
            <a:pPr defTabSz="609523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5033594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85" y="311165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8" rIns="91420" bIns="45718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20" tIns="45718" rIns="91420" bIns="45718" rtlCol="0" anchor="ctr" anchorCtr="0">
            <a:normAutofit/>
          </a:bodyPr>
          <a:lstStyle>
            <a:lvl1pPr marL="0" indent="0" algn="ctr" defTabSz="91418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98" y="3307605"/>
            <a:ext cx="8973153" cy="2152559"/>
          </a:xfrm>
        </p:spPr>
        <p:txBody>
          <a:bodyPr>
            <a:noAutofit/>
          </a:bodyPr>
          <a:lstStyle>
            <a:lvl1pPr marL="0" marR="0" indent="0" algn="l" defTabSz="91418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389399" y="6555469"/>
            <a:ext cx="4560687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9" tIns="41066" rIns="82119" bIns="41066" anchor="b" anchorCtr="0">
            <a:spAutoFit/>
          </a:bodyPr>
          <a:lstStyle/>
          <a:p>
            <a:pPr defTabSz="814336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968AF"/>
                </a:solidFill>
                <a:latin typeface="Arial"/>
                <a:ea typeface="+mn-ea"/>
                <a:cs typeface="+mn-cs"/>
              </a:rPr>
              <a:t>© 2013  Cisco and/or its affiliates. All rights reserved.</a:t>
            </a:r>
            <a:endParaRPr lang="en-US" sz="800" dirty="0">
              <a:solidFill>
                <a:srgbClr val="2968A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11547725" y="6549624"/>
            <a:ext cx="294111" cy="206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9" tIns="41066" rIns="82119" bIns="41066" anchor="b">
            <a:spAutoFit/>
          </a:bodyPr>
          <a:lstStyle/>
          <a:p>
            <a:pPr algn="r" defTabSz="814336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968AF"/>
                </a:solidFill>
                <a:latin typeface="Arial"/>
                <a:ea typeface="+mn-ea"/>
                <a:cs typeface="+mn-cs"/>
              </a:rPr>
              <a:pPr algn="r" defTabSz="81433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968A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950728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9" y="5057602"/>
            <a:ext cx="11061895" cy="384175"/>
          </a:xfrm>
          <a:prstGeom prst="rect">
            <a:avLst/>
          </a:prstGeom>
        </p:spPr>
        <p:txBody>
          <a:bodyPr lIns="121882" tIns="60941" rIns="121882" bIns="60941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9" y="5377598"/>
            <a:ext cx="11061895" cy="384175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9" y="5697594"/>
            <a:ext cx="11061895" cy="384175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7" y="4281951"/>
            <a:ext cx="11070167" cy="398668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335" indent="0">
              <a:buNone/>
              <a:defRPr/>
            </a:lvl2pPr>
            <a:lvl3pPr marL="569812" indent="0">
              <a:buNone/>
              <a:defRPr/>
            </a:lvl3pPr>
            <a:lvl4pPr marL="688856" indent="0">
              <a:buNone/>
              <a:defRPr/>
            </a:lvl4pPr>
            <a:lvl5pPr marL="80154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3445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4" rIns="91424" bIns="45714" anchor="ctr"/>
          <a:lstStyle/>
          <a:p>
            <a:pPr defTabSz="609539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4" tIns="45714" rIns="91424" bIns="45714" anchor="ctr"/>
          <a:lstStyle/>
          <a:p>
            <a:pPr defTabSz="609539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58" y="4279405"/>
            <a:ext cx="6246489" cy="384175"/>
          </a:xfrm>
          <a:prstGeom prst="rect">
            <a:avLst/>
          </a:prstGeom>
        </p:spPr>
        <p:txBody>
          <a:bodyPr vert="horz" lIns="91424" tIns="45714" rIns="91424" bIns="45714" rtlCol="0">
            <a:noAutofit/>
          </a:bodyPr>
          <a:lstStyle>
            <a:lvl1pPr marL="0" indent="0" algn="l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05" y="3282704"/>
            <a:ext cx="6283409" cy="1022351"/>
          </a:xfrm>
        </p:spPr>
        <p:txBody>
          <a:bodyPr lIns="82279" tIns="45714" rIns="82279" bIns="45714" rtlCol="0" anchor="b">
            <a:noAutofit/>
          </a:bodyPr>
          <a:lstStyle>
            <a:lvl1pPr marL="0" indent="0" algn="l" defTabSz="91424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75" y="1917701"/>
            <a:ext cx="3568700" cy="2889251"/>
          </a:xfrm>
          <a:prstGeom prst="rect">
            <a:avLst/>
          </a:prstGeom>
        </p:spPr>
        <p:txBody>
          <a:bodyPr lIns="121882" tIns="60941" rIns="121882" bIns="60941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69012876"/>
      </p:ext>
    </p:extLst>
  </p:cSld>
  <p:clrMapOvr>
    <a:masterClrMapping/>
  </p:clrMapOvr>
  <p:transition spd="slow">
    <p:wipe/>
  </p:transition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351429" y="6323881"/>
            <a:ext cx="294071" cy="206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7" tIns="41054" rIns="82107" bIns="41054" anchor="b">
            <a:spAutoFit/>
          </a:bodyPr>
          <a:lstStyle/>
          <a:p>
            <a:pPr algn="r" defTabSz="81424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pPr algn="r" defTabSz="81424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7823344" y="6322204"/>
            <a:ext cx="3544024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07" tIns="41054" rIns="82107" bIns="41054" anchor="b">
            <a:spAutoFit/>
          </a:bodyPr>
          <a:lstStyle/>
          <a:p>
            <a:pPr defTabSz="8142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FFFFFF">
                    <a:alpha val="60000"/>
                  </a:srgbClr>
                </a:solidFill>
                <a:latin typeface="Arial"/>
                <a:cs typeface="CiscoSans Thin"/>
              </a:rPr>
              <a:t>© 2014  Cisco and/or its affiliates. All rights reserved.   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1331929"/>
      </p:ext>
    </p:extLst>
  </p:cSld>
  <p:clrMapOvr>
    <a:masterClrMapping/>
  </p:clrMapOvr>
  <p:transition spd="med">
    <p:fade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4" rIns="91420" bIns="45714" anchor="ctr"/>
          <a:lstStyle/>
          <a:p>
            <a:pPr defTabSz="609539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0" tIns="45714" rIns="91420" bIns="45714" anchor="ctr"/>
          <a:lstStyle/>
          <a:p>
            <a:pPr defTabSz="609539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3" y="1220545"/>
            <a:ext cx="10130723" cy="342659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398793"/>
      </p:ext>
    </p:extLst>
  </p:cSld>
  <p:clrMapOvr>
    <a:masterClrMapping/>
  </p:clrMapOvr>
  <p:transition spd="med">
    <p:fade/>
  </p:transition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2883" y="1797053"/>
            <a:ext cx="11040076" cy="4098595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80882" marR="0" indent="-380882" algn="ctr" defTabSz="60941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327037"/>
      </p:ext>
    </p:extLst>
  </p:cSld>
  <p:clrMapOvr>
    <a:masterClrMapping/>
  </p:clrMapOvr>
  <p:transition spd="med">
    <p:fade/>
  </p:transition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74533" indent="-29835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26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59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23" indent="-22429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6870563"/>
      </p:ext>
    </p:extLst>
  </p:cSld>
  <p:clrMapOvr>
    <a:masterClrMapping/>
  </p:clrMapOvr>
  <p:transition spd="med">
    <p:fade/>
  </p:transition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7" cy="4224280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76173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49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1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6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2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3717776"/>
      </p:ext>
    </p:extLst>
  </p:cSld>
  <p:clrMapOvr>
    <a:masterClrMapping/>
  </p:clrMapOvr>
  <p:transition spd="med">
    <p:fade/>
  </p:transition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51" y="1194135"/>
            <a:ext cx="11198319" cy="4224280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76173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349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8111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6062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826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63678578"/>
      </p:ext>
    </p:extLst>
  </p:cSld>
  <p:clrMapOvr>
    <a:masterClrMapping/>
  </p:clrMapOvr>
  <p:transition spd="med">
    <p:fade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283173" indent="-523150">
              <a:lnSpc>
                <a:spcPts val="592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26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59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23" indent="-22429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88893135"/>
      </p:ext>
    </p:extLst>
  </p:cSld>
  <p:clrMapOvr>
    <a:masterClrMapping/>
  </p:clrMapOvr>
  <p:transition spd="med">
    <p:fade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74533" indent="-29835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126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6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59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3123" indent="-22429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08696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561" y="1194135"/>
            <a:ext cx="1119831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76139" indent="0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None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389186" indent="0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None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67783" indent="0"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85646" indent="0">
              <a:buClr>
                <a:schemeClr val="tx1"/>
              </a:buClr>
              <a:buSzPct val="80000"/>
              <a:buFont typeface="Arial"/>
              <a:buNone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218310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61704153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8" rIns="91420" bIns="45718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77" tIns="60938" rIns="121877" bIns="60938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93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354231" y="6555469"/>
            <a:ext cx="4560687" cy="206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9" tIns="41066" rIns="82119" bIns="41066" anchor="b" anchorCtr="0">
            <a:spAutoFit/>
          </a:bodyPr>
          <a:lstStyle/>
          <a:p>
            <a:pPr defTabSz="814336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968AF"/>
                </a:solidFill>
                <a:latin typeface="Arial"/>
                <a:ea typeface="+mn-ea"/>
                <a:cs typeface="+mn-cs"/>
              </a:rPr>
              <a:t>© 2013  Cisco and/or its affiliates. All rights reserved.</a:t>
            </a:r>
            <a:endParaRPr lang="en-US" sz="800" dirty="0">
              <a:solidFill>
                <a:srgbClr val="2968A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11547725" y="6549624"/>
            <a:ext cx="294111" cy="2060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9" tIns="41066" rIns="82119" bIns="41066" anchor="b">
            <a:spAutoFit/>
          </a:bodyPr>
          <a:lstStyle/>
          <a:p>
            <a:pPr algn="r" defTabSz="814336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968AF"/>
                </a:solidFill>
                <a:latin typeface="Arial"/>
                <a:ea typeface="+mn-ea"/>
                <a:cs typeface="+mn-cs"/>
              </a:rPr>
              <a:pPr algn="r" defTabSz="81433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968A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1839796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3" y="1797051"/>
            <a:ext cx="5201497" cy="411079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04708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11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7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01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086392" y="1797051"/>
            <a:ext cx="5624613" cy="411079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04708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11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7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01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6012235"/>
      </p:ext>
    </p:extLst>
  </p:cSld>
  <p:clrMapOvr>
    <a:masterClrMapping/>
  </p:clrMapOvr>
  <p:transition spd="med">
    <p:fade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6087960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907" y="403345"/>
            <a:ext cx="4954660" cy="1101929"/>
          </a:xfrm>
          <a:prstGeom prst="rect">
            <a:avLst/>
          </a:prstGeom>
        </p:spPr>
        <p:txBody>
          <a:bodyPr lIns="82275" tIns="45714" rIns="82275" bIns="45714" rtlCol="0">
            <a:noAutofit/>
          </a:bodyPr>
          <a:lstStyle>
            <a:lvl1pPr algn="l" defTabSz="91420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4300" b="0" i="0" kern="1200" spc="-100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541287" y="403341"/>
            <a:ext cx="4954660" cy="1101928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marR="0" indent="0" algn="l" defTabSz="91420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4300" b="0" i="0" kern="1200" spc="-100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3907" y="1797051"/>
            <a:ext cx="4954660" cy="411079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04708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11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7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01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541287" y="1797051"/>
            <a:ext cx="4954660" cy="411079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04708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11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7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01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911654"/>
      </p:ext>
    </p:extLst>
  </p:cSld>
  <p:clrMapOvr>
    <a:masterClrMapping/>
  </p:clrMapOvr>
  <p:transition spd="med">
    <p:fade/>
  </p:transition>
  <p:hf hdr="0" ftr="0" dt="0"/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093633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049684" y="812805"/>
            <a:ext cx="0" cy="5312833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615956" y="304429"/>
            <a:ext cx="3116145" cy="1027281"/>
          </a:xfrm>
          <a:prstGeom prst="rect">
            <a:avLst/>
          </a:prstGeom>
        </p:spPr>
        <p:txBody>
          <a:bodyPr lIns="121882" tIns="60941" rIns="121882" bIns="60941" anchor="b" anchorCtr="0">
            <a:noAutofit/>
          </a:bodyPr>
          <a:lstStyle>
            <a:lvl1pPr marL="0" marR="0" indent="0" algn="l" defTabSz="91420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4503642" y="303789"/>
            <a:ext cx="3116145" cy="1027281"/>
          </a:xfrm>
          <a:prstGeom prst="rect">
            <a:avLst/>
          </a:prstGeom>
        </p:spPr>
        <p:txBody>
          <a:bodyPr lIns="121882" tIns="60941" rIns="121882" bIns="60941" anchor="b" anchorCtr="0">
            <a:noAutofit/>
          </a:bodyPr>
          <a:lstStyle>
            <a:lvl1pPr marL="0" marR="0" indent="0" algn="l" defTabSz="91420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8473089" y="293976"/>
            <a:ext cx="3116145" cy="1027281"/>
          </a:xfrm>
          <a:prstGeom prst="rect">
            <a:avLst/>
          </a:prstGeom>
        </p:spPr>
        <p:txBody>
          <a:bodyPr lIns="121882" tIns="60941" rIns="121882" bIns="60941" anchor="b" anchorCtr="0">
            <a:noAutofit/>
          </a:bodyPr>
          <a:lstStyle>
            <a:lvl1pPr marL="0" marR="0" indent="0" algn="l" defTabSz="91420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300" b="0" i="0" u="none" strike="noStrike" kern="1200" cap="none" spc="-10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15953" y="1601459"/>
            <a:ext cx="3116147" cy="441987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11056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24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4503637" y="1600428"/>
            <a:ext cx="3116147" cy="441987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11056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24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473085" y="1600428"/>
            <a:ext cx="3116147" cy="441987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11056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1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24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3704546"/>
      </p:ext>
    </p:extLst>
  </p:cSld>
  <p:clrMapOvr>
    <a:masterClrMapping/>
  </p:clrMapOvr>
  <p:transition spd="med">
    <p:fade/>
  </p:transition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6760635" y="1773768"/>
            <a:ext cx="4950372" cy="413596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2" tIns="60941" rIns="121882" bIns="60941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864941" y="1975668"/>
            <a:ext cx="4501216" cy="2212024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114280" indent="-114280" algn="l" defTabSz="914202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114280" indent="-114280" algn="l" defTabSz="91420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280" indent="-114280" algn="l" defTabSz="91420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280" indent="-114280" algn="l" defTabSz="91420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280" indent="-114280" algn="l" defTabSz="914202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864946" y="4736592"/>
            <a:ext cx="4674993" cy="338328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93" y="1797051"/>
            <a:ext cx="5201497" cy="4110792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304708" indent="-228532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609411" indent="-287775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837946" indent="-228532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1066472" indent="-228532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1295001" indent="-22853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4991452"/>
      </p:ext>
    </p:extLst>
  </p:cSld>
  <p:clrMapOvr>
    <a:masterClrMapping/>
  </p:clrMapOvr>
  <p:transition spd="med">
    <p:fade/>
  </p:transition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612110"/>
      </p:ext>
    </p:extLst>
  </p:cSld>
  <p:clrMapOvr>
    <a:masterClrMapping/>
  </p:clrMapOvr>
  <p:transition spd="med">
    <p:fade/>
  </p:transition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121882" tIns="60941" rIns="121882" bIns="60941" anchor="b" anchorCtr="0">
            <a:noAutofit/>
          </a:bodyPr>
          <a:lstStyle>
            <a:lvl1pPr marL="0" indent="0" algn="l" defTabSz="804687">
              <a:lnSpc>
                <a:spcPct val="100000"/>
              </a:lnSpc>
              <a:spcBef>
                <a:spcPct val="50000"/>
              </a:spcBef>
              <a:buNone/>
              <a:defRPr sz="29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3897" y="2054073"/>
            <a:ext cx="10629664" cy="3038449"/>
          </a:xfrm>
          <a:prstGeom prst="rect">
            <a:avLst/>
          </a:prstGeom>
        </p:spPr>
        <p:txBody>
          <a:bodyPr anchor="ctr">
            <a:noAutofit/>
          </a:bodyPr>
          <a:lstStyle>
            <a:lvl1pPr marL="244777" indent="-533237" algn="l">
              <a:lnSpc>
                <a:spcPct val="90000"/>
              </a:lnSpc>
              <a:defRPr sz="61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5109267"/>
      </p:ext>
    </p:extLst>
  </p:cSld>
  <p:clrMapOvr>
    <a:masterClrMapping/>
  </p:clrMapOvr>
  <p:transition spd="med">
    <p:fade/>
  </p:transition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46928" y="812805"/>
            <a:ext cx="0" cy="531283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18352" y="1918751"/>
            <a:ext cx="5093797" cy="3020519"/>
          </a:xfrm>
        </p:spPr>
        <p:txBody>
          <a:bodyPr lIns="82279" tIns="45714" rIns="82279" bIns="45714" rtlCol="0" anchor="ctr">
            <a:noAutofit/>
          </a:bodyPr>
          <a:lstStyle>
            <a:lvl1pPr marL="0" indent="0" algn="l" defTabSz="914240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1" y="872691"/>
            <a:ext cx="5154507" cy="5120640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1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62816287"/>
      </p:ext>
    </p:extLst>
  </p:cSld>
  <p:clrMapOvr>
    <a:masterClrMapping/>
  </p:clrMapOvr>
  <p:transition spd="slow">
    <p:wipe/>
  </p:transition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83688" y="1797053"/>
            <a:ext cx="11127317" cy="3544971"/>
          </a:xfrm>
          <a:prstGeom prst="rect">
            <a:avLst/>
          </a:prstGeom>
        </p:spPr>
        <p:txBody>
          <a:bodyPr lIns="121882" tIns="60941" rIns="121882" bIns="60941">
            <a:noAutofit/>
          </a:bodyPr>
          <a:lstStyle>
            <a:lvl1pPr marL="0" indent="0" algn="ctr">
              <a:buNone/>
              <a:defRPr sz="27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5"/>
            <a:ext cx="9573749" cy="434977"/>
          </a:xfrm>
          <a:prstGeom prst="rect">
            <a:avLst/>
          </a:prstGeom>
        </p:spPr>
        <p:txBody>
          <a:bodyPr wrap="square" lIns="121882" tIns="60941" rIns="121882" bIns="60941" anchor="b" anchorCtr="0">
            <a:noAutofit/>
          </a:bodyPr>
          <a:lstStyle>
            <a:lvl1pPr algn="l" defTabSz="80468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0282224"/>
      </p:ext>
    </p:extLst>
  </p:cSld>
  <p:clrMapOvr>
    <a:masterClrMapping/>
  </p:clrMapOvr>
  <p:transition spd="med">
    <p:fade/>
  </p:transition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83688" y="1799168"/>
            <a:ext cx="11127317" cy="3547533"/>
          </a:xfrm>
          <a:prstGeom prst="rect">
            <a:avLst/>
          </a:prstGeom>
        </p:spPr>
        <p:txBody>
          <a:bodyPr vert="horz" lIns="121882" tIns="60941" rIns="121882" bIns="60941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2" y="5530965"/>
            <a:ext cx="9573749" cy="434977"/>
          </a:xfrm>
          <a:prstGeom prst="rect">
            <a:avLst/>
          </a:prstGeom>
        </p:spPr>
        <p:txBody>
          <a:bodyPr wrap="square" lIns="121882" tIns="60941" rIns="121882" bIns="60941" anchor="b" anchorCtr="0">
            <a:noAutofit/>
          </a:bodyPr>
          <a:lstStyle>
            <a:lvl1pPr algn="l" defTabSz="804687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2527063"/>
      </p:ext>
    </p:extLst>
  </p:cSld>
  <p:clrMapOvr>
    <a:masterClrMapping/>
  </p:clrMapOvr>
  <p:transition spd="med">
    <p:fade/>
  </p:transition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275"/>
            <a:ext cx="5342668" cy="4054364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6279877" y="1799170"/>
            <a:ext cx="5431128" cy="4052529"/>
          </a:xfrm>
          <a:prstGeom prst="rect">
            <a:avLst/>
          </a:prstGeom>
        </p:spPr>
        <p:txBody>
          <a:bodyPr vert="horz" lIns="121882" tIns="60941" rIns="121882" bIns="60941">
            <a:noAutofit/>
          </a:bodyPr>
          <a:lstStyle>
            <a:lvl1pPr marL="0" indent="0" algn="ctr">
              <a:buNone/>
              <a:defRPr sz="27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768207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65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65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95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31" y="3028965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65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95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95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14" rIns="91416" bIns="45714" anchor="ctr"/>
          <a:lstStyle/>
          <a:p>
            <a:pPr algn="ctr" defTabSz="60947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2003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5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71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71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16" tIns="45714" rIns="91416" bIns="45714" rtlCol="0" anchor="ctr" anchorCtr="0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7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7769253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83691" y="1799139"/>
            <a:ext cx="5338660" cy="4054500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277480" y="1799167"/>
            <a:ext cx="5433525" cy="4054944"/>
          </a:xfrm>
          <a:prstGeom prst="rect">
            <a:avLst/>
          </a:prstGeom>
        </p:spPr>
        <p:txBody>
          <a:bodyPr vert="horz" lIns="121882" tIns="60941" rIns="121882" bIns="60941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14425"/>
      </p:ext>
    </p:extLst>
  </p:cSld>
  <p:clrMapOvr>
    <a:masterClrMapping/>
  </p:clrMapOvr>
  <p:transition spd="med">
    <p:fade/>
  </p:transition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8113489" y="2163193"/>
            <a:ext cx="3091419" cy="3091419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609539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4564309" y="2163193"/>
            <a:ext cx="3091419" cy="3091419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609539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1019029" y="2163193"/>
            <a:ext cx="3091419" cy="3091419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609539"/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1036648" y="3733528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81928" y="3730932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8131108" y="3730932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2027767" y="2857372"/>
            <a:ext cx="1051984" cy="1051984"/>
          </a:xfrm>
          <a:prstGeom prst="rect">
            <a:avLst/>
          </a:prstGeom>
        </p:spPr>
        <p:txBody>
          <a:bodyPr vert="horz" lIns="121909" tIns="60954" rIns="121909" bIns="60954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5603827" y="2870412"/>
            <a:ext cx="1051984" cy="1051984"/>
          </a:xfrm>
          <a:prstGeom prst="rect">
            <a:avLst/>
          </a:prstGeom>
        </p:spPr>
        <p:txBody>
          <a:bodyPr vert="horz" lIns="121909" tIns="60954" rIns="121909" bIns="60954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9122480" y="2857372"/>
            <a:ext cx="1051984" cy="1051984"/>
          </a:xfrm>
          <a:prstGeom prst="rect">
            <a:avLst/>
          </a:prstGeom>
        </p:spPr>
        <p:txBody>
          <a:bodyPr vert="horz" lIns="121909" tIns="60954" rIns="121909" bIns="60954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53695"/>
      </p:ext>
    </p:extLst>
  </p:cSld>
  <p:clrMapOvr>
    <a:masterClrMapping/>
  </p:clrMapOvr>
  <p:transition spd="slow">
    <p:wipe/>
  </p:transition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1033100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8" tIns="45718" rIns="91428" bIns="45718" anchor="ctr"/>
          <a:lstStyle/>
          <a:p>
            <a:pPr algn="ctr" defTabSz="12190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456379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8" tIns="45718" rIns="91428" bIns="45718" anchor="ctr"/>
          <a:lstStyle/>
          <a:p>
            <a:pPr algn="ctr" defTabSz="12190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8116484" y="2163193"/>
            <a:ext cx="3075001" cy="3074624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91428" tIns="45718" rIns="91428" bIns="45718" anchor="ctr"/>
          <a:lstStyle/>
          <a:p>
            <a:pPr algn="ctr" defTabSz="12190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1033287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88" tIns="60944" rIns="121888" bIns="60944" anchor="ctr" anchorCtr="0"/>
          <a:lstStyle>
            <a:lvl1pPr algn="l">
              <a:buFontTx/>
              <a:buNone/>
              <a:defRPr sz="17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456398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88" tIns="60944" rIns="121888" bIns="60944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116671" y="2163193"/>
            <a:ext cx="3074624" cy="3074624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121888" tIns="60944" rIns="121888" bIns="60944" anchor="ctr" anchorCtr="0"/>
          <a:lstStyle>
            <a:lvl1pPr algn="l">
              <a:buFontTx/>
              <a:buNone/>
              <a:defRPr sz="17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051732" y="5164189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582424" y="5161593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8135116" y="5161593"/>
            <a:ext cx="3056181" cy="804881"/>
          </a:xfrm>
          <a:prstGeom prst="rect">
            <a:avLst/>
          </a:prstGeom>
        </p:spPr>
        <p:txBody>
          <a:bodyPr lIns="121882" tIns="60941" rIns="121882" bIns="60941" anchor="ctr" anchorCtr="0">
            <a:noAutofit/>
          </a:bodyPr>
          <a:lstStyle>
            <a:lvl1pPr marL="0" indent="0" algn="ctr">
              <a:buNone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020057413"/>
      </p:ext>
    </p:extLst>
  </p:cSld>
  <p:clrMapOvr>
    <a:masterClrMapping/>
  </p:clrMapOvr>
  <p:transition spd="slow">
    <p:wipe/>
  </p:transition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121882" tIns="60941" rIns="121882" bIns="60941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666752" y="4635533"/>
            <a:ext cx="10852149" cy="694203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43984" tIns="0" rIns="121909" bIns="60954" numCol="1" anchor="ctr" anchorCtr="0" compatLnSpc="1">
            <a:prstTxWarp prst="textNoShape">
              <a:avLst/>
            </a:prstTxWarp>
            <a:spAutoFit/>
          </a:bodyPr>
          <a:lstStyle>
            <a:lvl1pPr marL="230378" indent="0">
              <a:lnSpc>
                <a:spcPts val="4907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210749530"/>
      </p:ext>
    </p:extLst>
  </p:cSld>
  <p:clrMapOvr>
    <a:masterClrMapping/>
  </p:clrMapOvr>
  <p:transition spd="slow">
    <p:wipe/>
  </p:transition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5" y="401387"/>
            <a:ext cx="11417563" cy="3389567"/>
          </a:xfrm>
          <a:prstGeom prst="rect">
            <a:avLst/>
          </a:prstGeom>
        </p:spPr>
        <p:txBody>
          <a:bodyPr vert="horz" lIns="121882" tIns="60941" rIns="121882" bIns="60941"/>
          <a:lstStyle>
            <a:lvl1pPr marL="0" indent="0" algn="ctr">
              <a:buNone/>
              <a:defRPr sz="29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98381" y="4072695"/>
            <a:ext cx="11152315" cy="752343"/>
          </a:xfrm>
          <a:prstGeom prst="rect">
            <a:avLst/>
          </a:prstGeom>
        </p:spPr>
        <p:txBody>
          <a:bodyPr vert="horz" wrap="square" lIns="121909" tIns="60954" rIns="121909" bIns="60954">
            <a:spAutoFit/>
          </a:bodyPr>
          <a:lstStyle>
            <a:lvl1pPr marL="0" indent="0">
              <a:buNone/>
              <a:defRPr sz="43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79496986"/>
      </p:ext>
    </p:extLst>
  </p:cSld>
  <p:clrMapOvr>
    <a:masterClrMapping/>
  </p:clrMapOvr>
  <p:transition spd="slow">
    <p:wipe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87" y="6172205"/>
            <a:ext cx="977900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121882" tIns="60941" rIns="121882" bIns="60941"/>
          <a:lstStyle>
            <a:lvl1pPr marL="0" indent="0" algn="ctr">
              <a:buNone/>
              <a:defRPr sz="29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16554000"/>
      </p:ext>
    </p:extLst>
  </p:cSld>
  <p:clrMapOvr>
    <a:masterClrMapping/>
  </p:clrMapOvr>
  <p:transition spd="slow">
    <p:wipe/>
  </p:transition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4"/>
            <a:ext cx="11307184" cy="5688861"/>
          </a:xfrm>
          <a:prstGeom prst="rect">
            <a:avLst/>
          </a:prstGeom>
        </p:spPr>
        <p:txBody>
          <a:bodyPr vert="horz" lIns="121888" tIns="60944" rIns="121888" bIns="60944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8221300"/>
      </p:ext>
    </p:extLst>
  </p:cSld>
  <p:clrMapOvr>
    <a:masterClrMapping/>
  </p:clrMapOvr>
  <p:transition spd="slow">
    <p:wipe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23069" y="795868"/>
            <a:ext cx="7131051" cy="40047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23068" y="4794252"/>
            <a:ext cx="7128933" cy="996949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2533653" y="795528"/>
            <a:ext cx="7105651" cy="400507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121888" tIns="60944" rIns="121888" bIns="60944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754497" y="4873439"/>
            <a:ext cx="6765427" cy="838200"/>
          </a:xfrm>
        </p:spPr>
        <p:txBody>
          <a:bodyPr anchor="ctr"/>
          <a:lstStyle>
            <a:lvl1pPr>
              <a:defRPr sz="27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0858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3071" y="311155"/>
            <a:ext cx="4364567" cy="24595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33321" y="310896"/>
            <a:ext cx="4364736" cy="245973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91428" tIns="45718" rIns="91428" bIns="45718" rtlCol="0" anchor="ctr" anchorCtr="0">
            <a:normAutofit/>
          </a:bodyPr>
          <a:lstStyle>
            <a:lvl1pPr marL="0" indent="0" algn="ctr" defTabSz="914278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74585" y="3307595"/>
            <a:ext cx="8973153" cy="2152559"/>
          </a:xfrm>
        </p:spPr>
        <p:txBody>
          <a:bodyPr>
            <a:noAutofit/>
          </a:bodyPr>
          <a:lstStyle>
            <a:lvl1pPr marL="0" marR="0" indent="0" algn="l" defTabSz="91427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4487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56917" y="728812"/>
            <a:ext cx="4840816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6656832" y="728980"/>
            <a:ext cx="4840224" cy="515975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121888" tIns="60944" rIns="121888" bIns="60944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83560" y="728984"/>
            <a:ext cx="5799891" cy="1085313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33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05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32638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891617" y="311156"/>
            <a:ext cx="43582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46617" y="311156"/>
            <a:ext cx="4383616" cy="266064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306987" y="311151"/>
            <a:ext cx="2451100" cy="13081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46622" y="3028956"/>
            <a:ext cx="3363383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1969" y="3028956"/>
            <a:ext cx="5367867" cy="3458633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306987" y="1682751"/>
            <a:ext cx="2451100" cy="344381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9306987" y="5183717"/>
            <a:ext cx="2451100" cy="130386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4" rIns="91424" bIns="45714" anchor="ctr"/>
          <a:lstStyle/>
          <a:p>
            <a:pPr algn="ctr" defTabSz="609539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4891995" y="311151"/>
            <a:ext cx="435714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27771" y="311151"/>
            <a:ext cx="4402668" cy="266065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9306444" y="311151"/>
            <a:ext cx="2451640" cy="13081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427765" y="3028962"/>
            <a:ext cx="3383227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3877781" y="3028962"/>
            <a:ext cx="5371355" cy="345893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9306444" y="1676401"/>
            <a:ext cx="2451640" cy="344941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9306444" y="5182964"/>
            <a:ext cx="2451640" cy="130492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91424" tIns="45714" rIns="91424" bIns="45714" rtlCol="0" anchor="ctr" anchorCtr="0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7382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5471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55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4" tIns="45714" rIns="91424" bIns="45714" rtlCol="0" anchor="ctr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3394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24" tIns="45714" rIns="91424" bIns="45714" rtlCol="0" anchor="ctr">
            <a:normAutofit/>
          </a:bodyPr>
          <a:lstStyle>
            <a:lvl1pPr marL="0" indent="0" algn="ctr" defTabSz="91424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7960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22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75082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9185"/>
      </p:ext>
    </p:extLst>
  </p:cSld>
  <p:clrMapOvr>
    <a:masterClrMapping/>
  </p:clrMapOvr>
  <p:transition spd="slow">
    <p:wipe/>
  </p:transition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  <a:prstGeom prst="rect">
            <a:avLst/>
          </a:prstGeom>
        </p:spPr>
      </p:pic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9" y="5057602"/>
            <a:ext cx="11061895" cy="384175"/>
          </a:xfrm>
          <a:prstGeom prst="rect">
            <a:avLst/>
          </a:prstGeom>
        </p:spPr>
        <p:txBody>
          <a:bodyPr lIns="121882" tIns="60941" rIns="121882" bIns="60941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F"/>
                </a:solidFill>
                <a:latin typeface="+mn-lt"/>
                <a:cs typeface="CiscoSans"/>
              </a:defRPr>
            </a:lvl1pPr>
            <a:lvl2pPr marL="4570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9" y="5438073"/>
            <a:ext cx="11061895" cy="384175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F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9" y="5818543"/>
            <a:ext cx="11061895" cy="384175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F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7" y="4281951"/>
            <a:ext cx="11070167" cy="398668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F"/>
                </a:solidFill>
                <a:latin typeface="+mj-lt"/>
              </a:defRPr>
            </a:lvl1pPr>
            <a:lvl2pPr marL="406335" indent="0">
              <a:buNone/>
              <a:defRPr/>
            </a:lvl2pPr>
            <a:lvl3pPr marL="569812" indent="0">
              <a:buNone/>
              <a:defRPr/>
            </a:lvl3pPr>
            <a:lvl4pPr marL="688856" indent="0">
              <a:buNone/>
              <a:defRPr/>
            </a:lvl4pPr>
            <a:lvl5pPr marL="80154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F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1625962"/>
      </p:ext>
    </p:extLst>
  </p:cSld>
  <p:clrMapOvr>
    <a:masterClrMapping/>
  </p:clrMapOvr>
  <p:transition spd="slow">
    <p:wipe/>
  </p:transition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22"/>
            <a:ext cx="11350752" cy="4531783"/>
          </a:xfrm>
          <a:prstGeom prst="rect">
            <a:avLst/>
          </a:prstGeom>
        </p:spPr>
        <p:txBody>
          <a:bodyPr lIns="121909" tIns="60954" rIns="121909" bIns="6095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482"/>
            <a:ext cx="511213" cy="366183"/>
          </a:xfrm>
          <a:prstGeom prst="rect">
            <a:avLst/>
          </a:prstGeom>
        </p:spPr>
        <p:txBody>
          <a:bodyPr vert="horz" lIns="121909" tIns="60954" rIns="121909" bIns="60954" rtlCol="0" anchor="ctr"/>
          <a:lstStyle>
            <a:lvl1pPr marL="0" algn="ctr" defTabSz="61072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Arial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492939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711" y="275035"/>
            <a:ext cx="1040074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711" y="1543054"/>
            <a:ext cx="10400740" cy="4525567"/>
          </a:xfrm>
          <a:prstGeom prst="rect">
            <a:avLst/>
          </a:prstGeom>
        </p:spPr>
        <p:txBody>
          <a:bodyPr lIns="91444" tIns="45726" rIns="91444" bIns="45726"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 sz="2100"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409711" y="857254"/>
            <a:ext cx="10400740" cy="514351"/>
          </a:xfrm>
          <a:prstGeom prst="rect">
            <a:avLst/>
          </a:prstGeom>
        </p:spPr>
        <p:txBody>
          <a:bodyPr lIns="91444" tIns="45726" rIns="91444" bIns="45726"/>
          <a:lstStyle>
            <a:lvl1pPr marL="0" indent="0">
              <a:buNone/>
              <a:defRPr lang="en-US" sz="23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557439" y="6581183"/>
            <a:ext cx="1635167" cy="276820"/>
          </a:xfrm>
          <a:prstGeom prst="rect">
            <a:avLst/>
          </a:prstGeom>
        </p:spPr>
        <p:txBody>
          <a:bodyPr vert="horz" lIns="68540" tIns="34270" rIns="68540" bIns="3427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609539"/>
            <a:fld id="{2F5CCB13-0A32-4557-88E9-079F0C330695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defTabSz="609539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282411" y="13"/>
            <a:ext cx="6909596" cy="322433"/>
          </a:xfrm>
          <a:prstGeom prst="rect">
            <a:avLst/>
          </a:prstGeom>
        </p:spPr>
        <p:txBody>
          <a:bodyPr lIns="91444" tIns="45726" rIns="91444" bIns="45726"/>
          <a:lstStyle>
            <a:lvl1pPr algn="r">
              <a:buNone/>
              <a:defRPr sz="19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1491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38"/>
            <a:ext cx="11350752" cy="4440767"/>
          </a:xfrm>
          <a:prstGeom prst="rect">
            <a:avLst/>
          </a:prstGeom>
        </p:spPr>
        <p:txBody>
          <a:bodyPr lIns="121909" tIns="60954" rIns="121909" bIns="6095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  <a:prstGeom prst="rect">
            <a:avLst/>
          </a:prstGeom>
        </p:spPr>
        <p:txBody>
          <a:bodyPr lIns="121909" tIns="60954" rIns="121909" bIns="60954"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8" y="6518482"/>
            <a:ext cx="511213" cy="366183"/>
          </a:xfrm>
          <a:prstGeom prst="rect">
            <a:avLst/>
          </a:prstGeom>
        </p:spPr>
        <p:txBody>
          <a:bodyPr vert="horz" lIns="121909" tIns="60954" rIns="121909" bIns="60954" rtlCol="0" anchor="ctr"/>
          <a:lstStyle>
            <a:lvl1pPr marL="0" algn="ctr" defTabSz="61072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Arial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0727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704869" y="777240"/>
            <a:ext cx="10886575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6" tIns="45714" rIns="91416" bIns="45714" rtlCol="0" anchor="ctr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  <p:sp>
        <p:nvSpPr>
          <p:cNvPr id="3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932124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- Spo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562600"/>
            <a:ext cx="12192000" cy="1295400"/>
          </a:xfrm>
          <a:prstGeom prst="rect">
            <a:avLst/>
          </a:prstGeom>
          <a:gradFill>
            <a:gsLst>
              <a:gs pos="0">
                <a:srgbClr val="FFFFFF">
                  <a:lumMod val="85000"/>
                </a:srgbClr>
              </a:gs>
              <a:gs pos="100000">
                <a:srgbClr val="FFFFFF"/>
              </a:gs>
            </a:gsLst>
            <a:lin ang="16200000" scaled="0"/>
          </a:gradFill>
          <a:ln w="25400" cap="flat" cmpd="sng" algn="ctr">
            <a:noFill/>
            <a:prstDash val="solid"/>
          </a:ln>
          <a:effectLst/>
        </p:spPr>
        <p:txBody>
          <a:bodyPr lIns="91412" tIns="45710" rIns="91412" bIns="45710" rtlCol="0" anchor="ctr"/>
          <a:lstStyle/>
          <a:p>
            <a:pPr algn="ctr" defTabSz="609539">
              <a:defRPr/>
            </a:pPr>
            <a:endParaRPr lang="en-US" kern="0" dirty="0" smtClean="0">
              <a:solidFill>
                <a:srgbClr val="FFFFFF"/>
              </a:solidFill>
            </a:endParaRPr>
          </a:p>
        </p:txBody>
      </p:sp>
      <p:pic>
        <p:nvPicPr>
          <p:cNvPr id="6" name="Picture 3" descr="\\.PSF\.Mac\Volumes\16GB_FLASH\Matrix_Pattern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0" y="1816101"/>
            <a:ext cx="12192000" cy="5041899"/>
          </a:xfrm>
          <a:prstGeom prst="rect">
            <a:avLst/>
          </a:prstGeom>
          <a:noFill/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66491" y="136812"/>
            <a:ext cx="1158802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accent4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Agenda Title Goes Here</a:t>
            </a:r>
            <a:endParaRPr lang="en-US" dirty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673" y="6646933"/>
            <a:ext cx="294152" cy="2060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7" tIns="41046" rIns="82087" bIns="41046" anchor="b">
            <a:spAutoFit/>
          </a:bodyPr>
          <a:lstStyle/>
          <a:p>
            <a:pPr algn="r" defTabSz="814076"/>
            <a:fld id="{DFCF27A5-1A5B-48D3-A060-2758FFBB1ADD}" type="slidenum">
              <a:rPr lang="en-US" sz="80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pPr algn="r" defTabSz="814076"/>
              <a:t>‹#›</a:t>
            </a:fld>
            <a:endParaRPr lang="en-US" sz="800" dirty="0">
              <a:solidFill>
                <a:srgbClr val="676767">
                  <a:lumMod val="50000"/>
                  <a:lumOff val="50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07" y="665275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87" tIns="41046" rIns="82087" bIns="41046" anchor="b" anchorCtr="0">
            <a:spAutoFit/>
          </a:bodyPr>
          <a:lstStyle/>
          <a:p>
            <a:pPr defTabSz="814076"/>
            <a:r>
              <a:rPr lang="en-U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© 2014-</a:t>
            </a:r>
            <a:r>
              <a:rPr lang="is-I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676767">
                    <a:lumMod val="50000"/>
                    <a:lumOff val="50000"/>
                  </a:srgbClr>
                </a:solidFill>
                <a:latin typeface="Arial"/>
                <a:cs typeface="CiscoSans Thin"/>
              </a:rPr>
              <a:t>  Cisco Systems Inc. and/or its affiliates. All rights reserved.</a:t>
            </a:r>
            <a:endParaRPr lang="en-US" sz="800" dirty="0">
              <a:solidFill>
                <a:srgbClr val="676767">
                  <a:lumMod val="50000"/>
                  <a:lumOff val="50000"/>
                </a:srgbClr>
              </a:solidFill>
              <a:latin typeface="Arial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021315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Grid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1" descr="Grid_Gray_Perspec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419889"/>
            <a:ext cx="12192000" cy="4449233"/>
          </a:xfrm>
          <a:prstGeom prst="rect">
            <a:avLst/>
          </a:prstGeom>
          <a:noFill/>
        </p:spPr>
      </p:pic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06268" y="115447"/>
            <a:ext cx="11441232" cy="959596"/>
          </a:xfrm>
        </p:spPr>
        <p:txBody>
          <a:bodyPr anchor="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1476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16991" y="1339749"/>
            <a:ext cx="11436096" cy="4965699"/>
          </a:xfrm>
          <a:prstGeom prst="rect">
            <a:avLst/>
          </a:prstGeom>
        </p:spPr>
        <p:txBody>
          <a:bodyPr lIns="91424" tIns="45714" rIns="91424" bIns="45714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47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rge photo with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51104" y="310918"/>
            <a:ext cx="11301984" cy="6075391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0" tIns="45698" rIns="91390" bIns="45698" rtlCol="0" anchor="ctr"/>
          <a:lstStyle/>
          <a:p>
            <a:pPr algn="ctr" defTabSz="609539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44522" y="310921"/>
            <a:ext cx="11299825" cy="6054185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vert="horz" lIns="91390" tIns="45698" rIns="91390" bIns="45698" rtlCol="0" anchor="ctr" anchorCtr="0">
            <a:normAutofit/>
          </a:bodyPr>
          <a:lstStyle>
            <a:lvl1pPr marL="0" indent="0" algn="ctr" defTabSz="913920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000" kern="1200" baseline="0" dirty="0">
                <a:solidFill>
                  <a:srgbClr val="546568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Photo placeholder</a:t>
            </a:r>
            <a:endParaRPr lang="en-US" dirty="0"/>
          </a:p>
        </p:txBody>
      </p:sp>
      <p:pic>
        <p:nvPicPr>
          <p:cNvPr id="9" name="Picture 8" descr="segue textur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4501" y="6381457"/>
            <a:ext cx="11303000" cy="163808"/>
          </a:xfrm>
          <a:prstGeom prst="rect">
            <a:avLst/>
          </a:prstGeom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54242" y="6570897"/>
            <a:ext cx="4560687" cy="190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75" tIns="41038" rIns="82075" bIns="41038" anchor="b" anchorCtr="0">
            <a:spAutoFit/>
          </a:bodyPr>
          <a:lstStyle/>
          <a:p>
            <a:pPr defTabSz="813960"/>
            <a:r>
              <a:rPr lang="en-US" sz="700" dirty="0" smtClean="0">
                <a:solidFill>
                  <a:srgbClr val="C0C0C0"/>
                </a:solidFill>
                <a:latin typeface="Arial"/>
              </a:rPr>
              <a:t>© 2013 Cisco and/or its affiliates. All rights reserved.</a:t>
            </a:r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3" name="Rectangle 7"/>
          <p:cNvSpPr>
            <a:spLocks noChangeArrowheads="1"/>
          </p:cNvSpPr>
          <p:nvPr userDrawn="1"/>
        </p:nvSpPr>
        <p:spPr bwMode="ltGray">
          <a:xfrm>
            <a:off x="11566301" y="6565097"/>
            <a:ext cx="275531" cy="1905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5" tIns="41038" rIns="82075" bIns="41038" anchor="b">
            <a:spAutoFit/>
          </a:bodyPr>
          <a:lstStyle/>
          <a:p>
            <a:pPr algn="r" defTabSz="813960"/>
            <a:fld id="{DFCF27A5-1A5B-48D3-A060-2758FFBB1ADD}" type="slidenum">
              <a:rPr lang="en-US" sz="700">
                <a:solidFill>
                  <a:srgbClr val="C0C0C0"/>
                </a:solidFill>
                <a:latin typeface="Arial"/>
              </a:rPr>
              <a:pPr algn="r" defTabSz="813960"/>
              <a:t>‹#›</a:t>
            </a:fld>
            <a:endParaRPr lang="en-US" sz="700" dirty="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934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27276" y="1666619"/>
            <a:ext cx="5559509" cy="4354712"/>
          </a:xfrm>
          <a:prstGeom prst="rect">
            <a:avLst/>
          </a:prstGeom>
        </p:spPr>
        <p:txBody>
          <a:bodyPr lIns="121898" tIns="60949" rIns="121898" bIns="60949">
            <a:noAutofit/>
          </a:bodyPr>
          <a:lstStyle>
            <a:lvl1pPr marL="311092" indent="-22856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96" indent="-2285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  <a:p>
            <a:endParaRPr lang="en-US" dirty="0" smtClean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187992" y="1666619"/>
            <a:ext cx="5559509" cy="4354712"/>
          </a:xfrm>
          <a:prstGeom prst="rect">
            <a:avLst/>
          </a:prstGeom>
        </p:spPr>
        <p:txBody>
          <a:bodyPr lIns="121898" tIns="60949" rIns="121898" bIns="60949">
            <a:noAutofit/>
          </a:bodyPr>
          <a:lstStyle>
            <a:lvl1pPr marL="298395" indent="-228560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600"/>
              </a:spcBef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75896" indent="-22856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 slide that uses more content than the standard bullet slide will allow</a:t>
            </a:r>
          </a:p>
          <a:p>
            <a:pPr lvl="2"/>
            <a:r>
              <a:rPr lang="en-US" dirty="0" smtClean="0"/>
              <a:t>This is where all the second level information is</a:t>
            </a:r>
            <a:br>
              <a:rPr lang="en-US" dirty="0" smtClean="0"/>
            </a:br>
            <a:r>
              <a:rPr lang="en-US" dirty="0" smtClean="0"/>
              <a:t>placed if you choose to have an outline</a:t>
            </a:r>
          </a:p>
          <a:p>
            <a:pPr lvl="2"/>
            <a:r>
              <a:rPr lang="en-US" dirty="0" smtClean="0"/>
              <a:t>Here is another bullet point</a:t>
            </a:r>
          </a:p>
          <a:p>
            <a:r>
              <a:rPr lang="en-US" dirty="0" smtClean="0"/>
              <a:t>First level bullets are 14 point and</a:t>
            </a:r>
            <a:br>
              <a:rPr lang="en-US" dirty="0" smtClean="0"/>
            </a:br>
            <a:r>
              <a:rPr lang="en-US" dirty="0" smtClean="0"/>
              <a:t>use an actual bullet point</a:t>
            </a:r>
          </a:p>
          <a:p>
            <a:pPr lvl="2"/>
            <a:r>
              <a:rPr lang="en-US" dirty="0" smtClean="0"/>
              <a:t>Second level bullets are 12 points in size</a:t>
            </a:r>
          </a:p>
          <a:p>
            <a:pPr lvl="2"/>
            <a:r>
              <a:rPr lang="en-US" dirty="0" smtClean="0"/>
              <a:t>It’s important to keep consistency </a:t>
            </a:r>
          </a:p>
          <a:p>
            <a:r>
              <a:rPr lang="en-US" dirty="0" smtClean="0"/>
              <a:t>If you are using this type of slide in your presentation, you are probably creating</a:t>
            </a:r>
            <a:br>
              <a:rPr lang="en-US" dirty="0" smtClean="0"/>
            </a:br>
            <a:r>
              <a:rPr lang="en-US" dirty="0" smtClean="0"/>
              <a:t>a document that should be printed and</a:t>
            </a:r>
            <a:br>
              <a:rPr lang="en-US" dirty="0" smtClean="0"/>
            </a:br>
            <a:r>
              <a:rPr lang="en-US" dirty="0" smtClean="0"/>
              <a:t>passed out to your audience</a:t>
            </a:r>
          </a:p>
        </p:txBody>
      </p:sp>
    </p:spTree>
    <p:extLst>
      <p:ext uri="{BB962C8B-B14F-4D97-AF65-F5344CB8AC3E}">
        <p14:creationId xmlns:p14="http://schemas.microsoft.com/office/powerpoint/2010/main" val="278757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337" y="304800"/>
            <a:ext cx="9914467" cy="8382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8333" y="1600205"/>
            <a:ext cx="4732867" cy="4525963"/>
          </a:xfrm>
          <a:prstGeom prst="rect">
            <a:avLst/>
          </a:prstGeom>
        </p:spPr>
        <p:txBody>
          <a:bodyPr lIns="91432" tIns="45718" rIns="91432" bIns="45718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9937" y="1600205"/>
            <a:ext cx="4732867" cy="4525963"/>
          </a:xfrm>
          <a:prstGeom prst="rect">
            <a:avLst/>
          </a:prstGeom>
        </p:spPr>
        <p:txBody>
          <a:bodyPr lIns="91432" tIns="45718" rIns="91432" bIns="45718"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200"/>
            </a:lvl4pPr>
            <a:lvl5pPr>
              <a:defRPr sz="12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8341" y="1186543"/>
            <a:ext cx="9914465" cy="381000"/>
          </a:xfrm>
          <a:prstGeom prst="rect">
            <a:avLst/>
          </a:prstGeom>
        </p:spPr>
        <p:txBody>
          <a:bodyPr lIns="91432" tIns="45718" rIns="91432" bIns="45718" anchor="ctr">
            <a:noAutofit/>
          </a:bodyPr>
          <a:lstStyle>
            <a:lvl1pPr>
              <a:buFontTx/>
              <a:buNone/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58338" y="6357041"/>
            <a:ext cx="9948335" cy="323163"/>
          </a:xfrm>
          <a:prstGeom prst="rect">
            <a:avLst/>
          </a:prstGeom>
        </p:spPr>
        <p:txBody>
          <a:bodyPr lIns="91432" tIns="45718" rIns="91432" bIns="45718" anchor="b">
            <a:spAutoFit/>
          </a:bodyPr>
          <a:lstStyle>
            <a:lvl1pPr algn="l" defTabSz="804783">
              <a:lnSpc>
                <a:spcPct val="100000"/>
              </a:lnSpc>
              <a:spcBef>
                <a:spcPct val="50000"/>
              </a:spcBef>
              <a:buNone/>
              <a:defRPr sz="1500"/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45189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2328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35" y="6323873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1" tIns="41062" rIns="82111" bIns="41062" anchor="b">
            <a:spAutoFit/>
          </a:bodyPr>
          <a:lstStyle/>
          <a:p>
            <a:pPr algn="r" defTabSz="814261"/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cs typeface="CiscoSans Thin"/>
              </a:rPr>
              <a:pPr algn="r" defTabSz="814261"/>
              <a:t>‹#›</a:t>
            </a:fld>
            <a:endParaRPr lang="en-US" sz="8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03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1" tIns="41062" rIns="82111" bIns="41062" anchor="b" anchorCtr="0">
            <a:spAutoFit/>
          </a:bodyPr>
          <a:lstStyle/>
          <a:p>
            <a:pPr defTabSz="814261"/>
            <a:r>
              <a:rPr lang="en-US" sz="800" dirty="0" smtClean="0">
                <a:solidFill>
                  <a:srgbClr val="FFFFFF"/>
                </a:solidFill>
                <a:latin typeface="Arial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41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74190" y="1520825"/>
            <a:ext cx="5192183" cy="3571875"/>
          </a:xfrm>
          <a:prstGeom prst="rect">
            <a:avLst/>
          </a:prstGeom>
        </p:spPr>
        <p:txBody>
          <a:bodyPr lIns="121909" tIns="60954" rIns="121909" bIns="60954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520825"/>
            <a:ext cx="5192184" cy="3571875"/>
          </a:xfrm>
          <a:prstGeom prst="rect">
            <a:avLst/>
          </a:prstGeom>
        </p:spPr>
        <p:txBody>
          <a:bodyPr lIns="121909" tIns="60954" rIns="121909" bIns="60954"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77547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8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905785" y="778669"/>
            <a:ext cx="5899416" cy="4425696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16" tIns="45714" rIns="91416" bIns="45714" rtlCol="0" anchor="ctr">
            <a:normAutofit/>
          </a:bodyPr>
          <a:lstStyle>
            <a:lvl1pPr marL="0" indent="0" algn="ctr" defTabSz="914149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9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  <p:sp>
        <p:nvSpPr>
          <p:cNvPr id="3" name="Rectangle 7"/>
          <p:cNvSpPr>
            <a:spLocks noChangeArrowheads="1"/>
          </p:cNvSpPr>
          <p:nvPr userDrawn="1"/>
        </p:nvSpPr>
        <p:spPr bwMode="ltGray">
          <a:xfrm>
            <a:off x="11547733" y="6572047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 userDrawn="1"/>
        </p:nvSpPr>
        <p:spPr bwMode="ltGray">
          <a:xfrm>
            <a:off x="389401" y="6555465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636401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559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559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559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685" tIns="60843" rIns="121685" bIns="608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6960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9" tIns="41054" rIns="82099" bIns="41054" anchor="b">
            <a:spAutoFit/>
          </a:bodyPr>
          <a:lstStyle/>
          <a:p>
            <a:pPr algn="r" defTabSz="8141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pPr algn="r" defTabSz="8141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9" tIns="41054" rIns="82099" bIns="41054" anchor="b">
            <a:spAutoFit/>
          </a:bodyPr>
          <a:lstStyle/>
          <a:p>
            <a:pPr defTabSz="814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FFFFFF">
                  <a:alpha val="60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7065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0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49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685" tIns="60843" rIns="121685" bIns="60843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685" tIns="60843" rIns="121685" bIns="60843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685" tIns="60843" rIns="121685" bIns="60843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703" indent="0">
              <a:buNone/>
              <a:defRPr/>
            </a:lvl2pPr>
            <a:lvl3pPr marL="514597" indent="0">
              <a:buNone/>
              <a:defRPr/>
            </a:lvl3pPr>
            <a:lvl4pPr marL="727330" indent="0">
              <a:buNone/>
              <a:defRPr/>
            </a:lvl4pPr>
            <a:lvl5pPr marL="94001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21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64" y="6598714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476" tIns="30737" rIns="61476" bIns="30737" anchor="b">
            <a:spAutoFit/>
          </a:bodyPr>
          <a:lstStyle/>
          <a:p>
            <a:pPr defTabSz="609671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APP-9004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38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80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76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56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80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56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80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18" indent="-14790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54" y="487158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/>
          <a:p>
            <a:pPr marL="8333" indent="-8333" defTabSz="1216960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1712" y="1600739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54"/>
            <a:ext cx="5791200" cy="1777174"/>
          </a:xfrm>
          <a:prstGeom prst="rect">
            <a:avLst/>
          </a:prstGeom>
        </p:spPr>
        <p:txBody>
          <a:bodyPr wrap="square" lIns="121685" tIns="60843" rIns="121685" bIns="60843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6960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6960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685" tIns="60843" rIns="121685" bIns="60843" rtlCol="0">
            <a:spAutoFit/>
          </a:bodyPr>
          <a:lstStyle/>
          <a:p>
            <a:pPr defTabSz="121696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46794" y="598504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80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6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6135" y="2190751"/>
            <a:ext cx="11679767" cy="247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84464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46794" y="598504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80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55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1" cy="838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3" name="Group 67"/>
          <p:cNvGrpSpPr/>
          <p:nvPr userDrawn="1"/>
        </p:nvGrpSpPr>
        <p:grpSpPr>
          <a:xfrm>
            <a:off x="10878088" y="6251961"/>
            <a:ext cx="1026842" cy="415000"/>
            <a:chOff x="609606" y="528528"/>
            <a:chExt cx="1444732" cy="763787"/>
          </a:xfrm>
          <a:gradFill flip="none" rotWithShape="1">
            <a:gsLst>
              <a:gs pos="11000">
                <a:schemeClr val="bg2">
                  <a:lumMod val="2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  <a:tileRect/>
          </a:gradFill>
        </p:grpSpPr>
        <p:sp>
          <p:nvSpPr>
            <p:cNvPr id="4" name="Rectangle 3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5" name="Freeform 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prstClr val="black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4" tIns="60832" rIns="121664" bIns="60832">
            <a:noAutofit/>
          </a:bodyPr>
          <a:lstStyle>
            <a:lvl1pPr marL="373881" indent="-29786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5983" indent="-287288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58" indent="-22814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25" indent="-22814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675" indent="-22391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9043168" y="274066"/>
            <a:ext cx="1905496" cy="1220787"/>
            <a:chOff x="9040813" y="285938"/>
            <a:chExt cx="1905000" cy="1220787"/>
          </a:xfrm>
        </p:grpSpPr>
        <p:sp>
          <p:nvSpPr>
            <p:cNvPr id="10" name="AutoShape 3"/>
            <p:cNvSpPr>
              <a:spLocks noChangeAspect="1" noChangeArrowheads="1" noTextEdit="1"/>
            </p:cNvSpPr>
            <p:nvPr/>
          </p:nvSpPr>
          <p:spPr bwMode="auto">
            <a:xfrm>
              <a:off x="9040813" y="285938"/>
              <a:ext cx="1905000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47" name="Freeform 5"/>
            <p:cNvSpPr>
              <a:spLocks/>
            </p:cNvSpPr>
            <p:nvPr userDrawn="1"/>
          </p:nvSpPr>
          <p:spPr bwMode="auto">
            <a:xfrm>
              <a:off x="9053513" y="763775"/>
              <a:ext cx="1879600" cy="290512"/>
            </a:xfrm>
            <a:custGeom>
              <a:avLst/>
              <a:gdLst>
                <a:gd name="T0" fmla="*/ 834 w 1184"/>
                <a:gd name="T1" fmla="*/ 47 h 183"/>
                <a:gd name="T2" fmla="*/ 834 w 1184"/>
                <a:gd name="T3" fmla="*/ 12 h 183"/>
                <a:gd name="T4" fmla="*/ 834 w 1184"/>
                <a:gd name="T5" fmla="*/ 12 h 183"/>
                <a:gd name="T6" fmla="*/ 832 w 1184"/>
                <a:gd name="T7" fmla="*/ 9 h 183"/>
                <a:gd name="T8" fmla="*/ 834 w 1184"/>
                <a:gd name="T9" fmla="*/ 8 h 183"/>
                <a:gd name="T10" fmla="*/ 836 w 1184"/>
                <a:gd name="T11" fmla="*/ 4 h 183"/>
                <a:gd name="T12" fmla="*/ 840 w 1184"/>
                <a:gd name="T13" fmla="*/ 1 h 183"/>
                <a:gd name="T14" fmla="*/ 849 w 1184"/>
                <a:gd name="T15" fmla="*/ 0 h 183"/>
                <a:gd name="T16" fmla="*/ 861 w 1184"/>
                <a:gd name="T17" fmla="*/ 0 h 183"/>
                <a:gd name="T18" fmla="*/ 879 w 1184"/>
                <a:gd name="T19" fmla="*/ 3 h 183"/>
                <a:gd name="T20" fmla="*/ 1172 w 1184"/>
                <a:gd name="T21" fmla="*/ 83 h 183"/>
                <a:gd name="T22" fmla="*/ 1172 w 1184"/>
                <a:gd name="T23" fmla="*/ 83 h 183"/>
                <a:gd name="T24" fmla="*/ 1176 w 1184"/>
                <a:gd name="T25" fmla="*/ 84 h 183"/>
                <a:gd name="T26" fmla="*/ 1184 w 1184"/>
                <a:gd name="T27" fmla="*/ 87 h 183"/>
                <a:gd name="T28" fmla="*/ 1184 w 1184"/>
                <a:gd name="T29" fmla="*/ 90 h 183"/>
                <a:gd name="T30" fmla="*/ 1184 w 1184"/>
                <a:gd name="T31" fmla="*/ 93 h 183"/>
                <a:gd name="T32" fmla="*/ 1180 w 1184"/>
                <a:gd name="T33" fmla="*/ 97 h 183"/>
                <a:gd name="T34" fmla="*/ 1170 w 1184"/>
                <a:gd name="T35" fmla="*/ 100 h 183"/>
                <a:gd name="T36" fmla="*/ 898 w 1184"/>
                <a:gd name="T37" fmla="*/ 178 h 183"/>
                <a:gd name="T38" fmla="*/ 898 w 1184"/>
                <a:gd name="T39" fmla="*/ 178 h 183"/>
                <a:gd name="T40" fmla="*/ 887 w 1184"/>
                <a:gd name="T41" fmla="*/ 179 h 183"/>
                <a:gd name="T42" fmla="*/ 865 w 1184"/>
                <a:gd name="T43" fmla="*/ 183 h 183"/>
                <a:gd name="T44" fmla="*/ 853 w 1184"/>
                <a:gd name="T45" fmla="*/ 183 h 183"/>
                <a:gd name="T46" fmla="*/ 842 w 1184"/>
                <a:gd name="T47" fmla="*/ 183 h 183"/>
                <a:gd name="T48" fmla="*/ 836 w 1184"/>
                <a:gd name="T49" fmla="*/ 179 h 183"/>
                <a:gd name="T50" fmla="*/ 834 w 1184"/>
                <a:gd name="T51" fmla="*/ 178 h 183"/>
                <a:gd name="T52" fmla="*/ 834 w 1184"/>
                <a:gd name="T53" fmla="*/ 175 h 183"/>
                <a:gd name="T54" fmla="*/ 834 w 1184"/>
                <a:gd name="T55" fmla="*/ 132 h 183"/>
                <a:gd name="T56" fmla="*/ 27 w 1184"/>
                <a:gd name="T57" fmla="*/ 132 h 183"/>
                <a:gd name="T58" fmla="*/ 27 w 1184"/>
                <a:gd name="T59" fmla="*/ 132 h 183"/>
                <a:gd name="T60" fmla="*/ 23 w 1184"/>
                <a:gd name="T61" fmla="*/ 132 h 183"/>
                <a:gd name="T62" fmla="*/ 14 w 1184"/>
                <a:gd name="T63" fmla="*/ 130 h 183"/>
                <a:gd name="T64" fmla="*/ 8 w 1184"/>
                <a:gd name="T65" fmla="*/ 130 h 183"/>
                <a:gd name="T66" fmla="*/ 4 w 1184"/>
                <a:gd name="T67" fmla="*/ 127 h 183"/>
                <a:gd name="T68" fmla="*/ 0 w 1184"/>
                <a:gd name="T69" fmla="*/ 124 h 183"/>
                <a:gd name="T70" fmla="*/ 0 w 1184"/>
                <a:gd name="T71" fmla="*/ 118 h 183"/>
                <a:gd name="T72" fmla="*/ 0 w 1184"/>
                <a:gd name="T73" fmla="*/ 118 h 183"/>
                <a:gd name="T74" fmla="*/ 0 w 1184"/>
                <a:gd name="T75" fmla="*/ 60 h 183"/>
                <a:gd name="T76" fmla="*/ 0 w 1184"/>
                <a:gd name="T77" fmla="*/ 60 h 183"/>
                <a:gd name="T78" fmla="*/ 0 w 1184"/>
                <a:gd name="T79" fmla="*/ 58 h 183"/>
                <a:gd name="T80" fmla="*/ 4 w 1184"/>
                <a:gd name="T81" fmla="*/ 54 h 183"/>
                <a:gd name="T82" fmla="*/ 8 w 1184"/>
                <a:gd name="T83" fmla="*/ 52 h 183"/>
                <a:gd name="T84" fmla="*/ 12 w 1184"/>
                <a:gd name="T85" fmla="*/ 50 h 183"/>
                <a:gd name="T86" fmla="*/ 21 w 1184"/>
                <a:gd name="T87" fmla="*/ 49 h 183"/>
                <a:gd name="T88" fmla="*/ 31 w 1184"/>
                <a:gd name="T89" fmla="*/ 47 h 183"/>
                <a:gd name="T90" fmla="*/ 31 w 1184"/>
                <a:gd name="T91" fmla="*/ 47 h 183"/>
                <a:gd name="T92" fmla="*/ 834 w 1184"/>
                <a:gd name="T93" fmla="*/ 47 h 183"/>
                <a:gd name="T94" fmla="*/ 834 w 1184"/>
                <a:gd name="T95" fmla="*/ 47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84" h="183">
                  <a:moveTo>
                    <a:pt x="834" y="47"/>
                  </a:moveTo>
                  <a:lnTo>
                    <a:pt x="834" y="12"/>
                  </a:lnTo>
                  <a:lnTo>
                    <a:pt x="834" y="12"/>
                  </a:lnTo>
                  <a:lnTo>
                    <a:pt x="832" y="9"/>
                  </a:lnTo>
                  <a:lnTo>
                    <a:pt x="834" y="8"/>
                  </a:lnTo>
                  <a:lnTo>
                    <a:pt x="836" y="4"/>
                  </a:lnTo>
                  <a:lnTo>
                    <a:pt x="840" y="1"/>
                  </a:lnTo>
                  <a:lnTo>
                    <a:pt x="849" y="0"/>
                  </a:lnTo>
                  <a:lnTo>
                    <a:pt x="861" y="0"/>
                  </a:lnTo>
                  <a:lnTo>
                    <a:pt x="879" y="3"/>
                  </a:lnTo>
                  <a:lnTo>
                    <a:pt x="1172" y="83"/>
                  </a:lnTo>
                  <a:lnTo>
                    <a:pt x="1172" y="83"/>
                  </a:lnTo>
                  <a:lnTo>
                    <a:pt x="1176" y="84"/>
                  </a:lnTo>
                  <a:lnTo>
                    <a:pt x="1184" y="87"/>
                  </a:lnTo>
                  <a:lnTo>
                    <a:pt x="1184" y="90"/>
                  </a:lnTo>
                  <a:lnTo>
                    <a:pt x="1184" y="93"/>
                  </a:lnTo>
                  <a:lnTo>
                    <a:pt x="1180" y="97"/>
                  </a:lnTo>
                  <a:lnTo>
                    <a:pt x="1170" y="100"/>
                  </a:lnTo>
                  <a:lnTo>
                    <a:pt x="898" y="178"/>
                  </a:lnTo>
                  <a:lnTo>
                    <a:pt x="898" y="178"/>
                  </a:lnTo>
                  <a:lnTo>
                    <a:pt x="887" y="179"/>
                  </a:lnTo>
                  <a:lnTo>
                    <a:pt x="865" y="183"/>
                  </a:lnTo>
                  <a:lnTo>
                    <a:pt x="853" y="183"/>
                  </a:lnTo>
                  <a:lnTo>
                    <a:pt x="842" y="183"/>
                  </a:lnTo>
                  <a:lnTo>
                    <a:pt x="836" y="179"/>
                  </a:lnTo>
                  <a:lnTo>
                    <a:pt x="834" y="178"/>
                  </a:lnTo>
                  <a:lnTo>
                    <a:pt x="834" y="175"/>
                  </a:lnTo>
                  <a:lnTo>
                    <a:pt x="834" y="132"/>
                  </a:lnTo>
                  <a:lnTo>
                    <a:pt x="27" y="132"/>
                  </a:lnTo>
                  <a:lnTo>
                    <a:pt x="27" y="132"/>
                  </a:lnTo>
                  <a:lnTo>
                    <a:pt x="23" y="132"/>
                  </a:lnTo>
                  <a:lnTo>
                    <a:pt x="14" y="130"/>
                  </a:lnTo>
                  <a:lnTo>
                    <a:pt x="8" y="130"/>
                  </a:lnTo>
                  <a:lnTo>
                    <a:pt x="4" y="127"/>
                  </a:lnTo>
                  <a:lnTo>
                    <a:pt x="0" y="12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4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21" y="49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834" y="47"/>
                  </a:lnTo>
                  <a:lnTo>
                    <a:pt x="834" y="4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9575801" y="285938"/>
              <a:ext cx="655638" cy="1220787"/>
            </a:xfrm>
            <a:custGeom>
              <a:avLst/>
              <a:gdLst>
                <a:gd name="T0" fmla="*/ 205 w 413"/>
                <a:gd name="T1" fmla="*/ 2 h 769"/>
                <a:gd name="T2" fmla="*/ 192 w 413"/>
                <a:gd name="T3" fmla="*/ 0 h 769"/>
                <a:gd name="T4" fmla="*/ 154 w 413"/>
                <a:gd name="T5" fmla="*/ 9 h 769"/>
                <a:gd name="T6" fmla="*/ 100 w 413"/>
                <a:gd name="T7" fmla="*/ 48 h 769"/>
                <a:gd name="T8" fmla="*/ 58 w 413"/>
                <a:gd name="T9" fmla="*/ 114 h 769"/>
                <a:gd name="T10" fmla="*/ 25 w 413"/>
                <a:gd name="T11" fmla="*/ 201 h 769"/>
                <a:gd name="T12" fmla="*/ 4 w 413"/>
                <a:gd name="T13" fmla="*/ 307 h 769"/>
                <a:gd name="T14" fmla="*/ 0 w 413"/>
                <a:gd name="T15" fmla="*/ 385 h 769"/>
                <a:gd name="T16" fmla="*/ 11 w 413"/>
                <a:gd name="T17" fmla="*/ 499 h 769"/>
                <a:gd name="T18" fmla="*/ 33 w 413"/>
                <a:gd name="T19" fmla="*/ 600 h 769"/>
                <a:gd name="T20" fmla="*/ 70 w 413"/>
                <a:gd name="T21" fmla="*/ 682 h 769"/>
                <a:gd name="T22" fmla="*/ 119 w 413"/>
                <a:gd name="T23" fmla="*/ 738 h 769"/>
                <a:gd name="T24" fmla="*/ 172 w 413"/>
                <a:gd name="T25" fmla="*/ 767 h 769"/>
                <a:gd name="T26" fmla="*/ 192 w 413"/>
                <a:gd name="T27" fmla="*/ 769 h 769"/>
                <a:gd name="T28" fmla="*/ 215 w 413"/>
                <a:gd name="T29" fmla="*/ 769 h 769"/>
                <a:gd name="T30" fmla="*/ 235 w 413"/>
                <a:gd name="T31" fmla="*/ 767 h 769"/>
                <a:gd name="T32" fmla="*/ 293 w 413"/>
                <a:gd name="T33" fmla="*/ 738 h 769"/>
                <a:gd name="T34" fmla="*/ 342 w 413"/>
                <a:gd name="T35" fmla="*/ 682 h 769"/>
                <a:gd name="T36" fmla="*/ 381 w 413"/>
                <a:gd name="T37" fmla="*/ 600 h 769"/>
                <a:gd name="T38" fmla="*/ 405 w 413"/>
                <a:gd name="T39" fmla="*/ 499 h 769"/>
                <a:gd name="T40" fmla="*/ 413 w 413"/>
                <a:gd name="T41" fmla="*/ 385 h 769"/>
                <a:gd name="T42" fmla="*/ 409 w 413"/>
                <a:gd name="T43" fmla="*/ 307 h 769"/>
                <a:gd name="T44" fmla="*/ 389 w 413"/>
                <a:gd name="T45" fmla="*/ 201 h 769"/>
                <a:gd name="T46" fmla="*/ 356 w 413"/>
                <a:gd name="T47" fmla="*/ 114 h 769"/>
                <a:gd name="T48" fmla="*/ 309 w 413"/>
                <a:gd name="T49" fmla="*/ 48 h 769"/>
                <a:gd name="T50" fmla="*/ 256 w 413"/>
                <a:gd name="T51" fmla="*/ 9 h 769"/>
                <a:gd name="T52" fmla="*/ 215 w 413"/>
                <a:gd name="T53" fmla="*/ 0 h 769"/>
                <a:gd name="T54" fmla="*/ 45 w 413"/>
                <a:gd name="T55" fmla="*/ 385 h 769"/>
                <a:gd name="T56" fmla="*/ 51 w 413"/>
                <a:gd name="T57" fmla="*/ 299 h 769"/>
                <a:gd name="T58" fmla="*/ 68 w 413"/>
                <a:gd name="T59" fmla="*/ 223 h 769"/>
                <a:gd name="T60" fmla="*/ 90 w 413"/>
                <a:gd name="T61" fmla="*/ 158 h 769"/>
                <a:gd name="T62" fmla="*/ 121 w 413"/>
                <a:gd name="T63" fmla="*/ 112 h 769"/>
                <a:gd name="T64" fmla="*/ 156 w 413"/>
                <a:gd name="T65" fmla="*/ 84 h 769"/>
                <a:gd name="T66" fmla="*/ 180 w 413"/>
                <a:gd name="T67" fmla="*/ 84 h 769"/>
                <a:gd name="T68" fmla="*/ 215 w 413"/>
                <a:gd name="T69" fmla="*/ 112 h 769"/>
                <a:gd name="T70" fmla="*/ 244 w 413"/>
                <a:gd name="T71" fmla="*/ 158 h 769"/>
                <a:gd name="T72" fmla="*/ 266 w 413"/>
                <a:gd name="T73" fmla="*/ 223 h 769"/>
                <a:gd name="T74" fmla="*/ 287 w 413"/>
                <a:gd name="T75" fmla="*/ 385 h 769"/>
                <a:gd name="T76" fmla="*/ 278 w 413"/>
                <a:gd name="T77" fmla="*/ 497 h 769"/>
                <a:gd name="T78" fmla="*/ 252 w 413"/>
                <a:gd name="T79" fmla="*/ 592 h 769"/>
                <a:gd name="T80" fmla="*/ 225 w 413"/>
                <a:gd name="T81" fmla="*/ 645 h 769"/>
                <a:gd name="T82" fmla="*/ 192 w 413"/>
                <a:gd name="T83" fmla="*/ 678 h 769"/>
                <a:gd name="T84" fmla="*/ 168 w 413"/>
                <a:gd name="T85" fmla="*/ 689 h 769"/>
                <a:gd name="T86" fmla="*/ 131 w 413"/>
                <a:gd name="T87" fmla="*/ 669 h 769"/>
                <a:gd name="T88" fmla="*/ 100 w 413"/>
                <a:gd name="T89" fmla="*/ 629 h 769"/>
                <a:gd name="T90" fmla="*/ 74 w 413"/>
                <a:gd name="T91" fmla="*/ 571 h 769"/>
                <a:gd name="T92" fmla="*/ 56 w 413"/>
                <a:gd name="T93" fmla="*/ 497 h 769"/>
                <a:gd name="T94" fmla="*/ 47 w 413"/>
                <a:gd name="T95" fmla="*/ 414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3" h="769">
                  <a:moveTo>
                    <a:pt x="215" y="0"/>
                  </a:moveTo>
                  <a:lnTo>
                    <a:pt x="215" y="0"/>
                  </a:lnTo>
                  <a:lnTo>
                    <a:pt x="205" y="2"/>
                  </a:lnTo>
                  <a:lnTo>
                    <a:pt x="205" y="2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2" y="2"/>
                  </a:lnTo>
                  <a:lnTo>
                    <a:pt x="172" y="3"/>
                  </a:lnTo>
                  <a:lnTo>
                    <a:pt x="154" y="9"/>
                  </a:lnTo>
                  <a:lnTo>
                    <a:pt x="135" y="18"/>
                  </a:lnTo>
                  <a:lnTo>
                    <a:pt x="119" y="31"/>
                  </a:lnTo>
                  <a:lnTo>
                    <a:pt x="100" y="48"/>
                  </a:lnTo>
                  <a:lnTo>
                    <a:pt x="86" y="66"/>
                  </a:lnTo>
                  <a:lnTo>
                    <a:pt x="70" y="89"/>
                  </a:lnTo>
                  <a:lnTo>
                    <a:pt x="58" y="114"/>
                  </a:lnTo>
                  <a:lnTo>
                    <a:pt x="45" y="141"/>
                  </a:lnTo>
                  <a:lnTo>
                    <a:pt x="33" y="170"/>
                  </a:lnTo>
                  <a:lnTo>
                    <a:pt x="25" y="201"/>
                  </a:lnTo>
                  <a:lnTo>
                    <a:pt x="17" y="235"/>
                  </a:lnTo>
                  <a:lnTo>
                    <a:pt x="11" y="270"/>
                  </a:lnTo>
                  <a:lnTo>
                    <a:pt x="4" y="307"/>
                  </a:lnTo>
                  <a:lnTo>
                    <a:pt x="2" y="345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2" y="424"/>
                  </a:lnTo>
                  <a:lnTo>
                    <a:pt x="4" y="462"/>
                  </a:lnTo>
                  <a:lnTo>
                    <a:pt x="11" y="499"/>
                  </a:lnTo>
                  <a:lnTo>
                    <a:pt x="17" y="534"/>
                  </a:lnTo>
                  <a:lnTo>
                    <a:pt x="25" y="568"/>
                  </a:lnTo>
                  <a:lnTo>
                    <a:pt x="33" y="600"/>
                  </a:lnTo>
                  <a:lnTo>
                    <a:pt x="45" y="629"/>
                  </a:lnTo>
                  <a:lnTo>
                    <a:pt x="58" y="657"/>
                  </a:lnTo>
                  <a:lnTo>
                    <a:pt x="70" y="682"/>
                  </a:lnTo>
                  <a:lnTo>
                    <a:pt x="86" y="703"/>
                  </a:lnTo>
                  <a:lnTo>
                    <a:pt x="100" y="723"/>
                  </a:lnTo>
                  <a:lnTo>
                    <a:pt x="119" y="738"/>
                  </a:lnTo>
                  <a:lnTo>
                    <a:pt x="135" y="752"/>
                  </a:lnTo>
                  <a:lnTo>
                    <a:pt x="154" y="761"/>
                  </a:lnTo>
                  <a:lnTo>
                    <a:pt x="172" y="767"/>
                  </a:lnTo>
                  <a:lnTo>
                    <a:pt x="182" y="769"/>
                  </a:lnTo>
                  <a:lnTo>
                    <a:pt x="192" y="769"/>
                  </a:lnTo>
                  <a:lnTo>
                    <a:pt x="192" y="769"/>
                  </a:lnTo>
                  <a:lnTo>
                    <a:pt x="205" y="769"/>
                  </a:lnTo>
                  <a:lnTo>
                    <a:pt x="205" y="769"/>
                  </a:lnTo>
                  <a:lnTo>
                    <a:pt x="215" y="769"/>
                  </a:lnTo>
                  <a:lnTo>
                    <a:pt x="215" y="769"/>
                  </a:lnTo>
                  <a:lnTo>
                    <a:pt x="225" y="769"/>
                  </a:lnTo>
                  <a:lnTo>
                    <a:pt x="235" y="767"/>
                  </a:lnTo>
                  <a:lnTo>
                    <a:pt x="256" y="761"/>
                  </a:lnTo>
                  <a:lnTo>
                    <a:pt x="274" y="752"/>
                  </a:lnTo>
                  <a:lnTo>
                    <a:pt x="293" y="738"/>
                  </a:lnTo>
                  <a:lnTo>
                    <a:pt x="309" y="723"/>
                  </a:lnTo>
                  <a:lnTo>
                    <a:pt x="325" y="703"/>
                  </a:lnTo>
                  <a:lnTo>
                    <a:pt x="342" y="682"/>
                  </a:lnTo>
                  <a:lnTo>
                    <a:pt x="356" y="657"/>
                  </a:lnTo>
                  <a:lnTo>
                    <a:pt x="368" y="629"/>
                  </a:lnTo>
                  <a:lnTo>
                    <a:pt x="381" y="600"/>
                  </a:lnTo>
                  <a:lnTo>
                    <a:pt x="389" y="568"/>
                  </a:lnTo>
                  <a:lnTo>
                    <a:pt x="399" y="534"/>
                  </a:lnTo>
                  <a:lnTo>
                    <a:pt x="405" y="499"/>
                  </a:lnTo>
                  <a:lnTo>
                    <a:pt x="409" y="462"/>
                  </a:lnTo>
                  <a:lnTo>
                    <a:pt x="413" y="424"/>
                  </a:lnTo>
                  <a:lnTo>
                    <a:pt x="413" y="385"/>
                  </a:lnTo>
                  <a:lnTo>
                    <a:pt x="413" y="385"/>
                  </a:lnTo>
                  <a:lnTo>
                    <a:pt x="413" y="345"/>
                  </a:lnTo>
                  <a:lnTo>
                    <a:pt x="409" y="307"/>
                  </a:lnTo>
                  <a:lnTo>
                    <a:pt x="405" y="270"/>
                  </a:lnTo>
                  <a:lnTo>
                    <a:pt x="399" y="235"/>
                  </a:lnTo>
                  <a:lnTo>
                    <a:pt x="389" y="201"/>
                  </a:lnTo>
                  <a:lnTo>
                    <a:pt x="381" y="170"/>
                  </a:lnTo>
                  <a:lnTo>
                    <a:pt x="368" y="141"/>
                  </a:lnTo>
                  <a:lnTo>
                    <a:pt x="356" y="114"/>
                  </a:lnTo>
                  <a:lnTo>
                    <a:pt x="342" y="89"/>
                  </a:lnTo>
                  <a:lnTo>
                    <a:pt x="325" y="66"/>
                  </a:lnTo>
                  <a:lnTo>
                    <a:pt x="309" y="48"/>
                  </a:lnTo>
                  <a:lnTo>
                    <a:pt x="293" y="31"/>
                  </a:lnTo>
                  <a:lnTo>
                    <a:pt x="274" y="18"/>
                  </a:lnTo>
                  <a:lnTo>
                    <a:pt x="256" y="9"/>
                  </a:lnTo>
                  <a:lnTo>
                    <a:pt x="235" y="3"/>
                  </a:lnTo>
                  <a:lnTo>
                    <a:pt x="225" y="2"/>
                  </a:lnTo>
                  <a:lnTo>
                    <a:pt x="215" y="0"/>
                  </a:lnTo>
                  <a:lnTo>
                    <a:pt x="215" y="0"/>
                  </a:lnTo>
                  <a:close/>
                  <a:moveTo>
                    <a:pt x="45" y="385"/>
                  </a:moveTo>
                  <a:lnTo>
                    <a:pt x="45" y="385"/>
                  </a:lnTo>
                  <a:lnTo>
                    <a:pt x="47" y="355"/>
                  </a:lnTo>
                  <a:lnTo>
                    <a:pt x="49" y="327"/>
                  </a:lnTo>
                  <a:lnTo>
                    <a:pt x="51" y="299"/>
                  </a:lnTo>
                  <a:lnTo>
                    <a:pt x="56" y="272"/>
                  </a:lnTo>
                  <a:lnTo>
                    <a:pt x="62" y="246"/>
                  </a:lnTo>
                  <a:lnTo>
                    <a:pt x="68" y="223"/>
                  </a:lnTo>
                  <a:lnTo>
                    <a:pt x="74" y="200"/>
                  </a:lnTo>
                  <a:lnTo>
                    <a:pt x="82" y="178"/>
                  </a:lnTo>
                  <a:lnTo>
                    <a:pt x="90" y="158"/>
                  </a:lnTo>
                  <a:lnTo>
                    <a:pt x="100" y="141"/>
                  </a:lnTo>
                  <a:lnTo>
                    <a:pt x="111" y="126"/>
                  </a:lnTo>
                  <a:lnTo>
                    <a:pt x="121" y="112"/>
                  </a:lnTo>
                  <a:lnTo>
                    <a:pt x="131" y="100"/>
                  </a:lnTo>
                  <a:lnTo>
                    <a:pt x="143" y="92"/>
                  </a:lnTo>
                  <a:lnTo>
                    <a:pt x="156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80" y="84"/>
                  </a:lnTo>
                  <a:lnTo>
                    <a:pt x="192" y="92"/>
                  </a:lnTo>
                  <a:lnTo>
                    <a:pt x="205" y="100"/>
                  </a:lnTo>
                  <a:lnTo>
                    <a:pt x="215" y="112"/>
                  </a:lnTo>
                  <a:lnTo>
                    <a:pt x="225" y="126"/>
                  </a:lnTo>
                  <a:lnTo>
                    <a:pt x="235" y="141"/>
                  </a:lnTo>
                  <a:lnTo>
                    <a:pt x="244" y="158"/>
                  </a:lnTo>
                  <a:lnTo>
                    <a:pt x="252" y="178"/>
                  </a:lnTo>
                  <a:lnTo>
                    <a:pt x="260" y="200"/>
                  </a:lnTo>
                  <a:lnTo>
                    <a:pt x="266" y="223"/>
                  </a:lnTo>
                  <a:lnTo>
                    <a:pt x="278" y="272"/>
                  </a:lnTo>
                  <a:lnTo>
                    <a:pt x="284" y="327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4" y="444"/>
                  </a:lnTo>
                  <a:lnTo>
                    <a:pt x="278" y="497"/>
                  </a:lnTo>
                  <a:lnTo>
                    <a:pt x="266" y="548"/>
                  </a:lnTo>
                  <a:lnTo>
                    <a:pt x="260" y="571"/>
                  </a:lnTo>
                  <a:lnTo>
                    <a:pt x="252" y="592"/>
                  </a:lnTo>
                  <a:lnTo>
                    <a:pt x="244" y="611"/>
                  </a:lnTo>
                  <a:lnTo>
                    <a:pt x="235" y="629"/>
                  </a:lnTo>
                  <a:lnTo>
                    <a:pt x="225" y="645"/>
                  </a:lnTo>
                  <a:lnTo>
                    <a:pt x="215" y="658"/>
                  </a:lnTo>
                  <a:lnTo>
                    <a:pt x="205" y="669"/>
                  </a:lnTo>
                  <a:lnTo>
                    <a:pt x="192" y="678"/>
                  </a:lnTo>
                  <a:lnTo>
                    <a:pt x="180" y="685"/>
                  </a:lnTo>
                  <a:lnTo>
                    <a:pt x="168" y="689"/>
                  </a:lnTo>
                  <a:lnTo>
                    <a:pt x="168" y="689"/>
                  </a:lnTo>
                  <a:lnTo>
                    <a:pt x="156" y="685"/>
                  </a:lnTo>
                  <a:lnTo>
                    <a:pt x="143" y="678"/>
                  </a:lnTo>
                  <a:lnTo>
                    <a:pt x="131" y="669"/>
                  </a:lnTo>
                  <a:lnTo>
                    <a:pt x="121" y="658"/>
                  </a:lnTo>
                  <a:lnTo>
                    <a:pt x="111" y="645"/>
                  </a:lnTo>
                  <a:lnTo>
                    <a:pt x="100" y="629"/>
                  </a:lnTo>
                  <a:lnTo>
                    <a:pt x="90" y="611"/>
                  </a:lnTo>
                  <a:lnTo>
                    <a:pt x="82" y="592"/>
                  </a:lnTo>
                  <a:lnTo>
                    <a:pt x="74" y="571"/>
                  </a:lnTo>
                  <a:lnTo>
                    <a:pt x="68" y="548"/>
                  </a:lnTo>
                  <a:lnTo>
                    <a:pt x="62" y="523"/>
                  </a:lnTo>
                  <a:lnTo>
                    <a:pt x="56" y="497"/>
                  </a:lnTo>
                  <a:lnTo>
                    <a:pt x="51" y="471"/>
                  </a:lnTo>
                  <a:lnTo>
                    <a:pt x="49" y="444"/>
                  </a:lnTo>
                  <a:lnTo>
                    <a:pt x="47" y="414"/>
                  </a:lnTo>
                  <a:lnTo>
                    <a:pt x="45" y="385"/>
                  </a:lnTo>
                  <a:lnTo>
                    <a:pt x="45" y="38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9053513" y="908206"/>
              <a:ext cx="795651" cy="0"/>
            </a:xfrm>
            <a:prstGeom prst="line">
              <a:avLst/>
            </a:prstGeom>
            <a:ln w="149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8" cy="4224280"/>
          </a:xfrm>
          <a:prstGeom prst="rect">
            <a:avLst/>
          </a:prstGeom>
        </p:spPr>
        <p:txBody>
          <a:bodyPr lIns="121760" tIns="60880" rIns="121760" bIns="60880">
            <a:noAutofit/>
          </a:bodyPr>
          <a:lstStyle>
            <a:lvl1pPr marL="374169" indent="-298085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487" indent="-287504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5702" indent="-22831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3437" indent="-22831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1754" indent="-22408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12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65" tIns="60883" rIns="121765" bIns="608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288" y="-3425"/>
            <a:ext cx="12200575" cy="6864857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660" y="2191512"/>
            <a:ext cx="11680680" cy="2474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1782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0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733" tIns="60867" rIns="121733" bIns="60867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Bottom title_photo an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7"/>
          <p:cNvSpPr>
            <a:spLocks noChangeArrowheads="1"/>
          </p:cNvSpPr>
          <p:nvPr/>
        </p:nvSpPr>
        <p:spPr bwMode="ltGray">
          <a:xfrm>
            <a:off x="11448285" y="6250107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43" tIns="54719" rIns="109443" bIns="54719" anchor="b">
            <a:spAutoFit/>
          </a:bodyPr>
          <a:lstStyle/>
          <a:p>
            <a:pPr algn="r" defTabSz="108531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31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ltGray">
          <a:xfrm>
            <a:off x="11448285" y="6250107"/>
            <a:ext cx="393551" cy="2797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109443" tIns="54719" rIns="109443" bIns="54719" anchor="b">
            <a:spAutoFit/>
          </a:bodyPr>
          <a:lstStyle/>
          <a:p>
            <a:pPr algn="r" defTabSz="108531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11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108531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71387" y="1559096"/>
            <a:ext cx="5353556" cy="4295015"/>
          </a:xfrm>
          <a:prstGeom prst="rect">
            <a:avLst/>
          </a:prstGeom>
        </p:spPr>
        <p:txBody>
          <a:bodyPr vert="horz" lIns="162465" tIns="81231" rIns="162465" bIns="81231">
            <a:noAutofit/>
          </a:bodyPr>
          <a:lstStyle>
            <a:lvl1pPr marL="0" indent="0" algn="ctr">
              <a:buNone/>
              <a:defRPr sz="36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62465" tIns="81231" rIns="162465" bIns="81231" anchor="ctr" anchorCtr="0">
            <a:noAutofit/>
          </a:bodyPr>
          <a:lstStyle>
            <a:lvl1pPr marL="0" indent="0">
              <a:buNone/>
              <a:defRPr sz="43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349253" y="406404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44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ltGray">
          <a:xfrm>
            <a:off x="389413" y="6255943"/>
            <a:ext cx="4560687" cy="2797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9443" tIns="54719" rIns="109443" bIns="54719" anchor="b" anchorCtr="0">
            <a:spAutoFit/>
          </a:bodyPr>
          <a:lstStyle/>
          <a:p>
            <a:pPr defTabSz="1085318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11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0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7"/>
          <p:cNvSpPr>
            <a:spLocks noChangeArrowheads="1"/>
          </p:cNvSpPr>
          <p:nvPr userDrawn="1"/>
        </p:nvSpPr>
        <p:spPr bwMode="ltGray">
          <a:xfrm>
            <a:off x="11547733" y="6323870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ltGray">
          <a:xfrm>
            <a:off x="11547733" y="6323870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5" tIns="41062" rIns="82115" bIns="41062" anchor="b">
            <a:spAutoFit/>
          </a:bodyPr>
          <a:lstStyle/>
          <a:p>
            <a:pPr algn="r" defTabSz="81430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pPr algn="r" defTabSz="8143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20" name="Rectangle 4"/>
          <p:cNvSpPr>
            <a:spLocks noChangeArrowheads="1"/>
          </p:cNvSpPr>
          <p:nvPr userDrawn="1"/>
        </p:nvSpPr>
        <p:spPr bwMode="ltGray">
          <a:xfrm>
            <a:off x="389401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62" rIns="82115" bIns="41062" anchor="b" anchorCtr="0">
            <a:spAutoFit/>
          </a:bodyPr>
          <a:lstStyle/>
          <a:p>
            <a:pPr defTabSz="81430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+mn-ea"/>
              <a:cs typeface="CiscoSans Thin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605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/>
    </p:bld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733" tIns="60867" rIns="121733" bIns="608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416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0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37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733" tIns="60867" rIns="121733" bIns="60867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799" indent="0">
              <a:buNone/>
              <a:defRPr/>
            </a:lvl2pPr>
            <a:lvl3pPr marL="514789" indent="0">
              <a:buNone/>
              <a:defRPr/>
            </a:lvl3pPr>
            <a:lvl4pPr marL="727603" indent="0">
              <a:buNone/>
              <a:defRPr/>
            </a:lvl4pPr>
            <a:lvl5pPr marL="94037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09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4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64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72" indent="-14795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42" y="487146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marL="8333" indent="-8333" defTabSz="1217416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6331712" y="1600727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48"/>
            <a:ext cx="5791200" cy="1777222"/>
          </a:xfrm>
          <a:prstGeom prst="rect">
            <a:avLst/>
          </a:prstGeom>
        </p:spPr>
        <p:txBody>
          <a:bodyPr wrap="square" lIns="121733" tIns="60867" rIns="121733" bIns="60867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7416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7416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733" tIns="60867" rIns="121733" bIns="60867" rtlCol="0">
            <a:spAutoFit/>
          </a:bodyPr>
          <a:lstStyle/>
          <a:p>
            <a:pPr defTabSz="1217416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8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121888" tIns="60944" rIns="121888" bIns="60944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4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lIns="121888" tIns="60944" rIns="121888" bIns="60944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fld id="{8395343F-C752-6742-A1B8-627FC1337A02}" type="datetimeFigureOut">
              <a:rPr lang="en-US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t>1/18/2017</a:t>
            </a:fld>
            <a:endParaRPr lang="en-US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lIns="121888" tIns="60944" rIns="121888" bIns="60944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1" y="6356352"/>
            <a:ext cx="2844800" cy="365125"/>
          </a:xfrm>
          <a:prstGeom prst="rect">
            <a:avLst/>
          </a:prstGeom>
        </p:spPr>
        <p:txBody>
          <a:bodyPr lIns="121888" tIns="60944" rIns="121888" bIns="60944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fld id="{A2265518-66E0-0E4E-85FE-514D1096AD93}" type="slidenum">
              <a:rPr lang="en-US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pPr defTabSz="60947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6723135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43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17676" y="6327964"/>
            <a:ext cx="1016526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06" y="6323890"/>
            <a:ext cx="294120" cy="2060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31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3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76" tIns="40987" rIns="81976" bIns="40987" anchor="b" anchorCtr="0">
            <a:spAutoFit/>
          </a:bodyPr>
          <a:lstStyle/>
          <a:p>
            <a:pPr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0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04852" y="1168479"/>
            <a:ext cx="11013016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283054" indent="-522934">
              <a:lnSpc>
                <a:spcPts val="5919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79895224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-green thank you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 userDrawn="1"/>
        </p:nvSpPr>
        <p:spPr>
          <a:xfrm>
            <a:off x="834844" y="3066693"/>
            <a:ext cx="3289789" cy="861775"/>
          </a:xfrm>
          <a:prstGeom prst="rect">
            <a:avLst/>
          </a:prstGeom>
          <a:noFill/>
        </p:spPr>
        <p:txBody>
          <a:bodyPr wrap="none" lIns="121898" tIns="60949" rIns="121898" bIns="60949" rtlCol="0">
            <a:spAutoFit/>
          </a:bodyPr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Thank you.</a:t>
            </a:r>
            <a:endParaRPr lang="en-US" sz="4800" dirty="0">
              <a:solidFill>
                <a:srgbClr val="FFFFFF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5" name="Rectangle 64"/>
          <p:cNvSpPr>
            <a:spLocks noChangeArrowheads="1"/>
          </p:cNvSpPr>
          <p:nvPr userDrawn="1"/>
        </p:nvSpPr>
        <p:spPr bwMode="black">
          <a:xfrm>
            <a:off x="8381656" y="3801574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6" name="Freeform 65"/>
          <p:cNvSpPr>
            <a:spLocks/>
          </p:cNvSpPr>
          <p:nvPr userDrawn="1"/>
        </p:nvSpPr>
        <p:spPr bwMode="black">
          <a:xfrm>
            <a:off x="9287460" y="3786910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7" name="Freeform 66"/>
          <p:cNvSpPr>
            <a:spLocks/>
          </p:cNvSpPr>
          <p:nvPr userDrawn="1"/>
        </p:nvSpPr>
        <p:spPr bwMode="black">
          <a:xfrm>
            <a:off x="7730780" y="3786910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8" name="Freeform 67"/>
          <p:cNvSpPr>
            <a:spLocks noEditPoints="1"/>
          </p:cNvSpPr>
          <p:nvPr userDrawn="1"/>
        </p:nvSpPr>
        <p:spPr bwMode="black">
          <a:xfrm>
            <a:off x="9900368" y="3786910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9" name="Freeform 68"/>
          <p:cNvSpPr>
            <a:spLocks/>
          </p:cNvSpPr>
          <p:nvPr userDrawn="1"/>
        </p:nvSpPr>
        <p:spPr bwMode="black">
          <a:xfrm>
            <a:off x="8737837" y="3786910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0" name="Freeform 69"/>
          <p:cNvSpPr>
            <a:spLocks/>
          </p:cNvSpPr>
          <p:nvPr userDrawn="1"/>
        </p:nvSpPr>
        <p:spPr bwMode="black">
          <a:xfrm>
            <a:off x="7421621" y="2966680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1" name="Freeform 70"/>
          <p:cNvSpPr>
            <a:spLocks/>
          </p:cNvSpPr>
          <p:nvPr userDrawn="1"/>
        </p:nvSpPr>
        <p:spPr bwMode="black">
          <a:xfrm>
            <a:off x="7832033" y="2763677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2" name="Freeform 71"/>
          <p:cNvSpPr>
            <a:spLocks/>
          </p:cNvSpPr>
          <p:nvPr userDrawn="1"/>
        </p:nvSpPr>
        <p:spPr bwMode="black">
          <a:xfrm>
            <a:off x="8235219" y="2484533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3" name="Freeform 72"/>
          <p:cNvSpPr>
            <a:spLocks/>
          </p:cNvSpPr>
          <p:nvPr userDrawn="1"/>
        </p:nvSpPr>
        <p:spPr bwMode="black">
          <a:xfrm>
            <a:off x="8645631" y="2763669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4" name="Freeform 73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5" name="Freeform 74"/>
          <p:cNvSpPr>
            <a:spLocks/>
          </p:cNvSpPr>
          <p:nvPr userDrawn="1"/>
        </p:nvSpPr>
        <p:spPr bwMode="black">
          <a:xfrm>
            <a:off x="9457422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6" name="Freeform 75"/>
          <p:cNvSpPr>
            <a:spLocks/>
          </p:cNvSpPr>
          <p:nvPr userDrawn="1"/>
        </p:nvSpPr>
        <p:spPr bwMode="black">
          <a:xfrm>
            <a:off x="9867838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7" name="Freeform 76"/>
          <p:cNvSpPr>
            <a:spLocks/>
          </p:cNvSpPr>
          <p:nvPr userDrawn="1"/>
        </p:nvSpPr>
        <p:spPr bwMode="black">
          <a:xfrm>
            <a:off x="10271017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8" name="Freeform 77"/>
          <p:cNvSpPr>
            <a:spLocks/>
          </p:cNvSpPr>
          <p:nvPr userDrawn="1"/>
        </p:nvSpPr>
        <p:spPr bwMode="black">
          <a:xfrm>
            <a:off x="10681433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898" tIns="60949" rIns="121898" bIns="60949"/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81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/>
      <p:bldP spid="67" grpId="0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 animBg="1"/>
      <p:bldP spid="76" grpId="1" animBg="1"/>
      <p:bldP spid="77" grpId="0" animBg="1"/>
      <p:bldP spid="77" grpId="1" animBg="1"/>
      <p:bldP spid="78" grpId="0" animBg="1"/>
      <p:bldP spid="78" grpId="1" animBg="1"/>
    </p:bldLst>
  </p:timing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733" tIns="60867" rIns="121733" bIns="60867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733" tIns="60867" rIns="121733" bIns="608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416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0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37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733" tIns="60867" rIns="121733" bIns="60867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799" indent="0">
              <a:buNone/>
              <a:defRPr/>
            </a:lvl2pPr>
            <a:lvl3pPr marL="514789" indent="0">
              <a:buNone/>
              <a:defRPr/>
            </a:lvl3pPr>
            <a:lvl4pPr marL="727603" indent="0">
              <a:buNone/>
              <a:defRPr/>
            </a:lvl4pPr>
            <a:lvl5pPr marL="94037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09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4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/>
          <p:nvPr userDrawn="1"/>
        </p:nvGrpSpPr>
        <p:grpSpPr>
          <a:xfrm>
            <a:off x="10" y="1"/>
            <a:ext cx="12192001" cy="6688763"/>
            <a:chOff x="0" y="0"/>
            <a:chExt cx="12188826" cy="6688762"/>
          </a:xfrm>
        </p:grpSpPr>
        <p:pic>
          <p:nvPicPr>
            <p:cNvPr id="12" name="Picture 2" descr="\\.PSF\.Mac\Volumes\FLASH DRIVE\Chambers_Slide_Bkgnd_Fix1.jpg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0" y="0"/>
              <a:ext cx="12188826" cy="6688762"/>
            </a:xfrm>
            <a:prstGeom prst="rect">
              <a:avLst/>
            </a:prstGeom>
            <a:noFill/>
          </p:spPr>
        </p:pic>
        <p:sp>
          <p:nvSpPr>
            <p:cNvPr id="15" name="Rectangle 14"/>
            <p:cNvSpPr/>
            <p:nvPr userDrawn="1"/>
          </p:nvSpPr>
          <p:spPr>
            <a:xfrm>
              <a:off x="1" y="1"/>
              <a:ext cx="12188824" cy="6678202"/>
            </a:xfrm>
            <a:prstGeom prst="rect">
              <a:avLst/>
            </a:prstGeom>
            <a:gradFill flip="none" rotWithShape="1">
              <a:gsLst>
                <a:gs pos="0">
                  <a:schemeClr val="tx2">
                    <a:shade val="30000"/>
                    <a:satMod val="115000"/>
                    <a:alpha val="0"/>
                  </a:schemeClr>
                </a:gs>
                <a:gs pos="50000">
                  <a:schemeClr val="tx2">
                    <a:shade val="67500"/>
                    <a:satMod val="115000"/>
                    <a:alpha val="60000"/>
                  </a:schemeClr>
                </a:gs>
                <a:gs pos="100000">
                  <a:schemeClr val="tx2">
                    <a:shade val="100000"/>
                    <a:satMod val="115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71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 smtClean="0">
                <a:solidFill>
                  <a:srgbClr val="FFFFFF"/>
                </a:solidFill>
                <a:latin typeface="CiscoSansTT Light"/>
              </a:endParaRPr>
            </a:p>
          </p:txBody>
        </p:sp>
      </p:grp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93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47766" y="6669846"/>
            <a:ext cx="294071" cy="206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9" tIns="41054" rIns="82099" bIns="41054" anchor="b">
            <a:spAutoFit/>
          </a:bodyPr>
          <a:lstStyle/>
          <a:p>
            <a:pPr algn="r" defTabSz="814165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72848"/>
                </a:solidFill>
                <a:latin typeface="CiscoSansTT Light"/>
                <a:ea typeface="+mn-ea"/>
                <a:cs typeface="CiscoSans Thin"/>
              </a:rPr>
              <a:pPr algn="r" defTabSz="81416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72848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09" y="6675681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9" tIns="41054" rIns="82099" bIns="41054" anchor="b" anchorCtr="0">
            <a:spAutoFit/>
          </a:bodyPr>
          <a:lstStyle/>
          <a:p>
            <a:pPr defTabSz="814165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10924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64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72" indent="-14795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42" y="487146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marL="8333" indent="-8333" defTabSz="1217416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6331712" y="1600727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48"/>
            <a:ext cx="5791200" cy="1777222"/>
          </a:xfrm>
          <a:prstGeom prst="rect">
            <a:avLst/>
          </a:prstGeom>
        </p:spPr>
        <p:txBody>
          <a:bodyPr wrap="square" lIns="121733" tIns="60867" rIns="121733" bIns="60867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7416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7416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733" tIns="60867" rIns="121733" bIns="60867" rtlCol="0">
            <a:spAutoFit/>
          </a:bodyPr>
          <a:lstStyle/>
          <a:p>
            <a:pPr defTabSz="1217416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43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17676" y="6327964"/>
            <a:ext cx="1016526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06" y="6323890"/>
            <a:ext cx="294120" cy="2060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31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3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76" tIns="40987" rIns="81976" bIns="40987" anchor="b" anchorCtr="0">
            <a:spAutoFit/>
          </a:bodyPr>
          <a:lstStyle/>
          <a:p>
            <a:pPr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0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3909" y="304800"/>
            <a:ext cx="6762751" cy="1586848"/>
          </a:xfrm>
          <a:effectLst/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0" i="0">
                <a:solidFill>
                  <a:schemeClr val="tx1"/>
                </a:solidFill>
                <a:effectLst/>
                <a:latin typeface="CiscoSansTT Heavy" panose="020B0903020201020303" pitchFamily="34" charset="0"/>
                <a:cs typeface="CiscoSansTT Heavy" panose="020B09030202010203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2082151"/>
            <a:ext cx="6648451" cy="1346852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tx1">
                    <a:lumMod val="65000"/>
                  </a:schemeClr>
                </a:solidFill>
                <a:latin typeface="+mj-lt"/>
                <a:cs typeface="CiscoSansTT Thin"/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209551" y="6667503"/>
            <a:ext cx="229362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11111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883" y="6176973"/>
            <a:ext cx="878983" cy="33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7044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608" userDrawn="1">
          <p15:clr>
            <a:srgbClr val="FBAE40"/>
          </p15:clr>
        </p15:guide>
        <p15:guide id="2" pos="456" userDrawn="1">
          <p15:clr>
            <a:srgbClr val="FBAE40"/>
          </p15:clr>
        </p15:guide>
      </p15:sldGuideLst>
    </p:ext>
  </p:extLs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733" tIns="60867" rIns="121733" bIns="60867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733" tIns="60867" rIns="121733" bIns="60867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11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733" tIns="60867" rIns="121733" bIns="6086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416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3910" y="304801"/>
            <a:ext cx="10239375" cy="2257424"/>
          </a:xfrm>
          <a:effectLst/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4400" b="0" i="0">
                <a:solidFill>
                  <a:schemeClr val="tx1"/>
                </a:solidFill>
                <a:effectLst/>
                <a:latin typeface="CiscoSansTT Heavy" panose="020B0903020201020303" pitchFamily="34" charset="0"/>
                <a:cs typeface="CiscoSansTT Heavy" panose="020B09030202010203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2752725"/>
            <a:ext cx="8377136" cy="3419475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tx1">
                    <a:lumMod val="65000"/>
                  </a:schemeClr>
                </a:solidFill>
                <a:latin typeface="+mj-lt"/>
                <a:cs typeface="CiscoSansTT Thin"/>
              </a:defRPr>
            </a:lvl1pPr>
            <a:lvl2pPr marL="457119" indent="0" algn="ctr">
              <a:buNone/>
              <a:defRPr sz="2000"/>
            </a:lvl2pPr>
            <a:lvl3pPr marL="914241" indent="0" algn="ctr">
              <a:buNone/>
              <a:defRPr sz="1900"/>
            </a:lvl3pPr>
            <a:lvl4pPr marL="1371362" indent="0" algn="ctr">
              <a:buNone/>
              <a:defRPr sz="1600"/>
            </a:lvl4pPr>
            <a:lvl5pPr marL="1828482" indent="0" algn="ctr">
              <a:buNone/>
              <a:defRPr sz="1600"/>
            </a:lvl5pPr>
            <a:lvl6pPr marL="2285606" indent="0" algn="ctr">
              <a:buNone/>
              <a:defRPr sz="1600"/>
            </a:lvl6pPr>
            <a:lvl7pPr marL="2742722" indent="0" algn="ctr">
              <a:buNone/>
              <a:defRPr sz="1600"/>
            </a:lvl7pPr>
            <a:lvl8pPr marL="3199840" indent="0" algn="ctr">
              <a:buNone/>
              <a:defRPr sz="1600"/>
            </a:lvl8pPr>
            <a:lvl9pPr marL="3656959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209551" y="6667503"/>
            <a:ext cx="229362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FFFFFF">
                    <a:lumMod val="6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FFFFFF">
                  <a:lumMod val="6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50170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pos="456" userDrawn="1">
          <p15:clr>
            <a:srgbClr val="FBAE40"/>
          </p15:clr>
        </p15:guide>
      </p15:sldGuideLst>
    </p:ext>
  </p:extLs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0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37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33" tIns="60867" rIns="121733" bIns="60867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733" tIns="60867" rIns="121733" bIns="60867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799" indent="0">
              <a:buNone/>
              <a:defRPr/>
            </a:lvl2pPr>
            <a:lvl3pPr marL="514789" indent="0">
              <a:buNone/>
              <a:defRPr/>
            </a:lvl3pPr>
            <a:lvl4pPr marL="727603" indent="0">
              <a:buNone/>
              <a:defRPr/>
            </a:lvl4pPr>
            <a:lvl5pPr marL="94037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09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4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64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4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72" indent="-14795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42" y="487146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marL="8333" indent="-8333" defTabSz="1217416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6331712" y="1600727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48"/>
            <a:ext cx="5791200" cy="1777222"/>
          </a:xfrm>
          <a:prstGeom prst="rect">
            <a:avLst/>
          </a:prstGeom>
        </p:spPr>
        <p:txBody>
          <a:bodyPr wrap="square" lIns="121733" tIns="60867" rIns="121733" bIns="60867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7416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7416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733" tIns="60867" rIns="121733" bIns="60867" rtlCol="0">
            <a:spAutoFit/>
          </a:bodyPr>
          <a:lstStyle/>
          <a:p>
            <a:pPr defTabSz="1217416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82" y="598492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3" y="315749"/>
            <a:ext cx="11087100" cy="952499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42" indent="-342842">
              <a:buClr>
                <a:srgbClr val="30A3FF"/>
              </a:buClr>
              <a:defRPr/>
            </a:lvl1pPr>
            <a:lvl2pPr marL="685686" indent="-228562"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1043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43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416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17676" y="6327964"/>
            <a:ext cx="1016526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06" y="6323890"/>
            <a:ext cx="294120" cy="2060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76" tIns="40987" rIns="81976" bIns="40987" anchor="b">
            <a:spAutoFit/>
          </a:bodyPr>
          <a:lstStyle/>
          <a:p>
            <a:pPr algn="r" defTabSz="81313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313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3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76" tIns="40987" rIns="81976" bIns="40987" anchor="b" anchorCtr="0">
            <a:spAutoFit/>
          </a:bodyPr>
          <a:lstStyle/>
          <a:p>
            <a:pPr defTabSz="81313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27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4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27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4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67" tIns="60933" rIns="121867" bIns="60933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867" tIns="60933" rIns="121867" bIns="60933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85"/>
            <a:ext cx="3499104" cy="4957233"/>
          </a:xfrm>
        </p:spPr>
        <p:txBody>
          <a:bodyPr lIns="121867" tIns="60933" rIns="121867" bIns="6093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867" tIns="60933" rIns="121867" bIns="6093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12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3" y="315749"/>
            <a:ext cx="11087100" cy="952499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42" indent="-342842">
              <a:buClr>
                <a:srgbClr val="30A3FF"/>
              </a:buClr>
              <a:defRPr/>
            </a:lvl1pPr>
            <a:lvl2pPr marL="685686" indent="-228562"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0819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12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512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867" tIns="60933" rIns="121867" bIns="6093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683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0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04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867" tIns="60933" rIns="121867" bIns="60933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867" tIns="60933" rIns="121867" bIns="60933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867" tIns="60933" rIns="121867" bIns="60933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7066" indent="0">
              <a:buNone/>
              <a:defRPr/>
            </a:lvl2pPr>
            <a:lvl3pPr marL="515322" indent="0">
              <a:buNone/>
              <a:defRPr/>
            </a:lvl3pPr>
            <a:lvl4pPr marL="728353" indent="0">
              <a:buNone/>
              <a:defRPr/>
            </a:lvl4pPr>
            <a:lvl5pPr marL="94137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6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6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67" tIns="30783" rIns="61567" bIns="30783" anchor="b" anchorCtr="1">
            <a:spAutoFit/>
          </a:bodyPr>
          <a:lstStyle/>
          <a:p>
            <a:pPr defTabSz="610532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18" y="6598668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7" tIns="30783" rIns="61567" bIns="30783" anchor="b">
            <a:spAutoFit/>
          </a:bodyPr>
          <a:lstStyle/>
          <a:p>
            <a:pPr defTabSz="610532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APP-9004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77" y="6603824"/>
            <a:ext cx="759549" cy="20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67" tIns="30783" rIns="61567" bIns="30783" anchor="b" anchorCtr="1">
            <a:spAutoFit/>
          </a:bodyPr>
          <a:lstStyle/>
          <a:p>
            <a:pPr defTabSz="610532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35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31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11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35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11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35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3" y="315749"/>
            <a:ext cx="11087100" cy="952499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447801"/>
            <a:ext cx="11094720" cy="4267200"/>
          </a:xfrm>
        </p:spPr>
        <p:txBody>
          <a:bodyPr/>
          <a:lstStyle>
            <a:lvl1pPr marL="342842" indent="-342842">
              <a:buClr>
                <a:srgbClr val="30A3FF"/>
              </a:buClr>
              <a:defRPr/>
            </a:lvl1pPr>
            <a:lvl2pPr marL="685686" indent="-228562"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5945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222" indent="-148105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09" y="487112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67" tIns="60933" rIns="121867" bIns="60933" numCol="1" anchor="ctr" anchorCtr="0" compatLnSpc="1">
            <a:prstTxWarp prst="textNoShape">
              <a:avLst/>
            </a:prstTxWarp>
          </a:bodyPr>
          <a:lstStyle/>
          <a:p>
            <a:pPr marL="8333" indent="-8333" defTabSz="1218683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1712" y="1600694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20"/>
            <a:ext cx="5791200" cy="1777355"/>
          </a:xfrm>
          <a:prstGeom prst="rect">
            <a:avLst/>
          </a:prstGeom>
        </p:spPr>
        <p:txBody>
          <a:bodyPr wrap="square" lIns="121867" tIns="60933" rIns="121867" bIns="60933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8683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8683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867" tIns="60933" rIns="121867" bIns="60933" rtlCol="0">
            <a:spAutoFit/>
          </a:bodyPr>
          <a:lstStyle/>
          <a:p>
            <a:pPr defTabSz="1218683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46749" y="598459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35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46749" y="598459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35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09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28600"/>
            <a:ext cx="10972801" cy="838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283" y="432215"/>
            <a:ext cx="11441230" cy="838200"/>
          </a:xfrm>
        </p:spPr>
        <p:txBody>
          <a:bodyPr anchor="t" anchorCtr="0"/>
          <a:lstStyle>
            <a:lvl1pPr algn="l" defTabSz="91409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600" b="0" kern="1200" spc="0" baseline="0" dirty="0">
                <a:gradFill>
                  <a:gsLst>
                    <a:gs pos="0">
                      <a:schemeClr val="tx1"/>
                    </a:gs>
                    <a:gs pos="44000">
                      <a:srgbClr val="01BBBB"/>
                    </a:gs>
                    <a:gs pos="100000">
                      <a:schemeClr val="accent4"/>
                    </a:gs>
                  </a:gsLst>
                  <a:lin ang="48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0976" y="1344168"/>
            <a:ext cx="11427883" cy="4965192"/>
          </a:xfrm>
          <a:prstGeom prst="rect">
            <a:avLst/>
          </a:prstGeom>
        </p:spPr>
        <p:txBody>
          <a:bodyPr lIns="121861" tIns="60931" rIns="121861" bIns="60931">
            <a:noAutofit/>
          </a:bodyPr>
          <a:lstStyle>
            <a:lvl1pPr>
              <a:lnSpc>
                <a:spcPct val="95000"/>
              </a:lnSpc>
              <a:spcBef>
                <a:spcPts val="1480"/>
              </a:spcBef>
              <a:defRPr sz="2300">
                <a:solidFill>
                  <a:srgbClr val="435153"/>
                </a:solidFill>
                <a:latin typeface="+mj-lt"/>
              </a:defRPr>
            </a:lvl1pPr>
            <a:lvl2pPr>
              <a:lnSpc>
                <a:spcPct val="95000"/>
              </a:lnSpc>
              <a:spcBef>
                <a:spcPts val="600"/>
              </a:spcBef>
              <a:defRPr>
                <a:solidFill>
                  <a:srgbClr val="435153"/>
                </a:solidFill>
                <a:latin typeface="+mj-lt"/>
              </a:defRPr>
            </a:lvl2pPr>
            <a:lvl3pPr>
              <a:defRPr>
                <a:solidFill>
                  <a:srgbClr val="435153"/>
                </a:solidFill>
                <a:latin typeface="+mj-lt"/>
              </a:defRPr>
            </a:lvl3pPr>
            <a:lvl4pPr>
              <a:defRPr>
                <a:solidFill>
                  <a:srgbClr val="435153"/>
                </a:solidFill>
                <a:latin typeface="+mj-lt"/>
              </a:defRPr>
            </a:lvl4pPr>
            <a:lvl5pPr>
              <a:defRPr>
                <a:solidFill>
                  <a:srgbClr val="435153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3" y="1330326"/>
            <a:ext cx="12191999" cy="5037307"/>
          </a:xfrm>
          <a:prstGeom prst="rect">
            <a:avLst/>
          </a:prstGeom>
          <a:gradFill>
            <a:gsLst>
              <a:gs pos="61000">
                <a:schemeClr val="bg1"/>
              </a:gs>
              <a:gs pos="0">
                <a:srgbClr val="EDF4FD"/>
              </a:gs>
            </a:gsLst>
            <a:lin ang="5400000" scaled="0"/>
          </a:gradFill>
          <a:ln>
            <a:noFill/>
          </a:ln>
          <a:effectLst>
            <a:innerShdw blurRad="63500" dist="12700" dir="162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8" tIns="45705" rIns="91408" bIns="45705" rtlCol="0" anchor="ctr"/>
          <a:lstStyle/>
          <a:p>
            <a:pPr algn="ctr" defTabSz="609240" fontAlgn="auto">
              <a:spcBef>
                <a:spcPts val="0"/>
              </a:spcBef>
              <a:spcAft>
                <a:spcPts val="0"/>
              </a:spcAft>
            </a:pPr>
            <a:endParaRPr lang="en-US" sz="2400" dirty="0" smtClean="0">
              <a:solidFill>
                <a:srgbClr val="FFFFFF"/>
              </a:solidFill>
              <a:latin typeface="CiscoSansTT Light"/>
            </a:endParaRPr>
          </a:p>
        </p:txBody>
      </p:sp>
      <p:grpSp>
        <p:nvGrpSpPr>
          <p:cNvPr id="6" name="Group 67"/>
          <p:cNvGrpSpPr/>
          <p:nvPr userDrawn="1"/>
        </p:nvGrpSpPr>
        <p:grpSpPr>
          <a:xfrm>
            <a:off x="9247020" y="6579581"/>
            <a:ext cx="385202" cy="205309"/>
            <a:chOff x="609606" y="528528"/>
            <a:chExt cx="1444732" cy="763787"/>
          </a:xfrm>
          <a:gradFill flip="none" rotWithShape="1">
            <a:gsLst>
              <a:gs pos="11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2700000" scaled="1"/>
            <a:tileRect/>
          </a:gradFill>
        </p:grpSpPr>
        <p:sp>
          <p:nvSpPr>
            <p:cNvPr id="7" name="Rectangle 6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black">
            <a:xfrm>
              <a:off x="954502" y="528528"/>
              <a:ext cx="62081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924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ExtraLight"/>
                <a:ea typeface="Apple LiGothic Medium"/>
                <a:cs typeface="Apple LiGothic Medium"/>
              </a:endParaRPr>
            </a:p>
          </p:txBody>
        </p:sp>
      </p:grpSp>
      <p:cxnSp>
        <p:nvCxnSpPr>
          <p:cNvPr id="22" name="Straight Connector 21"/>
          <p:cNvCxnSpPr/>
          <p:nvPr userDrawn="1"/>
        </p:nvCxnSpPr>
        <p:spPr>
          <a:xfrm>
            <a:off x="9733374" y="6579588"/>
            <a:ext cx="0" cy="233183"/>
          </a:xfrm>
          <a:prstGeom prst="line">
            <a:avLst/>
          </a:prstGeom>
          <a:ln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50000">
                  <a:schemeClr val="tx1">
                    <a:lumMod val="40000"/>
                    <a:lumOff val="60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14338" y="1343028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8" rIns="91426" bIns="45718" rtlCol="0" anchor="ctr"/>
          <a:lstStyle/>
          <a:p>
            <a:pPr algn="ctr" defTabSz="914241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CiscoSansT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431507" y="1343028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8" rIns="91426" bIns="45718" rtlCol="0" anchor="ctr"/>
          <a:lstStyle/>
          <a:p>
            <a:pPr algn="ctr" defTabSz="914241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CiscoSansTT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8448675" y="1343028"/>
            <a:ext cx="3328988" cy="5514975"/>
          </a:xfrm>
          <a:prstGeom prst="rect">
            <a:avLst/>
          </a:prstGeom>
          <a:gradFill>
            <a:gsLst>
              <a:gs pos="0">
                <a:schemeClr val="tx2">
                  <a:alpha val="15000"/>
                </a:schemeClr>
              </a:gs>
              <a:gs pos="100000">
                <a:schemeClr val="tx2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8" rIns="91426" bIns="45718" rtlCol="0" anchor="ctr"/>
          <a:lstStyle/>
          <a:p>
            <a:pPr algn="ctr" defTabSz="914241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CiscoSansT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3" y="315749"/>
            <a:ext cx="11087100" cy="952499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10" y="2009775"/>
            <a:ext cx="3076575" cy="4167188"/>
          </a:xfrm>
        </p:spPr>
        <p:txBody>
          <a:bodyPr/>
          <a:lstStyle>
            <a:lvl1pPr marL="342842" indent="-342842">
              <a:buClr>
                <a:srgbClr val="30A3FF"/>
              </a:buClr>
              <a:defRPr sz="2300"/>
            </a:lvl1pPr>
            <a:lvl2pPr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kern="120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11111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562483" y="2009777"/>
            <a:ext cx="3076575" cy="4167187"/>
          </a:xfrm>
        </p:spPr>
        <p:txBody>
          <a:bodyPr/>
          <a:lstStyle>
            <a:lvl1pPr marL="342842" indent="-342842">
              <a:buClr>
                <a:srgbClr val="30A3FF"/>
              </a:buClr>
              <a:defRPr sz="2300"/>
            </a:lvl1pPr>
            <a:lvl2pPr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8543934" y="2009775"/>
            <a:ext cx="3076575" cy="4167188"/>
          </a:xfrm>
        </p:spPr>
        <p:txBody>
          <a:bodyPr/>
          <a:lstStyle>
            <a:lvl1pPr marL="342842" indent="-342842">
              <a:buClr>
                <a:srgbClr val="30A3FF"/>
              </a:buClr>
              <a:defRPr sz="2300"/>
            </a:lvl1pPr>
            <a:lvl2pPr>
              <a:buClr>
                <a:srgbClr val="30A3FF"/>
              </a:buClr>
              <a:defRPr/>
            </a:lvl2pPr>
            <a:lvl3pPr>
              <a:buClr>
                <a:srgbClr val="30A3FF"/>
              </a:buClr>
              <a:defRPr/>
            </a:lvl3pPr>
            <a:lvl4pPr>
              <a:buClr>
                <a:srgbClr val="30A3FF"/>
              </a:buClr>
              <a:defRPr/>
            </a:lvl4pPr>
            <a:lvl5pPr>
              <a:buClr>
                <a:srgbClr val="30A3FF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523875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rgbClr val="30A3FF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On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52951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rgbClr val="30A3FF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Two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543927" y="1441831"/>
            <a:ext cx="3086100" cy="567944"/>
          </a:xfrm>
        </p:spPr>
        <p:txBody>
          <a:bodyPr/>
          <a:lstStyle>
            <a:lvl1pPr marL="0" indent="0" algn="ctr">
              <a:buFontTx/>
              <a:buNone/>
              <a:defRPr u="sng" baseline="0">
                <a:solidFill>
                  <a:srgbClr val="30A3FF"/>
                </a:solidFill>
                <a:latin typeface="CiscoSansTT Heavy" panose="020B0903020201020303" pitchFamily="34" charset="0"/>
              </a:defRPr>
            </a:lvl1pPr>
          </a:lstStyle>
          <a:p>
            <a:pPr lvl="0"/>
            <a:r>
              <a:rPr lang="en-US" dirty="0" smtClean="0"/>
              <a:t>Column Thre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71496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845" tIns="60923" rIns="121845" bIns="60923">
            <a:noAutofit/>
          </a:bodyPr>
          <a:lstStyle>
            <a:lvl1pPr marL="374425" indent="-29827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935" indent="-28769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363" indent="-22846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247" indent="-22846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2714" indent="-22423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845" tIns="60923" rIns="121845" bIns="60923">
            <a:noAutofit/>
          </a:bodyPr>
          <a:lstStyle>
            <a:lvl1pPr marL="374425" indent="-298277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935" indent="-287696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6363" indent="-22846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4247" indent="-228467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2714" indent="-22423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9043168" y="274066"/>
            <a:ext cx="1905496" cy="1220787"/>
            <a:chOff x="9040813" y="285938"/>
            <a:chExt cx="1905000" cy="1220787"/>
          </a:xfrm>
        </p:grpSpPr>
        <p:sp>
          <p:nvSpPr>
            <p:cNvPr id="10" name="AutoShape 3"/>
            <p:cNvSpPr>
              <a:spLocks noChangeAspect="1" noChangeArrowheads="1" noTextEdit="1"/>
            </p:cNvSpPr>
            <p:nvPr/>
          </p:nvSpPr>
          <p:spPr bwMode="auto">
            <a:xfrm>
              <a:off x="9040813" y="285938"/>
              <a:ext cx="1905000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47" name="Freeform 5"/>
            <p:cNvSpPr>
              <a:spLocks/>
            </p:cNvSpPr>
            <p:nvPr userDrawn="1"/>
          </p:nvSpPr>
          <p:spPr bwMode="auto">
            <a:xfrm>
              <a:off x="9053513" y="763775"/>
              <a:ext cx="1879600" cy="290512"/>
            </a:xfrm>
            <a:custGeom>
              <a:avLst/>
              <a:gdLst>
                <a:gd name="T0" fmla="*/ 834 w 1184"/>
                <a:gd name="T1" fmla="*/ 47 h 183"/>
                <a:gd name="T2" fmla="*/ 834 w 1184"/>
                <a:gd name="T3" fmla="*/ 12 h 183"/>
                <a:gd name="T4" fmla="*/ 834 w 1184"/>
                <a:gd name="T5" fmla="*/ 12 h 183"/>
                <a:gd name="T6" fmla="*/ 832 w 1184"/>
                <a:gd name="T7" fmla="*/ 9 h 183"/>
                <a:gd name="T8" fmla="*/ 834 w 1184"/>
                <a:gd name="T9" fmla="*/ 8 h 183"/>
                <a:gd name="T10" fmla="*/ 836 w 1184"/>
                <a:gd name="T11" fmla="*/ 4 h 183"/>
                <a:gd name="T12" fmla="*/ 840 w 1184"/>
                <a:gd name="T13" fmla="*/ 1 h 183"/>
                <a:gd name="T14" fmla="*/ 849 w 1184"/>
                <a:gd name="T15" fmla="*/ 0 h 183"/>
                <a:gd name="T16" fmla="*/ 861 w 1184"/>
                <a:gd name="T17" fmla="*/ 0 h 183"/>
                <a:gd name="T18" fmla="*/ 879 w 1184"/>
                <a:gd name="T19" fmla="*/ 3 h 183"/>
                <a:gd name="T20" fmla="*/ 1172 w 1184"/>
                <a:gd name="T21" fmla="*/ 83 h 183"/>
                <a:gd name="T22" fmla="*/ 1172 w 1184"/>
                <a:gd name="T23" fmla="*/ 83 h 183"/>
                <a:gd name="T24" fmla="*/ 1176 w 1184"/>
                <a:gd name="T25" fmla="*/ 84 h 183"/>
                <a:gd name="T26" fmla="*/ 1184 w 1184"/>
                <a:gd name="T27" fmla="*/ 87 h 183"/>
                <a:gd name="T28" fmla="*/ 1184 w 1184"/>
                <a:gd name="T29" fmla="*/ 90 h 183"/>
                <a:gd name="T30" fmla="*/ 1184 w 1184"/>
                <a:gd name="T31" fmla="*/ 93 h 183"/>
                <a:gd name="T32" fmla="*/ 1180 w 1184"/>
                <a:gd name="T33" fmla="*/ 97 h 183"/>
                <a:gd name="T34" fmla="*/ 1170 w 1184"/>
                <a:gd name="T35" fmla="*/ 100 h 183"/>
                <a:gd name="T36" fmla="*/ 898 w 1184"/>
                <a:gd name="T37" fmla="*/ 178 h 183"/>
                <a:gd name="T38" fmla="*/ 898 w 1184"/>
                <a:gd name="T39" fmla="*/ 178 h 183"/>
                <a:gd name="T40" fmla="*/ 887 w 1184"/>
                <a:gd name="T41" fmla="*/ 179 h 183"/>
                <a:gd name="T42" fmla="*/ 865 w 1184"/>
                <a:gd name="T43" fmla="*/ 183 h 183"/>
                <a:gd name="T44" fmla="*/ 853 w 1184"/>
                <a:gd name="T45" fmla="*/ 183 h 183"/>
                <a:gd name="T46" fmla="*/ 842 w 1184"/>
                <a:gd name="T47" fmla="*/ 183 h 183"/>
                <a:gd name="T48" fmla="*/ 836 w 1184"/>
                <a:gd name="T49" fmla="*/ 179 h 183"/>
                <a:gd name="T50" fmla="*/ 834 w 1184"/>
                <a:gd name="T51" fmla="*/ 178 h 183"/>
                <a:gd name="T52" fmla="*/ 834 w 1184"/>
                <a:gd name="T53" fmla="*/ 175 h 183"/>
                <a:gd name="T54" fmla="*/ 834 w 1184"/>
                <a:gd name="T55" fmla="*/ 132 h 183"/>
                <a:gd name="T56" fmla="*/ 27 w 1184"/>
                <a:gd name="T57" fmla="*/ 132 h 183"/>
                <a:gd name="T58" fmla="*/ 27 w 1184"/>
                <a:gd name="T59" fmla="*/ 132 h 183"/>
                <a:gd name="T60" fmla="*/ 23 w 1184"/>
                <a:gd name="T61" fmla="*/ 132 h 183"/>
                <a:gd name="T62" fmla="*/ 14 w 1184"/>
                <a:gd name="T63" fmla="*/ 130 h 183"/>
                <a:gd name="T64" fmla="*/ 8 w 1184"/>
                <a:gd name="T65" fmla="*/ 130 h 183"/>
                <a:gd name="T66" fmla="*/ 4 w 1184"/>
                <a:gd name="T67" fmla="*/ 127 h 183"/>
                <a:gd name="T68" fmla="*/ 0 w 1184"/>
                <a:gd name="T69" fmla="*/ 124 h 183"/>
                <a:gd name="T70" fmla="*/ 0 w 1184"/>
                <a:gd name="T71" fmla="*/ 118 h 183"/>
                <a:gd name="T72" fmla="*/ 0 w 1184"/>
                <a:gd name="T73" fmla="*/ 118 h 183"/>
                <a:gd name="T74" fmla="*/ 0 w 1184"/>
                <a:gd name="T75" fmla="*/ 60 h 183"/>
                <a:gd name="T76" fmla="*/ 0 w 1184"/>
                <a:gd name="T77" fmla="*/ 60 h 183"/>
                <a:gd name="T78" fmla="*/ 0 w 1184"/>
                <a:gd name="T79" fmla="*/ 58 h 183"/>
                <a:gd name="T80" fmla="*/ 4 w 1184"/>
                <a:gd name="T81" fmla="*/ 54 h 183"/>
                <a:gd name="T82" fmla="*/ 8 w 1184"/>
                <a:gd name="T83" fmla="*/ 52 h 183"/>
                <a:gd name="T84" fmla="*/ 12 w 1184"/>
                <a:gd name="T85" fmla="*/ 50 h 183"/>
                <a:gd name="T86" fmla="*/ 21 w 1184"/>
                <a:gd name="T87" fmla="*/ 49 h 183"/>
                <a:gd name="T88" fmla="*/ 31 w 1184"/>
                <a:gd name="T89" fmla="*/ 47 h 183"/>
                <a:gd name="T90" fmla="*/ 31 w 1184"/>
                <a:gd name="T91" fmla="*/ 47 h 183"/>
                <a:gd name="T92" fmla="*/ 834 w 1184"/>
                <a:gd name="T93" fmla="*/ 47 h 183"/>
                <a:gd name="T94" fmla="*/ 834 w 1184"/>
                <a:gd name="T95" fmla="*/ 47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84" h="183">
                  <a:moveTo>
                    <a:pt x="834" y="47"/>
                  </a:moveTo>
                  <a:lnTo>
                    <a:pt x="834" y="12"/>
                  </a:lnTo>
                  <a:lnTo>
                    <a:pt x="834" y="12"/>
                  </a:lnTo>
                  <a:lnTo>
                    <a:pt x="832" y="9"/>
                  </a:lnTo>
                  <a:lnTo>
                    <a:pt x="834" y="8"/>
                  </a:lnTo>
                  <a:lnTo>
                    <a:pt x="836" y="4"/>
                  </a:lnTo>
                  <a:lnTo>
                    <a:pt x="840" y="1"/>
                  </a:lnTo>
                  <a:lnTo>
                    <a:pt x="849" y="0"/>
                  </a:lnTo>
                  <a:lnTo>
                    <a:pt x="861" y="0"/>
                  </a:lnTo>
                  <a:lnTo>
                    <a:pt x="879" y="3"/>
                  </a:lnTo>
                  <a:lnTo>
                    <a:pt x="1172" y="83"/>
                  </a:lnTo>
                  <a:lnTo>
                    <a:pt x="1172" y="83"/>
                  </a:lnTo>
                  <a:lnTo>
                    <a:pt x="1176" y="84"/>
                  </a:lnTo>
                  <a:lnTo>
                    <a:pt x="1184" y="87"/>
                  </a:lnTo>
                  <a:lnTo>
                    <a:pt x="1184" y="90"/>
                  </a:lnTo>
                  <a:lnTo>
                    <a:pt x="1184" y="93"/>
                  </a:lnTo>
                  <a:lnTo>
                    <a:pt x="1180" y="97"/>
                  </a:lnTo>
                  <a:lnTo>
                    <a:pt x="1170" y="100"/>
                  </a:lnTo>
                  <a:lnTo>
                    <a:pt x="898" y="178"/>
                  </a:lnTo>
                  <a:lnTo>
                    <a:pt x="898" y="178"/>
                  </a:lnTo>
                  <a:lnTo>
                    <a:pt x="887" y="179"/>
                  </a:lnTo>
                  <a:lnTo>
                    <a:pt x="865" y="183"/>
                  </a:lnTo>
                  <a:lnTo>
                    <a:pt x="853" y="183"/>
                  </a:lnTo>
                  <a:lnTo>
                    <a:pt x="842" y="183"/>
                  </a:lnTo>
                  <a:lnTo>
                    <a:pt x="836" y="179"/>
                  </a:lnTo>
                  <a:lnTo>
                    <a:pt x="834" y="178"/>
                  </a:lnTo>
                  <a:lnTo>
                    <a:pt x="834" y="175"/>
                  </a:lnTo>
                  <a:lnTo>
                    <a:pt x="834" y="132"/>
                  </a:lnTo>
                  <a:lnTo>
                    <a:pt x="27" y="132"/>
                  </a:lnTo>
                  <a:lnTo>
                    <a:pt x="27" y="132"/>
                  </a:lnTo>
                  <a:lnTo>
                    <a:pt x="23" y="132"/>
                  </a:lnTo>
                  <a:lnTo>
                    <a:pt x="14" y="130"/>
                  </a:lnTo>
                  <a:lnTo>
                    <a:pt x="8" y="130"/>
                  </a:lnTo>
                  <a:lnTo>
                    <a:pt x="4" y="127"/>
                  </a:lnTo>
                  <a:lnTo>
                    <a:pt x="0" y="12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4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21" y="49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834" y="47"/>
                  </a:lnTo>
                  <a:lnTo>
                    <a:pt x="834" y="4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9575801" y="285938"/>
              <a:ext cx="655638" cy="1220787"/>
            </a:xfrm>
            <a:custGeom>
              <a:avLst/>
              <a:gdLst>
                <a:gd name="T0" fmla="*/ 205 w 413"/>
                <a:gd name="T1" fmla="*/ 2 h 769"/>
                <a:gd name="T2" fmla="*/ 192 w 413"/>
                <a:gd name="T3" fmla="*/ 0 h 769"/>
                <a:gd name="T4" fmla="*/ 154 w 413"/>
                <a:gd name="T5" fmla="*/ 9 h 769"/>
                <a:gd name="T6" fmla="*/ 100 w 413"/>
                <a:gd name="T7" fmla="*/ 48 h 769"/>
                <a:gd name="T8" fmla="*/ 58 w 413"/>
                <a:gd name="T9" fmla="*/ 114 h 769"/>
                <a:gd name="T10" fmla="*/ 25 w 413"/>
                <a:gd name="T11" fmla="*/ 201 h 769"/>
                <a:gd name="T12" fmla="*/ 4 w 413"/>
                <a:gd name="T13" fmla="*/ 307 h 769"/>
                <a:gd name="T14" fmla="*/ 0 w 413"/>
                <a:gd name="T15" fmla="*/ 385 h 769"/>
                <a:gd name="T16" fmla="*/ 11 w 413"/>
                <a:gd name="T17" fmla="*/ 499 h 769"/>
                <a:gd name="T18" fmla="*/ 33 w 413"/>
                <a:gd name="T19" fmla="*/ 600 h 769"/>
                <a:gd name="T20" fmla="*/ 70 w 413"/>
                <a:gd name="T21" fmla="*/ 682 h 769"/>
                <a:gd name="T22" fmla="*/ 119 w 413"/>
                <a:gd name="T23" fmla="*/ 738 h 769"/>
                <a:gd name="T24" fmla="*/ 172 w 413"/>
                <a:gd name="T25" fmla="*/ 767 h 769"/>
                <a:gd name="T26" fmla="*/ 192 w 413"/>
                <a:gd name="T27" fmla="*/ 769 h 769"/>
                <a:gd name="T28" fmla="*/ 215 w 413"/>
                <a:gd name="T29" fmla="*/ 769 h 769"/>
                <a:gd name="T30" fmla="*/ 235 w 413"/>
                <a:gd name="T31" fmla="*/ 767 h 769"/>
                <a:gd name="T32" fmla="*/ 293 w 413"/>
                <a:gd name="T33" fmla="*/ 738 h 769"/>
                <a:gd name="T34" fmla="*/ 342 w 413"/>
                <a:gd name="T35" fmla="*/ 682 h 769"/>
                <a:gd name="T36" fmla="*/ 381 w 413"/>
                <a:gd name="T37" fmla="*/ 600 h 769"/>
                <a:gd name="T38" fmla="*/ 405 w 413"/>
                <a:gd name="T39" fmla="*/ 499 h 769"/>
                <a:gd name="T40" fmla="*/ 413 w 413"/>
                <a:gd name="T41" fmla="*/ 385 h 769"/>
                <a:gd name="T42" fmla="*/ 409 w 413"/>
                <a:gd name="T43" fmla="*/ 307 h 769"/>
                <a:gd name="T44" fmla="*/ 389 w 413"/>
                <a:gd name="T45" fmla="*/ 201 h 769"/>
                <a:gd name="T46" fmla="*/ 356 w 413"/>
                <a:gd name="T47" fmla="*/ 114 h 769"/>
                <a:gd name="T48" fmla="*/ 309 w 413"/>
                <a:gd name="T49" fmla="*/ 48 h 769"/>
                <a:gd name="T50" fmla="*/ 256 w 413"/>
                <a:gd name="T51" fmla="*/ 9 h 769"/>
                <a:gd name="T52" fmla="*/ 215 w 413"/>
                <a:gd name="T53" fmla="*/ 0 h 769"/>
                <a:gd name="T54" fmla="*/ 45 w 413"/>
                <a:gd name="T55" fmla="*/ 385 h 769"/>
                <a:gd name="T56" fmla="*/ 51 w 413"/>
                <a:gd name="T57" fmla="*/ 299 h 769"/>
                <a:gd name="T58" fmla="*/ 68 w 413"/>
                <a:gd name="T59" fmla="*/ 223 h 769"/>
                <a:gd name="T60" fmla="*/ 90 w 413"/>
                <a:gd name="T61" fmla="*/ 158 h 769"/>
                <a:gd name="T62" fmla="*/ 121 w 413"/>
                <a:gd name="T63" fmla="*/ 112 h 769"/>
                <a:gd name="T64" fmla="*/ 156 w 413"/>
                <a:gd name="T65" fmla="*/ 84 h 769"/>
                <a:gd name="T66" fmla="*/ 180 w 413"/>
                <a:gd name="T67" fmla="*/ 84 h 769"/>
                <a:gd name="T68" fmla="*/ 215 w 413"/>
                <a:gd name="T69" fmla="*/ 112 h 769"/>
                <a:gd name="T70" fmla="*/ 244 w 413"/>
                <a:gd name="T71" fmla="*/ 158 h 769"/>
                <a:gd name="T72" fmla="*/ 266 w 413"/>
                <a:gd name="T73" fmla="*/ 223 h 769"/>
                <a:gd name="T74" fmla="*/ 287 w 413"/>
                <a:gd name="T75" fmla="*/ 385 h 769"/>
                <a:gd name="T76" fmla="*/ 278 w 413"/>
                <a:gd name="T77" fmla="*/ 497 h 769"/>
                <a:gd name="T78" fmla="*/ 252 w 413"/>
                <a:gd name="T79" fmla="*/ 592 h 769"/>
                <a:gd name="T80" fmla="*/ 225 w 413"/>
                <a:gd name="T81" fmla="*/ 645 h 769"/>
                <a:gd name="T82" fmla="*/ 192 w 413"/>
                <a:gd name="T83" fmla="*/ 678 h 769"/>
                <a:gd name="T84" fmla="*/ 168 w 413"/>
                <a:gd name="T85" fmla="*/ 689 h 769"/>
                <a:gd name="T86" fmla="*/ 131 w 413"/>
                <a:gd name="T87" fmla="*/ 669 h 769"/>
                <a:gd name="T88" fmla="*/ 100 w 413"/>
                <a:gd name="T89" fmla="*/ 629 h 769"/>
                <a:gd name="T90" fmla="*/ 74 w 413"/>
                <a:gd name="T91" fmla="*/ 571 h 769"/>
                <a:gd name="T92" fmla="*/ 56 w 413"/>
                <a:gd name="T93" fmla="*/ 497 h 769"/>
                <a:gd name="T94" fmla="*/ 47 w 413"/>
                <a:gd name="T95" fmla="*/ 414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3" h="769">
                  <a:moveTo>
                    <a:pt x="215" y="0"/>
                  </a:moveTo>
                  <a:lnTo>
                    <a:pt x="215" y="0"/>
                  </a:lnTo>
                  <a:lnTo>
                    <a:pt x="205" y="2"/>
                  </a:lnTo>
                  <a:lnTo>
                    <a:pt x="205" y="2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2" y="2"/>
                  </a:lnTo>
                  <a:lnTo>
                    <a:pt x="172" y="3"/>
                  </a:lnTo>
                  <a:lnTo>
                    <a:pt x="154" y="9"/>
                  </a:lnTo>
                  <a:lnTo>
                    <a:pt x="135" y="18"/>
                  </a:lnTo>
                  <a:lnTo>
                    <a:pt x="119" y="31"/>
                  </a:lnTo>
                  <a:lnTo>
                    <a:pt x="100" y="48"/>
                  </a:lnTo>
                  <a:lnTo>
                    <a:pt x="86" y="66"/>
                  </a:lnTo>
                  <a:lnTo>
                    <a:pt x="70" y="89"/>
                  </a:lnTo>
                  <a:lnTo>
                    <a:pt x="58" y="114"/>
                  </a:lnTo>
                  <a:lnTo>
                    <a:pt x="45" y="141"/>
                  </a:lnTo>
                  <a:lnTo>
                    <a:pt x="33" y="170"/>
                  </a:lnTo>
                  <a:lnTo>
                    <a:pt x="25" y="201"/>
                  </a:lnTo>
                  <a:lnTo>
                    <a:pt x="17" y="235"/>
                  </a:lnTo>
                  <a:lnTo>
                    <a:pt x="11" y="270"/>
                  </a:lnTo>
                  <a:lnTo>
                    <a:pt x="4" y="307"/>
                  </a:lnTo>
                  <a:lnTo>
                    <a:pt x="2" y="345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2" y="424"/>
                  </a:lnTo>
                  <a:lnTo>
                    <a:pt x="4" y="462"/>
                  </a:lnTo>
                  <a:lnTo>
                    <a:pt x="11" y="499"/>
                  </a:lnTo>
                  <a:lnTo>
                    <a:pt x="17" y="534"/>
                  </a:lnTo>
                  <a:lnTo>
                    <a:pt x="25" y="568"/>
                  </a:lnTo>
                  <a:lnTo>
                    <a:pt x="33" y="600"/>
                  </a:lnTo>
                  <a:lnTo>
                    <a:pt x="45" y="629"/>
                  </a:lnTo>
                  <a:lnTo>
                    <a:pt x="58" y="657"/>
                  </a:lnTo>
                  <a:lnTo>
                    <a:pt x="70" y="682"/>
                  </a:lnTo>
                  <a:lnTo>
                    <a:pt x="86" y="703"/>
                  </a:lnTo>
                  <a:lnTo>
                    <a:pt x="100" y="723"/>
                  </a:lnTo>
                  <a:lnTo>
                    <a:pt x="119" y="738"/>
                  </a:lnTo>
                  <a:lnTo>
                    <a:pt x="135" y="752"/>
                  </a:lnTo>
                  <a:lnTo>
                    <a:pt x="154" y="761"/>
                  </a:lnTo>
                  <a:lnTo>
                    <a:pt x="172" y="767"/>
                  </a:lnTo>
                  <a:lnTo>
                    <a:pt x="182" y="769"/>
                  </a:lnTo>
                  <a:lnTo>
                    <a:pt x="192" y="769"/>
                  </a:lnTo>
                  <a:lnTo>
                    <a:pt x="192" y="769"/>
                  </a:lnTo>
                  <a:lnTo>
                    <a:pt x="205" y="769"/>
                  </a:lnTo>
                  <a:lnTo>
                    <a:pt x="205" y="769"/>
                  </a:lnTo>
                  <a:lnTo>
                    <a:pt x="215" y="769"/>
                  </a:lnTo>
                  <a:lnTo>
                    <a:pt x="215" y="769"/>
                  </a:lnTo>
                  <a:lnTo>
                    <a:pt x="225" y="769"/>
                  </a:lnTo>
                  <a:lnTo>
                    <a:pt x="235" y="767"/>
                  </a:lnTo>
                  <a:lnTo>
                    <a:pt x="256" y="761"/>
                  </a:lnTo>
                  <a:lnTo>
                    <a:pt x="274" y="752"/>
                  </a:lnTo>
                  <a:lnTo>
                    <a:pt x="293" y="738"/>
                  </a:lnTo>
                  <a:lnTo>
                    <a:pt x="309" y="723"/>
                  </a:lnTo>
                  <a:lnTo>
                    <a:pt x="325" y="703"/>
                  </a:lnTo>
                  <a:lnTo>
                    <a:pt x="342" y="682"/>
                  </a:lnTo>
                  <a:lnTo>
                    <a:pt x="356" y="657"/>
                  </a:lnTo>
                  <a:lnTo>
                    <a:pt x="368" y="629"/>
                  </a:lnTo>
                  <a:lnTo>
                    <a:pt x="381" y="600"/>
                  </a:lnTo>
                  <a:lnTo>
                    <a:pt x="389" y="568"/>
                  </a:lnTo>
                  <a:lnTo>
                    <a:pt x="399" y="534"/>
                  </a:lnTo>
                  <a:lnTo>
                    <a:pt x="405" y="499"/>
                  </a:lnTo>
                  <a:lnTo>
                    <a:pt x="409" y="462"/>
                  </a:lnTo>
                  <a:lnTo>
                    <a:pt x="413" y="424"/>
                  </a:lnTo>
                  <a:lnTo>
                    <a:pt x="413" y="385"/>
                  </a:lnTo>
                  <a:lnTo>
                    <a:pt x="413" y="385"/>
                  </a:lnTo>
                  <a:lnTo>
                    <a:pt x="413" y="345"/>
                  </a:lnTo>
                  <a:lnTo>
                    <a:pt x="409" y="307"/>
                  </a:lnTo>
                  <a:lnTo>
                    <a:pt x="405" y="270"/>
                  </a:lnTo>
                  <a:lnTo>
                    <a:pt x="399" y="235"/>
                  </a:lnTo>
                  <a:lnTo>
                    <a:pt x="389" y="201"/>
                  </a:lnTo>
                  <a:lnTo>
                    <a:pt x="381" y="170"/>
                  </a:lnTo>
                  <a:lnTo>
                    <a:pt x="368" y="141"/>
                  </a:lnTo>
                  <a:lnTo>
                    <a:pt x="356" y="114"/>
                  </a:lnTo>
                  <a:lnTo>
                    <a:pt x="342" y="89"/>
                  </a:lnTo>
                  <a:lnTo>
                    <a:pt x="325" y="66"/>
                  </a:lnTo>
                  <a:lnTo>
                    <a:pt x="309" y="48"/>
                  </a:lnTo>
                  <a:lnTo>
                    <a:pt x="293" y="31"/>
                  </a:lnTo>
                  <a:lnTo>
                    <a:pt x="274" y="18"/>
                  </a:lnTo>
                  <a:lnTo>
                    <a:pt x="256" y="9"/>
                  </a:lnTo>
                  <a:lnTo>
                    <a:pt x="235" y="3"/>
                  </a:lnTo>
                  <a:lnTo>
                    <a:pt x="225" y="2"/>
                  </a:lnTo>
                  <a:lnTo>
                    <a:pt x="215" y="0"/>
                  </a:lnTo>
                  <a:lnTo>
                    <a:pt x="215" y="0"/>
                  </a:lnTo>
                  <a:close/>
                  <a:moveTo>
                    <a:pt x="45" y="385"/>
                  </a:moveTo>
                  <a:lnTo>
                    <a:pt x="45" y="385"/>
                  </a:lnTo>
                  <a:lnTo>
                    <a:pt x="47" y="355"/>
                  </a:lnTo>
                  <a:lnTo>
                    <a:pt x="49" y="327"/>
                  </a:lnTo>
                  <a:lnTo>
                    <a:pt x="51" y="299"/>
                  </a:lnTo>
                  <a:lnTo>
                    <a:pt x="56" y="272"/>
                  </a:lnTo>
                  <a:lnTo>
                    <a:pt x="62" y="246"/>
                  </a:lnTo>
                  <a:lnTo>
                    <a:pt x="68" y="223"/>
                  </a:lnTo>
                  <a:lnTo>
                    <a:pt x="74" y="200"/>
                  </a:lnTo>
                  <a:lnTo>
                    <a:pt x="82" y="178"/>
                  </a:lnTo>
                  <a:lnTo>
                    <a:pt x="90" y="158"/>
                  </a:lnTo>
                  <a:lnTo>
                    <a:pt x="100" y="141"/>
                  </a:lnTo>
                  <a:lnTo>
                    <a:pt x="111" y="126"/>
                  </a:lnTo>
                  <a:lnTo>
                    <a:pt x="121" y="112"/>
                  </a:lnTo>
                  <a:lnTo>
                    <a:pt x="131" y="100"/>
                  </a:lnTo>
                  <a:lnTo>
                    <a:pt x="143" y="92"/>
                  </a:lnTo>
                  <a:lnTo>
                    <a:pt x="156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80" y="84"/>
                  </a:lnTo>
                  <a:lnTo>
                    <a:pt x="192" y="92"/>
                  </a:lnTo>
                  <a:lnTo>
                    <a:pt x="205" y="100"/>
                  </a:lnTo>
                  <a:lnTo>
                    <a:pt x="215" y="112"/>
                  </a:lnTo>
                  <a:lnTo>
                    <a:pt x="225" y="126"/>
                  </a:lnTo>
                  <a:lnTo>
                    <a:pt x="235" y="141"/>
                  </a:lnTo>
                  <a:lnTo>
                    <a:pt x="244" y="158"/>
                  </a:lnTo>
                  <a:lnTo>
                    <a:pt x="252" y="178"/>
                  </a:lnTo>
                  <a:lnTo>
                    <a:pt x="260" y="200"/>
                  </a:lnTo>
                  <a:lnTo>
                    <a:pt x="266" y="223"/>
                  </a:lnTo>
                  <a:lnTo>
                    <a:pt x="278" y="272"/>
                  </a:lnTo>
                  <a:lnTo>
                    <a:pt x="284" y="327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4" y="444"/>
                  </a:lnTo>
                  <a:lnTo>
                    <a:pt x="278" y="497"/>
                  </a:lnTo>
                  <a:lnTo>
                    <a:pt x="266" y="548"/>
                  </a:lnTo>
                  <a:lnTo>
                    <a:pt x="260" y="571"/>
                  </a:lnTo>
                  <a:lnTo>
                    <a:pt x="252" y="592"/>
                  </a:lnTo>
                  <a:lnTo>
                    <a:pt x="244" y="611"/>
                  </a:lnTo>
                  <a:lnTo>
                    <a:pt x="235" y="629"/>
                  </a:lnTo>
                  <a:lnTo>
                    <a:pt x="225" y="645"/>
                  </a:lnTo>
                  <a:lnTo>
                    <a:pt x="215" y="658"/>
                  </a:lnTo>
                  <a:lnTo>
                    <a:pt x="205" y="669"/>
                  </a:lnTo>
                  <a:lnTo>
                    <a:pt x="192" y="678"/>
                  </a:lnTo>
                  <a:lnTo>
                    <a:pt x="180" y="685"/>
                  </a:lnTo>
                  <a:lnTo>
                    <a:pt x="168" y="689"/>
                  </a:lnTo>
                  <a:lnTo>
                    <a:pt x="168" y="689"/>
                  </a:lnTo>
                  <a:lnTo>
                    <a:pt x="156" y="685"/>
                  </a:lnTo>
                  <a:lnTo>
                    <a:pt x="143" y="678"/>
                  </a:lnTo>
                  <a:lnTo>
                    <a:pt x="131" y="669"/>
                  </a:lnTo>
                  <a:lnTo>
                    <a:pt x="121" y="658"/>
                  </a:lnTo>
                  <a:lnTo>
                    <a:pt x="111" y="645"/>
                  </a:lnTo>
                  <a:lnTo>
                    <a:pt x="100" y="629"/>
                  </a:lnTo>
                  <a:lnTo>
                    <a:pt x="90" y="611"/>
                  </a:lnTo>
                  <a:lnTo>
                    <a:pt x="82" y="592"/>
                  </a:lnTo>
                  <a:lnTo>
                    <a:pt x="74" y="571"/>
                  </a:lnTo>
                  <a:lnTo>
                    <a:pt x="68" y="548"/>
                  </a:lnTo>
                  <a:lnTo>
                    <a:pt x="62" y="523"/>
                  </a:lnTo>
                  <a:lnTo>
                    <a:pt x="56" y="497"/>
                  </a:lnTo>
                  <a:lnTo>
                    <a:pt x="51" y="471"/>
                  </a:lnTo>
                  <a:lnTo>
                    <a:pt x="49" y="444"/>
                  </a:lnTo>
                  <a:lnTo>
                    <a:pt x="47" y="414"/>
                  </a:lnTo>
                  <a:lnTo>
                    <a:pt x="45" y="385"/>
                  </a:lnTo>
                  <a:lnTo>
                    <a:pt x="45" y="38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8683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9053513" y="908206"/>
              <a:ext cx="795651" cy="0"/>
            </a:xfrm>
            <a:prstGeom prst="line">
              <a:avLst/>
            </a:prstGeom>
            <a:ln w="149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034272" y="6613447"/>
            <a:ext cx="2286000" cy="228600"/>
          </a:xfrm>
          <a:prstGeom prst="rect">
            <a:avLst/>
          </a:prstGeom>
        </p:spPr>
        <p:txBody>
          <a:bodyPr vert="horz" lIns="91383" tIns="45691" rIns="91383" bIns="45691" rtlCol="0" anchor="ctr"/>
          <a:lstStyle>
            <a:lvl1pPr marL="0" marR="0" indent="0" algn="r" defTabSz="913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tint val="75000"/>
                  </a:schemeClr>
                </a:solidFill>
                <a:latin typeface="CiscoSans ExtraLight" panose="020B0303020201020303" pitchFamily="34" charset="0"/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ea typeface="Apple LiGothic Medium"/>
                <a:cs typeface="Apple LiGothic Medium"/>
              </a:rPr>
              <a:t>Cisco Confidential</a:t>
            </a:r>
            <a:endParaRPr lang="en-US" dirty="0">
              <a:solidFill>
                <a:prstClr val="black">
                  <a:tint val="75000"/>
                </a:prstClr>
              </a:solidFill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56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7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749" tIns="60875" rIns="121749" bIns="60875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749" tIns="60875" rIns="121749" bIns="60875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749" tIns="60875" rIns="121749" bIns="60875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339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749" tIns="60875" rIns="121749" bIns="60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568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39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33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49" tIns="60875" rIns="121749" bIns="60875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49" tIns="60875" rIns="121749" bIns="60875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749" tIns="60875" rIns="121749" bIns="60875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831" indent="0">
              <a:buNone/>
              <a:defRPr/>
            </a:lvl2pPr>
            <a:lvl3pPr marL="514853" indent="0">
              <a:buNone/>
              <a:defRPr/>
            </a:lvl3pPr>
            <a:lvl4pPr marL="727693" indent="0">
              <a:buNone/>
              <a:defRPr/>
            </a:lvl4pPr>
            <a:lvl5pPr marL="94049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05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9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48" y="6598698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8" tIns="30753" rIns="61508" bIns="30753" anchor="b">
            <a:spAutoFit/>
          </a:bodyPr>
          <a:lstStyle/>
          <a:p>
            <a:pPr defTabSz="609975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06"/>
            <a:ext cx="759430" cy="20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60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0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pla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4824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0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90" indent="-147973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38" y="487142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/>
          <a:p>
            <a:pPr marL="8333" indent="-8333" defTabSz="1217568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6331712" y="1600723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46"/>
            <a:ext cx="5791200" cy="1777238"/>
          </a:xfrm>
          <a:prstGeom prst="rect">
            <a:avLst/>
          </a:prstGeom>
        </p:spPr>
        <p:txBody>
          <a:bodyPr wrap="square" lIns="121749" tIns="60875" rIns="121749" bIns="60875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7568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7568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749" tIns="60875" rIns="121749" bIns="60875" rtlCol="0">
            <a:spAutoFit/>
          </a:bodyPr>
          <a:lstStyle/>
          <a:p>
            <a:pPr defTabSz="1217568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78" y="598488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78" y="598488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39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17676" y="6327964"/>
            <a:ext cx="1016526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88" tIns="40993" rIns="81988" bIns="40993" anchor="b">
            <a:spAutoFit/>
          </a:bodyPr>
          <a:lstStyle/>
          <a:p>
            <a:pPr algn="r" defTabSz="813232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06" y="6323890"/>
            <a:ext cx="294120" cy="2060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88" tIns="40993" rIns="81988" bIns="40993" anchor="b">
            <a:spAutoFit/>
          </a:bodyPr>
          <a:lstStyle/>
          <a:p>
            <a:pPr algn="r" defTabSz="813232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323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3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88" tIns="40993" rIns="81988" bIns="40993" anchor="b" anchorCtr="0">
            <a:spAutoFit/>
          </a:bodyPr>
          <a:lstStyle/>
          <a:p>
            <a:pPr defTabSz="813232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56"/>
            <a:ext cx="11350752" cy="45317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655252"/>
            <a:ext cx="11350752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5" y="1797051"/>
            <a:ext cx="11036459" cy="4224280"/>
          </a:xfrm>
          <a:prstGeom prst="rect">
            <a:avLst/>
          </a:prstGeom>
        </p:spPr>
        <p:txBody>
          <a:bodyPr lIns="121834" tIns="60917" rIns="121834" bIns="60917">
            <a:noAutofit/>
          </a:bodyPr>
          <a:lstStyle>
            <a:lvl1pPr marL="374373" indent="-29823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846" indent="-28765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230" indent="-22843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078" indent="-2284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511" indent="-224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25562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nk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4319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7"/>
            <a:ext cx="5425440" cy="456564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749" tIns="60875" rIns="121749" bIns="60875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749" tIns="60875" rIns="121749" bIns="60875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749" tIns="60875" rIns="121749" bIns="60875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895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white">
          <a:xfrm>
            <a:off x="1" y="2"/>
            <a:ext cx="12192000" cy="110489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21749" tIns="60875" rIns="121749" bIns="608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7568">
              <a:lnSpc>
                <a:spcPct val="90000"/>
              </a:lnSpc>
            </a:pPr>
            <a:endParaRPr lang="en-US" sz="2400" dirty="0" err="1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-107" charset="0"/>
            </a:endParaRPr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43427" y="6151038"/>
            <a:ext cx="1386984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5285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er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Kirk Travel\Dropbox\Cisco Live 2014\From Rick\JPGs 125dpi Images\125dpi Image-02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39"/>
            <a:ext cx="12192000" cy="40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/>
          <p:cNvSpPr>
            <a:spLocks noGrp="1" noChangeArrowheads="1"/>
          </p:cNvSpPr>
          <p:nvPr>
            <p:ph type="title" hasCustomPrompt="1"/>
          </p:nvPr>
        </p:nvSpPr>
        <p:spPr bwMode="white">
          <a:xfrm>
            <a:off x="893033" y="2442330"/>
            <a:ext cx="8119826" cy="16165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49" tIns="60875" rIns="121749" bIns="60875"/>
          <a:lstStyle>
            <a:lvl1pPr>
              <a:defRPr sz="37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Presentation Title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900384" y="4259791"/>
            <a:ext cx="9570720" cy="490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121749" tIns="60875" rIns="121749" bIns="60875"/>
          <a:lstStyle>
            <a:lvl1pPr marL="2381" indent="0">
              <a:buFontTx/>
              <a:buNone/>
              <a:defRPr sz="19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>
                <a:sym typeface="Arial" pitchFamily="-107" charset="0"/>
              </a:rPr>
              <a:t>Session ID</a:t>
            </a:r>
            <a:endParaRPr lang="en-US" dirty="0">
              <a:sym typeface="Arial" pitchFamily="-107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97505" y="4910665"/>
            <a:ext cx="9570720" cy="1407584"/>
          </a:xfrm>
        </p:spPr>
        <p:txBody>
          <a:bodyPr lIns="121749" tIns="60875" rIns="121749" bIns="60875"/>
          <a:lstStyle>
            <a:lvl1pPr marL="2380" indent="0">
              <a:buNone/>
              <a:defRPr sz="2400" baseline="0">
                <a:solidFill>
                  <a:schemeClr val="tx1"/>
                </a:solidFill>
              </a:defRPr>
            </a:lvl1pPr>
            <a:lvl2pPr marL="256831" indent="0">
              <a:buNone/>
              <a:defRPr/>
            </a:lvl2pPr>
            <a:lvl3pPr marL="514853" indent="0">
              <a:buNone/>
              <a:defRPr/>
            </a:lvl3pPr>
            <a:lvl4pPr marL="727693" indent="0">
              <a:buNone/>
              <a:defRPr/>
            </a:lvl4pPr>
            <a:lvl5pPr marL="940499" indent="0">
              <a:buNone/>
              <a:defRPr/>
            </a:lvl5pPr>
          </a:lstStyle>
          <a:p>
            <a:pPr lvl="0"/>
            <a:r>
              <a:rPr lang="en-US" dirty="0" smtClean="0"/>
              <a:t>Presenter Name and Title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05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9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48" y="6598698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8" tIns="30753" rIns="61508" bIns="30753" anchor="b">
            <a:spAutoFit/>
          </a:bodyPr>
          <a:lstStyle/>
          <a:p>
            <a:pPr defTabSz="609975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06"/>
            <a:ext cx="759430" cy="20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irk Travel\Dropbox\Cisco Live 2014\From Rick\JPGs 125dpi Images\125dpi Image-05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2436160"/>
            <a:ext cx="12192000" cy="1648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0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Video Title Slide</a:t>
            </a:r>
            <a:endParaRPr lang="en-US" dirty="0"/>
          </a:p>
        </p:txBody>
      </p:sp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" y="2436120"/>
            <a:ext cx="12192000" cy="165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570" y="2584240"/>
            <a:ext cx="9670676" cy="1352199"/>
          </a:xfrm>
        </p:spPr>
        <p:txBody>
          <a:bodyPr anchor="ctr" anchorCtr="0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emo Title Slide</a:t>
            </a:r>
            <a:endParaRPr lang="en-US" dirty="0"/>
          </a:p>
        </p:txBody>
      </p: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5222240"/>
            <a:ext cx="12192000" cy="1635760"/>
          </a:xfrm>
          <a:prstGeom prst="rect">
            <a:avLst/>
          </a:prstGeom>
        </p:spPr>
      </p:pic>
      <p:sp>
        <p:nvSpPr>
          <p:cNvPr id="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77134" y="1803400"/>
            <a:ext cx="9784467" cy="2311400"/>
          </a:xfrm>
        </p:spPr>
        <p:txBody>
          <a:bodyPr/>
          <a:lstStyle>
            <a:lvl1pPr marL="150090" indent="-147973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“"/>
              <a:defRPr sz="2700" baseline="0"/>
            </a:lvl1pPr>
          </a:lstStyle>
          <a:p>
            <a:pPr lvl="0"/>
            <a:r>
              <a:rPr lang="en-US" dirty="0" smtClean="0"/>
              <a:t>Quote goes here.”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6080" y="6135624"/>
            <a:ext cx="1378855" cy="463296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684695" y="3733800"/>
            <a:ext cx="6502400" cy="812800"/>
          </a:xfrm>
        </p:spPr>
        <p:txBody>
          <a:bodyPr/>
          <a:lstStyle>
            <a:lvl1pPr marL="2380" indent="0" algn="r">
              <a:spcBef>
                <a:spcPts val="0"/>
              </a:spcBef>
              <a:buNone/>
              <a:defRPr sz="2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Source Name</a:t>
            </a:r>
          </a:p>
          <a:p>
            <a:pPr lvl="0"/>
            <a:r>
              <a:rPr lang="en-US" dirty="0" smtClean="0"/>
              <a:t>Company Name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406438" y="487142"/>
            <a:ext cx="9123439" cy="64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/>
          <a:p>
            <a:pPr marL="8333" indent="-8333" defTabSz="1217568" eaLnBrk="0" hangingPunct="0">
              <a:lnSpc>
                <a:spcPct val="90000"/>
              </a:lnSpc>
            </a:pPr>
            <a:r>
              <a:rPr lang="en-US" sz="3700" dirty="0" smtClean="0">
                <a:solidFill>
                  <a:srgbClr val="016BA1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omplete Your Online Session Evaluation</a:t>
            </a:r>
            <a:endParaRPr lang="en-US" sz="3700" dirty="0">
              <a:solidFill>
                <a:srgbClr val="016BA1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6" name="Picture 5" descr="CiscoLive_girl_with_table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1" b="23933"/>
          <a:stretch/>
        </p:blipFill>
        <p:spPr>
          <a:xfrm>
            <a:off x="6331712" y="1600723"/>
            <a:ext cx="5451302" cy="3300193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 userDrawn="1"/>
        </p:nvSpPr>
        <p:spPr>
          <a:xfrm>
            <a:off x="406400" y="1437246"/>
            <a:ext cx="5791200" cy="1777238"/>
          </a:xfrm>
          <a:prstGeom prst="rect">
            <a:avLst/>
          </a:prstGeom>
        </p:spPr>
        <p:txBody>
          <a:bodyPr wrap="square" lIns="121749" tIns="60875" rIns="121749" bIns="60875">
            <a:spAutoFit/>
          </a:bodyPr>
          <a:lstStyle>
            <a:lvl1pPr marL="187523" indent="-18573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0C65B7"/>
              </a:buClr>
              <a:buSzPct val="100000"/>
              <a:buFont typeface="Arial" pitchFamily="34" charset="0"/>
              <a:buChar char="–"/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0" fontAlgn="base" hangingPunct="0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fontAlgn="base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defTabSz="1217568"/>
            <a:r>
              <a:rPr lang="en-US" sz="1800" dirty="0">
                <a:solidFill>
                  <a:srgbClr val="000000"/>
                </a:solidFill>
              </a:rPr>
              <a:t>Give us your feedback and </a:t>
            </a:r>
            <a:r>
              <a:rPr lang="en-US" sz="1800" dirty="0" smtClean="0">
                <a:solidFill>
                  <a:srgbClr val="000000"/>
                </a:solidFill>
              </a:rPr>
              <a:t>you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could </a:t>
            </a:r>
            <a:r>
              <a:rPr lang="en-US" sz="1800" dirty="0">
                <a:solidFill>
                  <a:srgbClr val="000000"/>
                </a:solidFill>
              </a:rPr>
              <a:t>win fabulous prizes. </a:t>
            </a:r>
            <a:r>
              <a:rPr lang="en-US" sz="1800" dirty="0" smtClean="0">
                <a:solidFill>
                  <a:srgbClr val="000000"/>
                </a:solidFill>
              </a:rPr>
              <a:t>Winners </a:t>
            </a:r>
            <a:r>
              <a:rPr lang="en-US" sz="1800" dirty="0">
                <a:solidFill>
                  <a:srgbClr val="000000"/>
                </a:solidFill>
              </a:rPr>
              <a:t>announced daily.</a:t>
            </a:r>
          </a:p>
          <a:p>
            <a:pPr defTabSz="1217568">
              <a:defRPr/>
            </a:pPr>
            <a:r>
              <a:rPr lang="en-US" sz="1800" dirty="0" smtClean="0">
                <a:solidFill>
                  <a:srgbClr val="000000"/>
                </a:solidFill>
              </a:rPr>
              <a:t>Complete </a:t>
            </a:r>
            <a:r>
              <a:rPr lang="en-US" sz="1800" dirty="0">
                <a:solidFill>
                  <a:srgbClr val="000000"/>
                </a:solidFill>
              </a:rPr>
              <a:t>your session evaluation through the Cisco Live mobile </a:t>
            </a:r>
            <a:r>
              <a:rPr lang="en-US" sz="1800" dirty="0" smtClean="0">
                <a:solidFill>
                  <a:srgbClr val="000000"/>
                </a:solidFill>
              </a:rPr>
              <a:t>app</a:t>
            </a:r>
            <a:br>
              <a:rPr lang="en-US" sz="1800" dirty="0" smtClean="0">
                <a:solidFill>
                  <a:srgbClr val="000000"/>
                </a:solidFill>
              </a:rPr>
            </a:br>
            <a:r>
              <a:rPr lang="en-US" sz="1800" dirty="0" smtClean="0">
                <a:solidFill>
                  <a:srgbClr val="000000"/>
                </a:solidFill>
              </a:rPr>
              <a:t>or </a:t>
            </a:r>
            <a:r>
              <a:rPr lang="en-US" sz="1800" dirty="0">
                <a:solidFill>
                  <a:srgbClr val="000000"/>
                </a:solidFill>
              </a:rPr>
              <a:t>visit one </a:t>
            </a:r>
            <a:r>
              <a:rPr lang="en-US" sz="1800" dirty="0" smtClean="0">
                <a:solidFill>
                  <a:srgbClr val="000000"/>
                </a:solidFill>
              </a:rPr>
              <a:t>of the interactive kiosks located throughout the convention center.</a:t>
            </a:r>
            <a:endParaRPr lang="en-US" sz="1800" u="sng" dirty="0">
              <a:solidFill>
                <a:srgbClr val="F37C20"/>
              </a:solidFill>
              <a:sym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0" y="4953001"/>
            <a:ext cx="5588000" cy="917408"/>
          </a:xfrm>
          <a:prstGeom prst="rect">
            <a:avLst/>
          </a:prstGeom>
          <a:noFill/>
        </p:spPr>
        <p:txBody>
          <a:bodyPr wrap="square" lIns="121749" tIns="60875" rIns="121749" bIns="60875" rtlCol="0">
            <a:spAutoFit/>
          </a:bodyPr>
          <a:lstStyle/>
          <a:p>
            <a:pPr defTabSz="1217568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/>
            </a:pPr>
            <a:r>
              <a:rPr lang="en-US" sz="1900" dirty="0" smtClean="0">
                <a:solidFill>
                  <a:srgbClr val="000000"/>
                </a:solidFill>
                <a:latin typeface="Arial"/>
                <a:ea typeface="Apple LiGothic Medium" pitchFamily="2" charset="-120"/>
                <a:cs typeface="Apple LiGothic Medium"/>
              </a:rPr>
              <a:t>Don’t forget: Cisco Live sessions will be available for viewing on-demand after the event at 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  <a:hlinkClick r:id="rId3"/>
              </a:rPr>
              <a:t>CiscoLive.com/Online</a:t>
            </a:r>
            <a:r>
              <a:rPr lang="en-US" sz="1900" u="sng" dirty="0" smtClean="0">
                <a:solidFill>
                  <a:srgbClr val="F37C20"/>
                </a:solidFill>
                <a:latin typeface="Arial"/>
                <a:ea typeface="Apple LiGothic Medium" pitchFamily="2" charset="-120"/>
                <a:cs typeface="Apple LiGothic Medium"/>
              </a:rPr>
              <a:t> </a:t>
            </a:r>
            <a:endParaRPr lang="en-US" sz="2100" dirty="0" smtClean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11505" y="2486207"/>
            <a:ext cx="3520016" cy="1040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78" y="598488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78" y="598488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 bwMode="invGray">
          <a:xfrm>
            <a:off x="3657639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7568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ificant Numb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558842" y="1320718"/>
            <a:ext cx="9074335" cy="2488999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6000">
                <a:solidFill>
                  <a:schemeClr val="accent6"/>
                </a:solidFill>
              </a:defRPr>
            </a:lvl1pPr>
            <a:lvl2pPr marL="457119" indent="0" algn="ctr">
              <a:buFontTx/>
              <a:buNone/>
              <a:defRPr/>
            </a:lvl2pPr>
            <a:lvl3pPr marL="914241" indent="0" algn="ctr">
              <a:buFontTx/>
              <a:buNone/>
              <a:defRPr/>
            </a:lvl3pPr>
            <a:lvl4pPr marL="1371362" indent="0" algn="ctr">
              <a:buFontTx/>
              <a:buNone/>
              <a:defRPr/>
            </a:lvl4pPr>
            <a:lvl5pPr marL="1828482" indent="0" algn="ctr">
              <a:buFontTx/>
              <a:buNone/>
              <a:defRPr/>
            </a:lvl5pPr>
          </a:lstStyle>
          <a:p>
            <a:pPr lvl="0"/>
            <a:r>
              <a:rPr lang="en-US" dirty="0" smtClean="0"/>
              <a:t>XXX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554435" y="3813930"/>
            <a:ext cx="9083132" cy="728663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3500" baseline="0">
                <a:solidFill>
                  <a:schemeClr val="tx1"/>
                </a:solidFill>
              </a:defRPr>
            </a:lvl1pPr>
            <a:lvl2pPr marL="457119" indent="0">
              <a:buFontTx/>
              <a:buNone/>
              <a:defRPr/>
            </a:lvl2pPr>
            <a:lvl3pPr marL="914241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2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Brief descriptive label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810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10417676" y="6327964"/>
            <a:ext cx="1016526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88" tIns="40993" rIns="81988" bIns="40993" anchor="b">
            <a:spAutoFit/>
          </a:bodyPr>
          <a:lstStyle/>
          <a:p>
            <a:pPr algn="r" defTabSz="813232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11547706" y="6323890"/>
            <a:ext cx="294120" cy="2060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88" tIns="40993" rIns="81988" bIns="40993" anchor="b">
            <a:spAutoFit/>
          </a:bodyPr>
          <a:lstStyle/>
          <a:p>
            <a:pPr algn="r" defTabSz="813232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pPr algn="r" defTabSz="81323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38943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88" tIns="40993" rIns="81988" bIns="40993" anchor="b" anchorCtr="0">
            <a:spAutoFit/>
          </a:bodyPr>
          <a:lstStyle/>
          <a:p>
            <a:pPr defTabSz="813232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Arial"/>
                <a:ea typeface="Apple LiGothic Medium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Arial"/>
              <a:ea typeface="Apple LiGothic Medium"/>
              <a:cs typeface="CiscoSans Thin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>
          <a:gsLst>
            <a:gs pos="34000">
              <a:srgbClr val="272749"/>
            </a:gs>
            <a:gs pos="93000">
              <a:srgbClr val="EE402F"/>
            </a:gs>
            <a:gs pos="0">
              <a:srgbClr val="272749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1" y="-3435"/>
            <a:ext cx="7869042" cy="24190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6" tIns="45639" rIns="91276" bIns="45639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" y="2415709"/>
            <a:ext cx="12192000" cy="44423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0" tIns="45641" rIns="91280" bIns="45641" rtlCol="0" anchor="ctr"/>
          <a:lstStyle/>
          <a:p>
            <a:pPr algn="ctr" defTabSz="608480" fontAlgn="auto">
              <a:spcBef>
                <a:spcPts val="0"/>
              </a:spcBef>
              <a:spcAft>
                <a:spcPts val="0"/>
              </a:spcAft>
            </a:pPr>
            <a:endParaRPr lang="en-IN" sz="2400" dirty="0" smtClean="0">
              <a:solidFill>
                <a:srgbClr val="FFFFFF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3286836"/>
            <a:ext cx="11068958" cy="859640"/>
          </a:xfrm>
          <a:prstGeom prst="rect">
            <a:avLst/>
          </a:prstGeom>
        </p:spPr>
        <p:txBody>
          <a:bodyPr anchor="b" anchorCtr="0"/>
          <a:lstStyle>
            <a:lvl1pPr marL="0" indent="0" algn="l" defTabSz="91284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i="0" kern="1200" spc="0" baseline="0" dirty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5" y="5938279"/>
            <a:ext cx="10816867" cy="384175"/>
          </a:xfrm>
          <a:prstGeom prst="rect">
            <a:avLst/>
          </a:prstGeom>
        </p:spPr>
        <p:txBody>
          <a:bodyPr lIns="121685" tIns="60843" rIns="121685" bIns="6084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70" y="410502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</p:grpSp>
      <p:cxnSp>
        <p:nvCxnSpPr>
          <p:cNvPr id="33" name="Straight Connector 32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964" y="-107149"/>
            <a:ext cx="6370005" cy="1271016"/>
          </a:xfrm>
          <a:prstGeom prst="rect">
            <a:avLst/>
          </a:prstGeom>
        </p:spPr>
      </p:pic>
      <p:pic>
        <p:nvPicPr>
          <p:cNvPr id="29" name="Picture 28" descr="CSAP Front Template.jpg"/>
          <p:cNvPicPr>
            <a:picLocks noChangeAspect="1"/>
          </p:cNvPicPr>
          <p:nvPr userDrawn="1"/>
        </p:nvPicPr>
        <p:blipFill rotWithShape="1">
          <a:blip r:embed="rId5" cstate="print"/>
          <a:srcRect l="23974" t="21591" b="37820"/>
          <a:stretch/>
        </p:blipFill>
        <p:spPr>
          <a:xfrm>
            <a:off x="7869042" y="0"/>
            <a:ext cx="4322958" cy="2419088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-animated gradient">
    <p:bg>
      <p:bgPr>
        <a:gradFill>
          <a:gsLst>
            <a:gs pos="34000">
              <a:srgbClr val="272749"/>
            </a:gs>
            <a:gs pos="93000">
              <a:srgbClr val="EE402F"/>
            </a:gs>
            <a:gs pos="0">
              <a:srgbClr val="272749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1" y="-3435"/>
            <a:ext cx="7869042" cy="24190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5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76" tIns="45639" rIns="91276" bIns="45639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" y="2415709"/>
            <a:ext cx="12192000" cy="44423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80" tIns="45641" rIns="91280" bIns="45641" rtlCol="0" anchor="ctr"/>
          <a:lstStyle/>
          <a:p>
            <a:pPr algn="ctr" defTabSz="608480" fontAlgn="auto">
              <a:spcBef>
                <a:spcPts val="0"/>
              </a:spcBef>
              <a:spcAft>
                <a:spcPts val="0"/>
              </a:spcAft>
            </a:pPr>
            <a:endParaRPr lang="en-IN" sz="2400" dirty="0" smtClean="0">
              <a:solidFill>
                <a:srgbClr val="FFFFFF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3286836"/>
            <a:ext cx="11068958" cy="859640"/>
          </a:xfrm>
          <a:prstGeom prst="rect">
            <a:avLst/>
          </a:prstGeom>
        </p:spPr>
        <p:txBody>
          <a:bodyPr anchor="b" anchorCtr="0"/>
          <a:lstStyle>
            <a:lvl1pPr marL="0" indent="0" algn="l" defTabSz="912842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i="0" kern="1200" spc="0" baseline="0" dirty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5" y="5938279"/>
            <a:ext cx="10816867" cy="384175"/>
          </a:xfrm>
          <a:prstGeom prst="rect">
            <a:avLst/>
          </a:prstGeom>
        </p:spPr>
        <p:txBody>
          <a:bodyPr lIns="121685" tIns="60843" rIns="121685" bIns="6084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70" y="410502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8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</p:grpSp>
      <p:cxnSp>
        <p:nvCxnSpPr>
          <p:cNvPr id="33" name="Straight Connector 32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CSAP Front Template.jpg"/>
          <p:cNvPicPr>
            <a:picLocks noChangeAspect="1"/>
          </p:cNvPicPr>
          <p:nvPr userDrawn="1"/>
        </p:nvPicPr>
        <p:blipFill rotWithShape="1">
          <a:blip r:embed="rId3" cstate="print"/>
          <a:srcRect l="23974" t="21591" b="37820"/>
          <a:stretch/>
        </p:blipFill>
        <p:spPr>
          <a:xfrm>
            <a:off x="7869042" y="0"/>
            <a:ext cx="4322958" cy="2419088"/>
          </a:xfrm>
          <a:prstGeom prst="rect">
            <a:avLst/>
          </a:prstGeom>
          <a:ln>
            <a:noFill/>
          </a:ln>
        </p:spPr>
      </p:pic>
    </p:spTree>
    <p:custDataLst>
      <p:tags r:id="rId1"/>
    </p:custDataLst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ChangeArrowheads="1"/>
          </p:cNvSpPr>
          <p:nvPr userDrawn="1"/>
        </p:nvSpPr>
        <p:spPr bwMode="auto">
          <a:xfrm>
            <a:off x="774273" y="1628800"/>
            <a:ext cx="4985014" cy="504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136921" tIns="36458" rIns="72918" bIns="36458" anchor="ctr"/>
          <a:lstStyle/>
          <a:p>
            <a:pPr defTabSz="813028"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endParaRPr lang="en-US" sz="2300" dirty="0">
              <a:solidFill>
                <a:srgbClr val="FFFFFF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431370" y="1628801"/>
            <a:ext cx="240001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72918" tIns="36458" rIns="72918" bIns="36458" anchor="ctr"/>
          <a:lstStyle/>
          <a:p>
            <a:pPr algn="ctr" defTabSz="608404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766499" y="1709192"/>
            <a:ext cx="3905515" cy="381000"/>
          </a:xfrm>
          <a:prstGeom prst="rect">
            <a:avLst/>
          </a:prstGeom>
        </p:spPr>
        <p:txBody>
          <a:bodyPr lIns="91280" tIns="45641" rIns="91280" bIns="45641"/>
          <a:lstStyle>
            <a:lvl1pPr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TelePresence</a:t>
            </a:r>
            <a:endParaRPr lang="en-US" dirty="0"/>
          </a:p>
        </p:txBody>
      </p:sp>
      <p:sp>
        <p:nvSpPr>
          <p:cNvPr id="7" name="Text Placeholder 49"/>
          <p:cNvSpPr>
            <a:spLocks noGrp="1"/>
          </p:cNvSpPr>
          <p:nvPr>
            <p:ph type="body" sz="quarter" idx="11" hasCustomPrompt="1"/>
          </p:nvPr>
        </p:nvSpPr>
        <p:spPr>
          <a:xfrm>
            <a:off x="862510" y="2276872"/>
            <a:ext cx="4512733" cy="3888432"/>
          </a:xfrm>
          <a:prstGeom prst="rect">
            <a:avLst/>
          </a:prstGeom>
        </p:spPr>
        <p:txBody>
          <a:bodyPr lIns="91280" tIns="45641" rIns="91280" bIns="4564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 item 1 or longer text</a:t>
            </a:r>
            <a:br>
              <a:rPr lang="en-US" dirty="0" smtClean="0"/>
            </a:br>
            <a:r>
              <a:rPr lang="en-US" dirty="0" smtClean="0"/>
              <a:t>Sub item 2</a:t>
            </a:r>
            <a:br>
              <a:rPr lang="en-US" dirty="0" smtClean="0"/>
            </a:br>
            <a:r>
              <a:rPr lang="en-US" dirty="0" smtClean="0"/>
              <a:t>Sub item 3</a:t>
            </a:r>
          </a:p>
          <a:p>
            <a:pPr lvl="0"/>
            <a:r>
              <a:rPr lang="en-US" dirty="0" smtClean="0"/>
              <a:t>Sub Item 4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6431361" y="1628800"/>
            <a:ext cx="4985014" cy="504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136921" tIns="36458" rIns="72918" bIns="36458" anchor="ctr"/>
          <a:lstStyle/>
          <a:p>
            <a:pPr defTabSz="813028"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</a:pPr>
            <a:endParaRPr lang="en-US" sz="2300" dirty="0">
              <a:solidFill>
                <a:srgbClr val="FFFFFF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6088459" y="1628801"/>
            <a:ext cx="240001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72918" tIns="36458" rIns="72918" bIns="36458" anchor="ctr"/>
          <a:lstStyle/>
          <a:p>
            <a:pPr algn="ctr" defTabSz="608404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6423641" y="1709192"/>
            <a:ext cx="4760977" cy="381000"/>
          </a:xfrm>
          <a:prstGeom prst="rect">
            <a:avLst/>
          </a:prstGeom>
        </p:spPr>
        <p:txBody>
          <a:bodyPr lIns="91280" tIns="45641" rIns="91280" bIns="45641"/>
          <a:lstStyle>
            <a:lvl1pPr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Application Workshop</a:t>
            </a:r>
            <a:endParaRPr lang="en-US" dirty="0"/>
          </a:p>
        </p:txBody>
      </p:sp>
      <p:sp>
        <p:nvSpPr>
          <p:cNvPr id="11" name="Text Placeholder 49"/>
          <p:cNvSpPr>
            <a:spLocks noGrp="1"/>
          </p:cNvSpPr>
          <p:nvPr>
            <p:ph type="body" sz="quarter" idx="15" hasCustomPrompt="1"/>
          </p:nvPr>
        </p:nvSpPr>
        <p:spPr>
          <a:xfrm>
            <a:off x="6519599" y="2276872"/>
            <a:ext cx="4512733" cy="1440160"/>
          </a:xfrm>
          <a:prstGeom prst="rect">
            <a:avLst/>
          </a:prstGeom>
        </p:spPr>
        <p:txBody>
          <a:bodyPr lIns="91280" tIns="45641" rIns="91280" bIns="4564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 item 1 or longer text</a:t>
            </a:r>
            <a:br>
              <a:rPr lang="en-US" dirty="0" smtClean="0"/>
            </a:br>
            <a:r>
              <a:rPr lang="en-US" dirty="0" smtClean="0"/>
              <a:t>Sub item 2</a:t>
            </a:r>
            <a:br>
              <a:rPr lang="en-US" dirty="0" smtClean="0"/>
            </a:br>
            <a:r>
              <a:rPr lang="en-US" dirty="0" smtClean="0"/>
              <a:t>Sub item 3</a:t>
            </a:r>
          </a:p>
          <a:p>
            <a:pPr lvl="0"/>
            <a:r>
              <a:rPr lang="en-US" dirty="0" smtClean="0"/>
              <a:t>Sub Item 4</a:t>
            </a:r>
          </a:p>
        </p:txBody>
      </p:sp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6431361" y="4005064"/>
            <a:ext cx="4985014" cy="504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0" scaled="0"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136921" tIns="36458" rIns="72918" bIns="36458" anchor="ctr"/>
          <a:lstStyle/>
          <a:p>
            <a:pPr defTabSz="813028"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</a:pPr>
            <a:endParaRPr lang="en-US" sz="2300" dirty="0">
              <a:solidFill>
                <a:srgbClr val="FFFFFF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6088459" y="4005065"/>
            <a:ext cx="240001" cy="504000"/>
          </a:xfrm>
          <a:prstGeom prst="rect">
            <a:avLst/>
          </a:prstGeom>
          <a:solidFill>
            <a:schemeClr val="accent1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lIns="72918" tIns="36458" rIns="72918" bIns="36458" anchor="ctr"/>
          <a:lstStyle/>
          <a:p>
            <a:pPr algn="ctr" defTabSz="608404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6423588" y="4085456"/>
            <a:ext cx="3905515" cy="381000"/>
          </a:xfrm>
          <a:prstGeom prst="rect">
            <a:avLst/>
          </a:prstGeom>
        </p:spPr>
        <p:txBody>
          <a:bodyPr lIns="91280" tIns="45641" rIns="91280" bIns="45641"/>
          <a:lstStyle>
            <a:lvl1pPr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WebEx</a:t>
            </a:r>
            <a:endParaRPr lang="en-US" dirty="0"/>
          </a:p>
        </p:txBody>
      </p:sp>
      <p:sp>
        <p:nvSpPr>
          <p:cNvPr id="15" name="Text Placeholder 49"/>
          <p:cNvSpPr>
            <a:spLocks noGrp="1"/>
          </p:cNvSpPr>
          <p:nvPr>
            <p:ph type="body" sz="quarter" idx="17" hasCustomPrompt="1"/>
          </p:nvPr>
        </p:nvSpPr>
        <p:spPr>
          <a:xfrm>
            <a:off x="6519599" y="4653136"/>
            <a:ext cx="4512733" cy="1440160"/>
          </a:xfrm>
          <a:prstGeom prst="rect">
            <a:avLst/>
          </a:prstGeom>
        </p:spPr>
        <p:txBody>
          <a:bodyPr lIns="91280" tIns="45641" rIns="91280" bIns="45641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 item 1 or longer text</a:t>
            </a:r>
            <a:br>
              <a:rPr lang="en-US" dirty="0" smtClean="0"/>
            </a:br>
            <a:r>
              <a:rPr lang="en-US" dirty="0" smtClean="0"/>
              <a:t>Sub item 2</a:t>
            </a:r>
            <a:br>
              <a:rPr lang="en-US" dirty="0" smtClean="0"/>
            </a:br>
            <a:r>
              <a:rPr lang="en-US" dirty="0" smtClean="0"/>
              <a:t>Sub item 3</a:t>
            </a:r>
          </a:p>
          <a:p>
            <a:pPr lvl="0"/>
            <a:r>
              <a:rPr lang="en-US" dirty="0" smtClean="0"/>
              <a:t>Sub Item 4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10250895" y="301639"/>
            <a:ext cx="1170294" cy="1128713"/>
            <a:chOff x="6104" y="190"/>
            <a:chExt cx="737" cy="711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6104" y="190"/>
              <a:ext cx="737" cy="7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8" name="Freeform 5"/>
            <p:cNvSpPr>
              <a:spLocks noEditPoints="1"/>
            </p:cNvSpPr>
            <p:nvPr userDrawn="1"/>
          </p:nvSpPr>
          <p:spPr bwMode="auto">
            <a:xfrm>
              <a:off x="6104" y="190"/>
              <a:ext cx="737" cy="711"/>
            </a:xfrm>
            <a:custGeom>
              <a:avLst/>
              <a:gdLst>
                <a:gd name="T0" fmla="*/ 736 w 737"/>
                <a:gd name="T1" fmla="*/ 305 h 711"/>
                <a:gd name="T2" fmla="*/ 698 w 737"/>
                <a:gd name="T3" fmla="*/ 192 h 711"/>
                <a:gd name="T4" fmla="*/ 628 w 737"/>
                <a:gd name="T5" fmla="*/ 99 h 711"/>
                <a:gd name="T6" fmla="*/ 530 w 737"/>
                <a:gd name="T7" fmla="*/ 34 h 711"/>
                <a:gd name="T8" fmla="*/ 413 w 737"/>
                <a:gd name="T9" fmla="*/ 0 h 711"/>
                <a:gd name="T10" fmla="*/ 472 w 737"/>
                <a:gd name="T11" fmla="*/ 61 h 711"/>
                <a:gd name="T12" fmla="*/ 472 w 737"/>
                <a:gd name="T13" fmla="*/ 63 h 711"/>
                <a:gd name="T14" fmla="*/ 464 w 737"/>
                <a:gd name="T15" fmla="*/ 72 h 711"/>
                <a:gd name="T16" fmla="*/ 431 w 737"/>
                <a:gd name="T17" fmla="*/ 129 h 711"/>
                <a:gd name="T18" fmla="*/ 496 w 737"/>
                <a:gd name="T19" fmla="*/ 156 h 711"/>
                <a:gd name="T20" fmla="*/ 549 w 737"/>
                <a:gd name="T21" fmla="*/ 200 h 711"/>
                <a:gd name="T22" fmla="*/ 589 w 737"/>
                <a:gd name="T23" fmla="*/ 256 h 711"/>
                <a:gd name="T24" fmla="*/ 606 w 737"/>
                <a:gd name="T25" fmla="*/ 305 h 711"/>
                <a:gd name="T26" fmla="*/ 60 w 737"/>
                <a:gd name="T27" fmla="*/ 254 h 711"/>
                <a:gd name="T28" fmla="*/ 68 w 737"/>
                <a:gd name="T29" fmla="*/ 253 h 711"/>
                <a:gd name="T30" fmla="*/ 81 w 737"/>
                <a:gd name="T31" fmla="*/ 258 h 711"/>
                <a:gd name="T32" fmla="*/ 140 w 737"/>
                <a:gd name="T33" fmla="*/ 275 h 711"/>
                <a:gd name="T34" fmla="*/ 174 w 737"/>
                <a:gd name="T35" fmla="*/ 216 h 711"/>
                <a:gd name="T36" fmla="*/ 223 w 737"/>
                <a:gd name="T37" fmla="*/ 168 h 711"/>
                <a:gd name="T38" fmla="*/ 284 w 737"/>
                <a:gd name="T39" fmla="*/ 135 h 711"/>
                <a:gd name="T40" fmla="*/ 320 w 737"/>
                <a:gd name="T41" fmla="*/ 0 h 711"/>
                <a:gd name="T42" fmla="*/ 230 w 737"/>
                <a:gd name="T43" fmla="*/ 24 h 711"/>
                <a:gd name="T44" fmla="*/ 126 w 737"/>
                <a:gd name="T45" fmla="*/ 84 h 711"/>
                <a:gd name="T46" fmla="*/ 49 w 737"/>
                <a:gd name="T47" fmla="*/ 174 h 711"/>
                <a:gd name="T48" fmla="*/ 5 w 737"/>
                <a:gd name="T49" fmla="*/ 284 h 711"/>
                <a:gd name="T50" fmla="*/ 684 w 737"/>
                <a:gd name="T51" fmla="*/ 448 h 711"/>
                <a:gd name="T52" fmla="*/ 671 w 737"/>
                <a:gd name="T53" fmla="*/ 453 h 711"/>
                <a:gd name="T54" fmla="*/ 670 w 737"/>
                <a:gd name="T55" fmla="*/ 453 h 711"/>
                <a:gd name="T56" fmla="*/ 657 w 737"/>
                <a:gd name="T57" fmla="*/ 448 h 711"/>
                <a:gd name="T58" fmla="*/ 598 w 737"/>
                <a:gd name="T59" fmla="*/ 432 h 711"/>
                <a:gd name="T60" fmla="*/ 565 w 737"/>
                <a:gd name="T61" fmla="*/ 494 h 711"/>
                <a:gd name="T62" fmla="*/ 514 w 737"/>
                <a:gd name="T63" fmla="*/ 542 h 711"/>
                <a:gd name="T64" fmla="*/ 450 w 737"/>
                <a:gd name="T65" fmla="*/ 576 h 711"/>
                <a:gd name="T66" fmla="*/ 422 w 737"/>
                <a:gd name="T67" fmla="*/ 710 h 711"/>
                <a:gd name="T68" fmla="*/ 512 w 737"/>
                <a:gd name="T69" fmla="*/ 685 h 711"/>
                <a:gd name="T70" fmla="*/ 614 w 737"/>
                <a:gd name="T71" fmla="*/ 624 h 711"/>
                <a:gd name="T72" fmla="*/ 689 w 737"/>
                <a:gd name="T73" fmla="*/ 534 h 711"/>
                <a:gd name="T74" fmla="*/ 733 w 737"/>
                <a:gd name="T75" fmla="*/ 423 h 711"/>
                <a:gd name="T76" fmla="*/ 271 w 737"/>
                <a:gd name="T77" fmla="*/ 656 h 711"/>
                <a:gd name="T78" fmla="*/ 266 w 737"/>
                <a:gd name="T79" fmla="*/ 645 h 711"/>
                <a:gd name="T80" fmla="*/ 266 w 737"/>
                <a:gd name="T81" fmla="*/ 643 h 711"/>
                <a:gd name="T82" fmla="*/ 322 w 737"/>
                <a:gd name="T83" fmla="*/ 586 h 711"/>
                <a:gd name="T84" fmla="*/ 253 w 737"/>
                <a:gd name="T85" fmla="*/ 561 h 711"/>
                <a:gd name="T86" fmla="*/ 196 w 737"/>
                <a:gd name="T87" fmla="*/ 520 h 711"/>
                <a:gd name="T88" fmla="*/ 154 w 737"/>
                <a:gd name="T89" fmla="*/ 464 h 711"/>
                <a:gd name="T90" fmla="*/ 130 w 737"/>
                <a:gd name="T91" fmla="*/ 398 h 711"/>
                <a:gd name="T92" fmla="*/ 6 w 737"/>
                <a:gd name="T93" fmla="*/ 433 h 711"/>
                <a:gd name="T94" fmla="*/ 53 w 737"/>
                <a:gd name="T95" fmla="*/ 543 h 711"/>
                <a:gd name="T96" fmla="*/ 134 w 737"/>
                <a:gd name="T97" fmla="*/ 632 h 711"/>
                <a:gd name="T98" fmla="*/ 239 w 737"/>
                <a:gd name="T99" fmla="*/ 690 h 711"/>
                <a:gd name="T100" fmla="*/ 271 w 737"/>
                <a:gd name="T101" fmla="*/ 656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37" h="711">
                  <a:moveTo>
                    <a:pt x="606" y="305"/>
                  </a:moveTo>
                  <a:lnTo>
                    <a:pt x="670" y="371"/>
                  </a:lnTo>
                  <a:lnTo>
                    <a:pt x="736" y="305"/>
                  </a:lnTo>
                  <a:lnTo>
                    <a:pt x="736" y="305"/>
                  </a:lnTo>
                  <a:lnTo>
                    <a:pt x="731" y="275"/>
                  </a:lnTo>
                  <a:lnTo>
                    <a:pt x="722" y="247"/>
                  </a:lnTo>
                  <a:lnTo>
                    <a:pt x="711" y="220"/>
                  </a:lnTo>
                  <a:lnTo>
                    <a:pt x="698" y="192"/>
                  </a:lnTo>
                  <a:lnTo>
                    <a:pt x="684" y="168"/>
                  </a:lnTo>
                  <a:lnTo>
                    <a:pt x="668" y="143"/>
                  </a:lnTo>
                  <a:lnTo>
                    <a:pt x="648" y="120"/>
                  </a:lnTo>
                  <a:lnTo>
                    <a:pt x="628" y="99"/>
                  </a:lnTo>
                  <a:lnTo>
                    <a:pt x="606" y="81"/>
                  </a:lnTo>
                  <a:lnTo>
                    <a:pt x="583" y="63"/>
                  </a:lnTo>
                  <a:lnTo>
                    <a:pt x="557" y="47"/>
                  </a:lnTo>
                  <a:lnTo>
                    <a:pt x="530" y="34"/>
                  </a:lnTo>
                  <a:lnTo>
                    <a:pt x="503" y="21"/>
                  </a:lnTo>
                  <a:lnTo>
                    <a:pt x="473" y="12"/>
                  </a:lnTo>
                  <a:lnTo>
                    <a:pt x="444" y="5"/>
                  </a:lnTo>
                  <a:lnTo>
                    <a:pt x="413" y="0"/>
                  </a:lnTo>
                  <a:lnTo>
                    <a:pt x="467" y="50"/>
                  </a:lnTo>
                  <a:lnTo>
                    <a:pt x="467" y="50"/>
                  </a:lnTo>
                  <a:lnTo>
                    <a:pt x="471" y="55"/>
                  </a:lnTo>
                  <a:lnTo>
                    <a:pt x="472" y="61"/>
                  </a:lnTo>
                  <a:lnTo>
                    <a:pt x="472" y="61"/>
                  </a:lnTo>
                  <a:lnTo>
                    <a:pt x="472" y="62"/>
                  </a:lnTo>
                  <a:lnTo>
                    <a:pt x="472" y="62"/>
                  </a:lnTo>
                  <a:lnTo>
                    <a:pt x="472" y="63"/>
                  </a:lnTo>
                  <a:lnTo>
                    <a:pt x="472" y="63"/>
                  </a:lnTo>
                  <a:lnTo>
                    <a:pt x="471" y="69"/>
                  </a:lnTo>
                  <a:lnTo>
                    <a:pt x="467" y="74"/>
                  </a:lnTo>
                  <a:lnTo>
                    <a:pt x="464" y="72"/>
                  </a:lnTo>
                  <a:lnTo>
                    <a:pt x="467" y="74"/>
                  </a:lnTo>
                  <a:lnTo>
                    <a:pt x="413" y="125"/>
                  </a:lnTo>
                  <a:lnTo>
                    <a:pt x="413" y="125"/>
                  </a:lnTo>
                  <a:lnTo>
                    <a:pt x="431" y="129"/>
                  </a:lnTo>
                  <a:lnTo>
                    <a:pt x="448" y="134"/>
                  </a:lnTo>
                  <a:lnTo>
                    <a:pt x="464" y="140"/>
                  </a:lnTo>
                  <a:lnTo>
                    <a:pt x="481" y="148"/>
                  </a:lnTo>
                  <a:lnTo>
                    <a:pt x="496" y="156"/>
                  </a:lnTo>
                  <a:lnTo>
                    <a:pt x="511" y="165"/>
                  </a:lnTo>
                  <a:lnTo>
                    <a:pt x="525" y="176"/>
                  </a:lnTo>
                  <a:lnTo>
                    <a:pt x="538" y="187"/>
                  </a:lnTo>
                  <a:lnTo>
                    <a:pt x="549" y="200"/>
                  </a:lnTo>
                  <a:lnTo>
                    <a:pt x="561" y="212"/>
                  </a:lnTo>
                  <a:lnTo>
                    <a:pt x="571" y="226"/>
                  </a:lnTo>
                  <a:lnTo>
                    <a:pt x="580" y="241"/>
                  </a:lnTo>
                  <a:lnTo>
                    <a:pt x="589" y="256"/>
                  </a:lnTo>
                  <a:lnTo>
                    <a:pt x="596" y="272"/>
                  </a:lnTo>
                  <a:lnTo>
                    <a:pt x="602" y="288"/>
                  </a:lnTo>
                  <a:lnTo>
                    <a:pt x="606" y="305"/>
                  </a:lnTo>
                  <a:lnTo>
                    <a:pt x="606" y="305"/>
                  </a:lnTo>
                  <a:close/>
                  <a:moveTo>
                    <a:pt x="58" y="262"/>
                  </a:moveTo>
                  <a:lnTo>
                    <a:pt x="55" y="258"/>
                  </a:lnTo>
                  <a:lnTo>
                    <a:pt x="55" y="258"/>
                  </a:lnTo>
                  <a:lnTo>
                    <a:pt x="60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75" y="254"/>
                  </a:lnTo>
                  <a:lnTo>
                    <a:pt x="81" y="258"/>
                  </a:lnTo>
                  <a:lnTo>
                    <a:pt x="130" y="309"/>
                  </a:lnTo>
                  <a:lnTo>
                    <a:pt x="130" y="309"/>
                  </a:lnTo>
                  <a:lnTo>
                    <a:pt x="135" y="292"/>
                  </a:lnTo>
                  <a:lnTo>
                    <a:pt x="140" y="275"/>
                  </a:lnTo>
                  <a:lnTo>
                    <a:pt x="147" y="259"/>
                  </a:lnTo>
                  <a:lnTo>
                    <a:pt x="154" y="244"/>
                  </a:lnTo>
                  <a:lnTo>
                    <a:pt x="163" y="230"/>
                  </a:lnTo>
                  <a:lnTo>
                    <a:pt x="174" y="216"/>
                  </a:lnTo>
                  <a:lnTo>
                    <a:pt x="184" y="202"/>
                  </a:lnTo>
                  <a:lnTo>
                    <a:pt x="196" y="190"/>
                  </a:lnTo>
                  <a:lnTo>
                    <a:pt x="208" y="179"/>
                  </a:lnTo>
                  <a:lnTo>
                    <a:pt x="223" y="168"/>
                  </a:lnTo>
                  <a:lnTo>
                    <a:pt x="237" y="159"/>
                  </a:lnTo>
                  <a:lnTo>
                    <a:pt x="252" y="150"/>
                  </a:lnTo>
                  <a:lnTo>
                    <a:pt x="268" y="141"/>
                  </a:lnTo>
                  <a:lnTo>
                    <a:pt x="284" y="135"/>
                  </a:lnTo>
                  <a:lnTo>
                    <a:pt x="301" y="130"/>
                  </a:lnTo>
                  <a:lnTo>
                    <a:pt x="319" y="125"/>
                  </a:lnTo>
                  <a:lnTo>
                    <a:pt x="388" y="62"/>
                  </a:lnTo>
                  <a:lnTo>
                    <a:pt x="320" y="0"/>
                  </a:lnTo>
                  <a:lnTo>
                    <a:pt x="320" y="0"/>
                  </a:lnTo>
                  <a:lnTo>
                    <a:pt x="289" y="6"/>
                  </a:lnTo>
                  <a:lnTo>
                    <a:pt x="260" y="14"/>
                  </a:lnTo>
                  <a:lnTo>
                    <a:pt x="230" y="24"/>
                  </a:lnTo>
                  <a:lnTo>
                    <a:pt x="202" y="36"/>
                  </a:lnTo>
                  <a:lnTo>
                    <a:pt x="176" y="50"/>
                  </a:lnTo>
                  <a:lnTo>
                    <a:pt x="150" y="66"/>
                  </a:lnTo>
                  <a:lnTo>
                    <a:pt x="126" y="84"/>
                  </a:lnTo>
                  <a:lnTo>
                    <a:pt x="104" y="104"/>
                  </a:lnTo>
                  <a:lnTo>
                    <a:pt x="84" y="125"/>
                  </a:lnTo>
                  <a:lnTo>
                    <a:pt x="66" y="149"/>
                  </a:lnTo>
                  <a:lnTo>
                    <a:pt x="49" y="174"/>
                  </a:lnTo>
                  <a:lnTo>
                    <a:pt x="35" y="200"/>
                  </a:lnTo>
                  <a:lnTo>
                    <a:pt x="23" y="227"/>
                  </a:lnTo>
                  <a:lnTo>
                    <a:pt x="13" y="254"/>
                  </a:lnTo>
                  <a:lnTo>
                    <a:pt x="5" y="284"/>
                  </a:lnTo>
                  <a:lnTo>
                    <a:pt x="0" y="314"/>
                  </a:lnTo>
                  <a:lnTo>
                    <a:pt x="55" y="258"/>
                  </a:lnTo>
                  <a:lnTo>
                    <a:pt x="58" y="262"/>
                  </a:lnTo>
                  <a:close/>
                  <a:moveTo>
                    <a:pt x="684" y="448"/>
                  </a:moveTo>
                  <a:lnTo>
                    <a:pt x="684" y="448"/>
                  </a:lnTo>
                  <a:lnTo>
                    <a:pt x="678" y="452"/>
                  </a:lnTo>
                  <a:lnTo>
                    <a:pt x="671" y="453"/>
                  </a:lnTo>
                  <a:lnTo>
                    <a:pt x="671" y="453"/>
                  </a:lnTo>
                  <a:lnTo>
                    <a:pt x="670" y="453"/>
                  </a:lnTo>
                  <a:lnTo>
                    <a:pt x="670" y="453"/>
                  </a:lnTo>
                  <a:lnTo>
                    <a:pt x="670" y="453"/>
                  </a:lnTo>
                  <a:lnTo>
                    <a:pt x="670" y="453"/>
                  </a:lnTo>
                  <a:lnTo>
                    <a:pt x="664" y="452"/>
                  </a:lnTo>
                  <a:lnTo>
                    <a:pt x="657" y="448"/>
                  </a:lnTo>
                  <a:lnTo>
                    <a:pt x="660" y="444"/>
                  </a:lnTo>
                  <a:lnTo>
                    <a:pt x="657" y="448"/>
                  </a:lnTo>
                  <a:lnTo>
                    <a:pt x="607" y="397"/>
                  </a:lnTo>
                  <a:lnTo>
                    <a:pt x="607" y="397"/>
                  </a:lnTo>
                  <a:lnTo>
                    <a:pt x="603" y="414"/>
                  </a:lnTo>
                  <a:lnTo>
                    <a:pt x="598" y="432"/>
                  </a:lnTo>
                  <a:lnTo>
                    <a:pt x="592" y="448"/>
                  </a:lnTo>
                  <a:lnTo>
                    <a:pt x="584" y="464"/>
                  </a:lnTo>
                  <a:lnTo>
                    <a:pt x="575" y="479"/>
                  </a:lnTo>
                  <a:lnTo>
                    <a:pt x="565" y="494"/>
                  </a:lnTo>
                  <a:lnTo>
                    <a:pt x="553" y="508"/>
                  </a:lnTo>
                  <a:lnTo>
                    <a:pt x="541" y="520"/>
                  </a:lnTo>
                  <a:lnTo>
                    <a:pt x="529" y="532"/>
                  </a:lnTo>
                  <a:lnTo>
                    <a:pt x="514" y="542"/>
                  </a:lnTo>
                  <a:lnTo>
                    <a:pt x="499" y="552"/>
                  </a:lnTo>
                  <a:lnTo>
                    <a:pt x="484" y="562"/>
                  </a:lnTo>
                  <a:lnTo>
                    <a:pt x="467" y="570"/>
                  </a:lnTo>
                  <a:lnTo>
                    <a:pt x="450" y="576"/>
                  </a:lnTo>
                  <a:lnTo>
                    <a:pt x="432" y="581"/>
                  </a:lnTo>
                  <a:lnTo>
                    <a:pt x="414" y="586"/>
                  </a:lnTo>
                  <a:lnTo>
                    <a:pt x="350" y="644"/>
                  </a:lnTo>
                  <a:lnTo>
                    <a:pt x="422" y="710"/>
                  </a:lnTo>
                  <a:lnTo>
                    <a:pt x="422" y="710"/>
                  </a:lnTo>
                  <a:lnTo>
                    <a:pt x="453" y="704"/>
                  </a:lnTo>
                  <a:lnTo>
                    <a:pt x="482" y="696"/>
                  </a:lnTo>
                  <a:lnTo>
                    <a:pt x="512" y="685"/>
                  </a:lnTo>
                  <a:lnTo>
                    <a:pt x="539" y="673"/>
                  </a:lnTo>
                  <a:lnTo>
                    <a:pt x="566" y="659"/>
                  </a:lnTo>
                  <a:lnTo>
                    <a:pt x="590" y="642"/>
                  </a:lnTo>
                  <a:lnTo>
                    <a:pt x="614" y="624"/>
                  </a:lnTo>
                  <a:lnTo>
                    <a:pt x="635" y="603"/>
                  </a:lnTo>
                  <a:lnTo>
                    <a:pt x="656" y="582"/>
                  </a:lnTo>
                  <a:lnTo>
                    <a:pt x="674" y="558"/>
                  </a:lnTo>
                  <a:lnTo>
                    <a:pt x="689" y="534"/>
                  </a:lnTo>
                  <a:lnTo>
                    <a:pt x="704" y="508"/>
                  </a:lnTo>
                  <a:lnTo>
                    <a:pt x="716" y="480"/>
                  </a:lnTo>
                  <a:lnTo>
                    <a:pt x="725" y="453"/>
                  </a:lnTo>
                  <a:lnTo>
                    <a:pt x="733" y="423"/>
                  </a:lnTo>
                  <a:lnTo>
                    <a:pt x="737" y="393"/>
                  </a:lnTo>
                  <a:lnTo>
                    <a:pt x="684" y="448"/>
                  </a:lnTo>
                  <a:close/>
                  <a:moveTo>
                    <a:pt x="274" y="654"/>
                  </a:moveTo>
                  <a:lnTo>
                    <a:pt x="271" y="656"/>
                  </a:lnTo>
                  <a:lnTo>
                    <a:pt x="271" y="656"/>
                  </a:lnTo>
                  <a:lnTo>
                    <a:pt x="268" y="651"/>
                  </a:lnTo>
                  <a:lnTo>
                    <a:pt x="266" y="645"/>
                  </a:lnTo>
                  <a:lnTo>
                    <a:pt x="266" y="645"/>
                  </a:lnTo>
                  <a:lnTo>
                    <a:pt x="266" y="644"/>
                  </a:lnTo>
                  <a:lnTo>
                    <a:pt x="266" y="644"/>
                  </a:lnTo>
                  <a:lnTo>
                    <a:pt x="266" y="643"/>
                  </a:lnTo>
                  <a:lnTo>
                    <a:pt x="266" y="643"/>
                  </a:lnTo>
                  <a:lnTo>
                    <a:pt x="268" y="637"/>
                  </a:lnTo>
                  <a:lnTo>
                    <a:pt x="271" y="632"/>
                  </a:lnTo>
                  <a:lnTo>
                    <a:pt x="322" y="586"/>
                  </a:lnTo>
                  <a:lnTo>
                    <a:pt x="322" y="586"/>
                  </a:lnTo>
                  <a:lnTo>
                    <a:pt x="304" y="581"/>
                  </a:lnTo>
                  <a:lnTo>
                    <a:pt x="287" y="576"/>
                  </a:lnTo>
                  <a:lnTo>
                    <a:pt x="270" y="570"/>
                  </a:lnTo>
                  <a:lnTo>
                    <a:pt x="253" y="561"/>
                  </a:lnTo>
                  <a:lnTo>
                    <a:pt x="238" y="552"/>
                  </a:lnTo>
                  <a:lnTo>
                    <a:pt x="223" y="542"/>
                  </a:lnTo>
                  <a:lnTo>
                    <a:pt x="210" y="532"/>
                  </a:lnTo>
                  <a:lnTo>
                    <a:pt x="196" y="520"/>
                  </a:lnTo>
                  <a:lnTo>
                    <a:pt x="184" y="508"/>
                  </a:lnTo>
                  <a:lnTo>
                    <a:pt x="172" y="494"/>
                  </a:lnTo>
                  <a:lnTo>
                    <a:pt x="163" y="479"/>
                  </a:lnTo>
                  <a:lnTo>
                    <a:pt x="154" y="464"/>
                  </a:lnTo>
                  <a:lnTo>
                    <a:pt x="145" y="449"/>
                  </a:lnTo>
                  <a:lnTo>
                    <a:pt x="139" y="432"/>
                  </a:lnTo>
                  <a:lnTo>
                    <a:pt x="134" y="416"/>
                  </a:lnTo>
                  <a:lnTo>
                    <a:pt x="130" y="398"/>
                  </a:lnTo>
                  <a:lnTo>
                    <a:pt x="68" y="335"/>
                  </a:lnTo>
                  <a:lnTo>
                    <a:pt x="1" y="403"/>
                  </a:lnTo>
                  <a:lnTo>
                    <a:pt x="1" y="403"/>
                  </a:lnTo>
                  <a:lnTo>
                    <a:pt x="6" y="433"/>
                  </a:lnTo>
                  <a:lnTo>
                    <a:pt x="14" y="463"/>
                  </a:lnTo>
                  <a:lnTo>
                    <a:pt x="26" y="490"/>
                  </a:lnTo>
                  <a:lnTo>
                    <a:pt x="39" y="517"/>
                  </a:lnTo>
                  <a:lnTo>
                    <a:pt x="53" y="543"/>
                  </a:lnTo>
                  <a:lnTo>
                    <a:pt x="71" y="568"/>
                  </a:lnTo>
                  <a:lnTo>
                    <a:pt x="90" y="591"/>
                  </a:lnTo>
                  <a:lnTo>
                    <a:pt x="111" y="612"/>
                  </a:lnTo>
                  <a:lnTo>
                    <a:pt x="134" y="632"/>
                  </a:lnTo>
                  <a:lnTo>
                    <a:pt x="157" y="649"/>
                  </a:lnTo>
                  <a:lnTo>
                    <a:pt x="184" y="665"/>
                  </a:lnTo>
                  <a:lnTo>
                    <a:pt x="211" y="679"/>
                  </a:lnTo>
                  <a:lnTo>
                    <a:pt x="239" y="690"/>
                  </a:lnTo>
                  <a:lnTo>
                    <a:pt x="269" y="700"/>
                  </a:lnTo>
                  <a:lnTo>
                    <a:pt x="300" y="707"/>
                  </a:lnTo>
                  <a:lnTo>
                    <a:pt x="331" y="711"/>
                  </a:lnTo>
                  <a:lnTo>
                    <a:pt x="271" y="656"/>
                  </a:lnTo>
                  <a:lnTo>
                    <a:pt x="274" y="65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9" name="Freeform 6"/>
            <p:cNvSpPr>
              <a:spLocks noEditPoints="1"/>
            </p:cNvSpPr>
            <p:nvPr userDrawn="1"/>
          </p:nvSpPr>
          <p:spPr bwMode="auto">
            <a:xfrm>
              <a:off x="6301" y="379"/>
              <a:ext cx="343" cy="331"/>
            </a:xfrm>
            <a:custGeom>
              <a:avLst/>
              <a:gdLst>
                <a:gd name="T0" fmla="*/ 236 w 343"/>
                <a:gd name="T1" fmla="*/ 42 h 331"/>
                <a:gd name="T2" fmla="*/ 235 w 343"/>
                <a:gd name="T3" fmla="*/ 39 h 331"/>
                <a:gd name="T4" fmla="*/ 236 w 343"/>
                <a:gd name="T5" fmla="*/ 37 h 331"/>
                <a:gd name="T6" fmla="*/ 238 w 343"/>
                <a:gd name="T7" fmla="*/ 36 h 331"/>
                <a:gd name="T8" fmla="*/ 278 w 343"/>
                <a:gd name="T9" fmla="*/ 34 h 331"/>
                <a:gd name="T10" fmla="*/ 253 w 343"/>
                <a:gd name="T11" fmla="*/ 19 h 331"/>
                <a:gd name="T12" fmla="*/ 215 w 343"/>
                <a:gd name="T13" fmla="*/ 5 h 331"/>
                <a:gd name="T14" fmla="*/ 173 w 343"/>
                <a:gd name="T15" fmla="*/ 0 h 331"/>
                <a:gd name="T16" fmla="*/ 132 w 343"/>
                <a:gd name="T17" fmla="*/ 5 h 331"/>
                <a:gd name="T18" fmla="*/ 92 w 343"/>
                <a:gd name="T19" fmla="*/ 18 h 331"/>
                <a:gd name="T20" fmla="*/ 68 w 343"/>
                <a:gd name="T21" fmla="*/ 75 h 331"/>
                <a:gd name="T22" fmla="*/ 126 w 343"/>
                <a:gd name="T23" fmla="*/ 67 h 331"/>
                <a:gd name="T24" fmla="*/ 173 w 343"/>
                <a:gd name="T25" fmla="*/ 57 h 331"/>
                <a:gd name="T26" fmla="*/ 221 w 343"/>
                <a:gd name="T27" fmla="*/ 68 h 331"/>
                <a:gd name="T28" fmla="*/ 78 w 343"/>
                <a:gd name="T29" fmla="*/ 225 h 331"/>
                <a:gd name="T30" fmla="*/ 64 w 343"/>
                <a:gd name="T31" fmla="*/ 196 h 331"/>
                <a:gd name="T32" fmla="*/ 60 w 343"/>
                <a:gd name="T33" fmla="*/ 149 h 331"/>
                <a:gd name="T34" fmla="*/ 80 w 343"/>
                <a:gd name="T35" fmla="*/ 103 h 331"/>
                <a:gd name="T36" fmla="*/ 46 w 343"/>
                <a:gd name="T37" fmla="*/ 104 h 331"/>
                <a:gd name="T38" fmla="*/ 40 w 343"/>
                <a:gd name="T39" fmla="*/ 101 h 331"/>
                <a:gd name="T40" fmla="*/ 40 w 343"/>
                <a:gd name="T41" fmla="*/ 101 h 331"/>
                <a:gd name="T42" fmla="*/ 38 w 343"/>
                <a:gd name="T43" fmla="*/ 99 h 331"/>
                <a:gd name="T44" fmla="*/ 38 w 343"/>
                <a:gd name="T45" fmla="*/ 62 h 331"/>
                <a:gd name="T46" fmla="*/ 15 w 343"/>
                <a:gd name="T47" fmla="*/ 96 h 331"/>
                <a:gd name="T48" fmla="*/ 4 w 343"/>
                <a:gd name="T49" fmla="*/ 135 h 331"/>
                <a:gd name="T50" fmla="*/ 1 w 343"/>
                <a:gd name="T51" fmla="*/ 176 h 331"/>
                <a:gd name="T52" fmla="*/ 9 w 343"/>
                <a:gd name="T53" fmla="*/ 216 h 331"/>
                <a:gd name="T54" fmla="*/ 27 w 343"/>
                <a:gd name="T55" fmla="*/ 253 h 331"/>
                <a:gd name="T56" fmla="*/ 78 w 343"/>
                <a:gd name="T57" fmla="*/ 225 h 331"/>
                <a:gd name="T58" fmla="*/ 266 w 343"/>
                <a:gd name="T59" fmla="*/ 106 h 331"/>
                <a:gd name="T60" fmla="*/ 280 w 343"/>
                <a:gd name="T61" fmla="*/ 135 h 331"/>
                <a:gd name="T62" fmla="*/ 283 w 343"/>
                <a:gd name="T63" fmla="*/ 181 h 331"/>
                <a:gd name="T64" fmla="*/ 265 w 343"/>
                <a:gd name="T65" fmla="*/ 225 h 331"/>
                <a:gd name="T66" fmla="*/ 302 w 343"/>
                <a:gd name="T67" fmla="*/ 224 h 331"/>
                <a:gd name="T68" fmla="*/ 305 w 343"/>
                <a:gd name="T69" fmla="*/ 227 h 331"/>
                <a:gd name="T70" fmla="*/ 305 w 343"/>
                <a:gd name="T71" fmla="*/ 227 h 331"/>
                <a:gd name="T72" fmla="*/ 306 w 343"/>
                <a:gd name="T73" fmla="*/ 268 h 331"/>
                <a:gd name="T74" fmla="*/ 323 w 343"/>
                <a:gd name="T75" fmla="*/ 244 h 331"/>
                <a:gd name="T76" fmla="*/ 338 w 343"/>
                <a:gd name="T77" fmla="*/ 207 h 331"/>
                <a:gd name="T78" fmla="*/ 343 w 343"/>
                <a:gd name="T79" fmla="*/ 166 h 331"/>
                <a:gd name="T80" fmla="*/ 338 w 343"/>
                <a:gd name="T81" fmla="*/ 126 h 331"/>
                <a:gd name="T82" fmla="*/ 324 w 343"/>
                <a:gd name="T83" fmla="*/ 88 h 331"/>
                <a:gd name="T84" fmla="*/ 307 w 343"/>
                <a:gd name="T85" fmla="*/ 64 h 331"/>
                <a:gd name="T86" fmla="*/ 110 w 343"/>
                <a:gd name="T87" fmla="*/ 286 h 331"/>
                <a:gd name="T88" fmla="*/ 108 w 343"/>
                <a:gd name="T89" fmla="*/ 291 h 331"/>
                <a:gd name="T90" fmla="*/ 107 w 343"/>
                <a:gd name="T91" fmla="*/ 292 h 331"/>
                <a:gd name="T92" fmla="*/ 101 w 343"/>
                <a:gd name="T93" fmla="*/ 294 h 331"/>
                <a:gd name="T94" fmla="*/ 63 w 343"/>
                <a:gd name="T95" fmla="*/ 294 h 331"/>
                <a:gd name="T96" fmla="*/ 87 w 343"/>
                <a:gd name="T97" fmla="*/ 309 h 331"/>
                <a:gd name="T98" fmla="*/ 127 w 343"/>
                <a:gd name="T99" fmla="*/ 325 h 331"/>
                <a:gd name="T100" fmla="*/ 170 w 343"/>
                <a:gd name="T101" fmla="*/ 331 h 331"/>
                <a:gd name="T102" fmla="*/ 211 w 343"/>
                <a:gd name="T103" fmla="*/ 326 h 331"/>
                <a:gd name="T104" fmla="*/ 251 w 343"/>
                <a:gd name="T105" fmla="*/ 311 h 331"/>
                <a:gd name="T106" fmla="*/ 276 w 343"/>
                <a:gd name="T107" fmla="*/ 253 h 331"/>
                <a:gd name="T108" fmla="*/ 221 w 343"/>
                <a:gd name="T109" fmla="*/ 263 h 331"/>
                <a:gd name="T110" fmla="*/ 172 w 343"/>
                <a:gd name="T111" fmla="*/ 274 h 331"/>
                <a:gd name="T112" fmla="*/ 123 w 343"/>
                <a:gd name="T113" fmla="*/ 26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3" h="331">
                  <a:moveTo>
                    <a:pt x="235" y="75"/>
                  </a:moveTo>
                  <a:lnTo>
                    <a:pt x="235" y="42"/>
                  </a:lnTo>
                  <a:lnTo>
                    <a:pt x="236" y="42"/>
                  </a:lnTo>
                  <a:lnTo>
                    <a:pt x="235" y="42"/>
                  </a:lnTo>
                  <a:lnTo>
                    <a:pt x="235" y="42"/>
                  </a:lnTo>
                  <a:lnTo>
                    <a:pt x="235" y="39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6" y="37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40" y="34"/>
                  </a:lnTo>
                  <a:lnTo>
                    <a:pt x="243" y="34"/>
                  </a:lnTo>
                  <a:lnTo>
                    <a:pt x="278" y="34"/>
                  </a:lnTo>
                  <a:lnTo>
                    <a:pt x="278" y="34"/>
                  </a:lnTo>
                  <a:lnTo>
                    <a:pt x="266" y="27"/>
                  </a:lnTo>
                  <a:lnTo>
                    <a:pt x="253" y="19"/>
                  </a:lnTo>
                  <a:lnTo>
                    <a:pt x="242" y="13"/>
                  </a:lnTo>
                  <a:lnTo>
                    <a:pt x="227" y="8"/>
                  </a:lnTo>
                  <a:lnTo>
                    <a:pt x="215" y="5"/>
                  </a:lnTo>
                  <a:lnTo>
                    <a:pt x="200" y="2"/>
                  </a:lnTo>
                  <a:lnTo>
                    <a:pt x="188" y="1"/>
                  </a:lnTo>
                  <a:lnTo>
                    <a:pt x="173" y="0"/>
                  </a:lnTo>
                  <a:lnTo>
                    <a:pt x="159" y="0"/>
                  </a:lnTo>
                  <a:lnTo>
                    <a:pt x="146" y="2"/>
                  </a:lnTo>
                  <a:lnTo>
                    <a:pt x="132" y="5"/>
                  </a:lnTo>
                  <a:lnTo>
                    <a:pt x="119" y="7"/>
                  </a:lnTo>
                  <a:lnTo>
                    <a:pt x="105" y="12"/>
                  </a:lnTo>
                  <a:lnTo>
                    <a:pt x="92" y="18"/>
                  </a:lnTo>
                  <a:lnTo>
                    <a:pt x="81" y="24"/>
                  </a:lnTo>
                  <a:lnTo>
                    <a:pt x="69" y="33"/>
                  </a:lnTo>
                  <a:lnTo>
                    <a:pt x="68" y="75"/>
                  </a:lnTo>
                  <a:lnTo>
                    <a:pt x="110" y="74"/>
                  </a:lnTo>
                  <a:lnTo>
                    <a:pt x="110" y="74"/>
                  </a:lnTo>
                  <a:lnTo>
                    <a:pt x="126" y="67"/>
                  </a:lnTo>
                  <a:lnTo>
                    <a:pt x="141" y="60"/>
                  </a:lnTo>
                  <a:lnTo>
                    <a:pt x="157" y="58"/>
                  </a:lnTo>
                  <a:lnTo>
                    <a:pt x="173" y="57"/>
                  </a:lnTo>
                  <a:lnTo>
                    <a:pt x="190" y="58"/>
                  </a:lnTo>
                  <a:lnTo>
                    <a:pt x="206" y="62"/>
                  </a:lnTo>
                  <a:lnTo>
                    <a:pt x="221" y="68"/>
                  </a:lnTo>
                  <a:lnTo>
                    <a:pt x="235" y="75"/>
                  </a:lnTo>
                  <a:lnTo>
                    <a:pt x="235" y="75"/>
                  </a:lnTo>
                  <a:close/>
                  <a:moveTo>
                    <a:pt x="78" y="225"/>
                  </a:moveTo>
                  <a:lnTo>
                    <a:pt x="78" y="225"/>
                  </a:lnTo>
                  <a:lnTo>
                    <a:pt x="71" y="212"/>
                  </a:lnTo>
                  <a:lnTo>
                    <a:pt x="64" y="196"/>
                  </a:lnTo>
                  <a:lnTo>
                    <a:pt x="60" y="181"/>
                  </a:lnTo>
                  <a:lnTo>
                    <a:pt x="59" y="165"/>
                  </a:lnTo>
                  <a:lnTo>
                    <a:pt x="60" y="149"/>
                  </a:lnTo>
                  <a:lnTo>
                    <a:pt x="64" y="132"/>
                  </a:lnTo>
                  <a:lnTo>
                    <a:pt x="71" y="117"/>
                  </a:lnTo>
                  <a:lnTo>
                    <a:pt x="80" y="103"/>
                  </a:lnTo>
                  <a:lnTo>
                    <a:pt x="46" y="104"/>
                  </a:lnTo>
                  <a:lnTo>
                    <a:pt x="46" y="103"/>
                  </a:lnTo>
                  <a:lnTo>
                    <a:pt x="46" y="104"/>
                  </a:lnTo>
                  <a:lnTo>
                    <a:pt x="46" y="104"/>
                  </a:lnTo>
                  <a:lnTo>
                    <a:pt x="42" y="104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38" y="99"/>
                  </a:lnTo>
                  <a:lnTo>
                    <a:pt x="37" y="96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29" y="73"/>
                  </a:lnTo>
                  <a:lnTo>
                    <a:pt x="22" y="84"/>
                  </a:lnTo>
                  <a:lnTo>
                    <a:pt x="15" y="96"/>
                  </a:lnTo>
                  <a:lnTo>
                    <a:pt x="10" y="109"/>
                  </a:lnTo>
                  <a:lnTo>
                    <a:pt x="6" y="122"/>
                  </a:lnTo>
                  <a:lnTo>
                    <a:pt x="4" y="135"/>
                  </a:lnTo>
                  <a:lnTo>
                    <a:pt x="1" y="149"/>
                  </a:lnTo>
                  <a:lnTo>
                    <a:pt x="0" y="162"/>
                  </a:lnTo>
                  <a:lnTo>
                    <a:pt x="1" y="176"/>
                  </a:lnTo>
                  <a:lnTo>
                    <a:pt x="2" y="188"/>
                  </a:lnTo>
                  <a:lnTo>
                    <a:pt x="5" y="202"/>
                  </a:lnTo>
                  <a:lnTo>
                    <a:pt x="9" y="216"/>
                  </a:lnTo>
                  <a:lnTo>
                    <a:pt x="13" y="228"/>
                  </a:lnTo>
                  <a:lnTo>
                    <a:pt x="19" y="240"/>
                  </a:lnTo>
                  <a:lnTo>
                    <a:pt x="27" y="253"/>
                  </a:lnTo>
                  <a:lnTo>
                    <a:pt x="35" y="264"/>
                  </a:lnTo>
                  <a:lnTo>
                    <a:pt x="80" y="265"/>
                  </a:lnTo>
                  <a:lnTo>
                    <a:pt x="78" y="225"/>
                  </a:lnTo>
                  <a:close/>
                  <a:moveTo>
                    <a:pt x="307" y="64"/>
                  </a:moveTo>
                  <a:lnTo>
                    <a:pt x="265" y="63"/>
                  </a:lnTo>
                  <a:lnTo>
                    <a:pt x="266" y="106"/>
                  </a:lnTo>
                  <a:lnTo>
                    <a:pt x="266" y="106"/>
                  </a:lnTo>
                  <a:lnTo>
                    <a:pt x="274" y="120"/>
                  </a:lnTo>
                  <a:lnTo>
                    <a:pt x="280" y="135"/>
                  </a:lnTo>
                  <a:lnTo>
                    <a:pt x="283" y="150"/>
                  </a:lnTo>
                  <a:lnTo>
                    <a:pt x="284" y="166"/>
                  </a:lnTo>
                  <a:lnTo>
                    <a:pt x="283" y="181"/>
                  </a:lnTo>
                  <a:lnTo>
                    <a:pt x="279" y="197"/>
                  </a:lnTo>
                  <a:lnTo>
                    <a:pt x="274" y="211"/>
                  </a:lnTo>
                  <a:lnTo>
                    <a:pt x="265" y="225"/>
                  </a:lnTo>
                  <a:lnTo>
                    <a:pt x="298" y="224"/>
                  </a:lnTo>
                  <a:lnTo>
                    <a:pt x="298" y="224"/>
                  </a:lnTo>
                  <a:lnTo>
                    <a:pt x="302" y="224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5" y="227"/>
                  </a:lnTo>
                  <a:lnTo>
                    <a:pt x="306" y="229"/>
                  </a:lnTo>
                  <a:lnTo>
                    <a:pt x="307" y="233"/>
                  </a:lnTo>
                  <a:lnTo>
                    <a:pt x="306" y="268"/>
                  </a:lnTo>
                  <a:lnTo>
                    <a:pt x="306" y="268"/>
                  </a:lnTo>
                  <a:lnTo>
                    <a:pt x="315" y="256"/>
                  </a:lnTo>
                  <a:lnTo>
                    <a:pt x="323" y="244"/>
                  </a:lnTo>
                  <a:lnTo>
                    <a:pt x="329" y="232"/>
                  </a:lnTo>
                  <a:lnTo>
                    <a:pt x="334" y="219"/>
                  </a:lnTo>
                  <a:lnTo>
                    <a:pt x="338" y="207"/>
                  </a:lnTo>
                  <a:lnTo>
                    <a:pt x="341" y="193"/>
                  </a:lnTo>
                  <a:lnTo>
                    <a:pt x="342" y="180"/>
                  </a:lnTo>
                  <a:lnTo>
                    <a:pt x="343" y="166"/>
                  </a:lnTo>
                  <a:lnTo>
                    <a:pt x="343" y="152"/>
                  </a:lnTo>
                  <a:lnTo>
                    <a:pt x="341" y="140"/>
                  </a:lnTo>
                  <a:lnTo>
                    <a:pt x="338" y="126"/>
                  </a:lnTo>
                  <a:lnTo>
                    <a:pt x="334" y="113"/>
                  </a:lnTo>
                  <a:lnTo>
                    <a:pt x="329" y="100"/>
                  </a:lnTo>
                  <a:lnTo>
                    <a:pt x="324" y="88"/>
                  </a:lnTo>
                  <a:lnTo>
                    <a:pt x="316" y="75"/>
                  </a:lnTo>
                  <a:lnTo>
                    <a:pt x="307" y="64"/>
                  </a:lnTo>
                  <a:lnTo>
                    <a:pt x="307" y="64"/>
                  </a:lnTo>
                  <a:close/>
                  <a:moveTo>
                    <a:pt x="109" y="255"/>
                  </a:moveTo>
                  <a:lnTo>
                    <a:pt x="110" y="286"/>
                  </a:lnTo>
                  <a:lnTo>
                    <a:pt x="110" y="286"/>
                  </a:lnTo>
                  <a:lnTo>
                    <a:pt x="109" y="289"/>
                  </a:lnTo>
                  <a:lnTo>
                    <a:pt x="108" y="291"/>
                  </a:lnTo>
                  <a:lnTo>
                    <a:pt x="108" y="291"/>
                  </a:lnTo>
                  <a:lnTo>
                    <a:pt x="108" y="291"/>
                  </a:lnTo>
                  <a:lnTo>
                    <a:pt x="108" y="291"/>
                  </a:lnTo>
                  <a:lnTo>
                    <a:pt x="107" y="292"/>
                  </a:lnTo>
                  <a:lnTo>
                    <a:pt x="107" y="292"/>
                  </a:lnTo>
                  <a:lnTo>
                    <a:pt x="104" y="294"/>
                  </a:lnTo>
                  <a:lnTo>
                    <a:pt x="101" y="294"/>
                  </a:lnTo>
                  <a:lnTo>
                    <a:pt x="101" y="292"/>
                  </a:lnTo>
                  <a:lnTo>
                    <a:pt x="101" y="294"/>
                  </a:lnTo>
                  <a:lnTo>
                    <a:pt x="63" y="294"/>
                  </a:lnTo>
                  <a:lnTo>
                    <a:pt x="63" y="294"/>
                  </a:lnTo>
                  <a:lnTo>
                    <a:pt x="76" y="301"/>
                  </a:lnTo>
                  <a:lnTo>
                    <a:pt x="87" y="309"/>
                  </a:lnTo>
                  <a:lnTo>
                    <a:pt x="100" y="316"/>
                  </a:lnTo>
                  <a:lnTo>
                    <a:pt x="114" y="321"/>
                  </a:lnTo>
                  <a:lnTo>
                    <a:pt x="127" y="325"/>
                  </a:lnTo>
                  <a:lnTo>
                    <a:pt x="141" y="327"/>
                  </a:lnTo>
                  <a:lnTo>
                    <a:pt x="155" y="330"/>
                  </a:lnTo>
                  <a:lnTo>
                    <a:pt x="170" y="331"/>
                  </a:lnTo>
                  <a:lnTo>
                    <a:pt x="184" y="330"/>
                  </a:lnTo>
                  <a:lnTo>
                    <a:pt x="198" y="328"/>
                  </a:lnTo>
                  <a:lnTo>
                    <a:pt x="211" y="326"/>
                  </a:lnTo>
                  <a:lnTo>
                    <a:pt x="225" y="322"/>
                  </a:lnTo>
                  <a:lnTo>
                    <a:pt x="238" y="317"/>
                  </a:lnTo>
                  <a:lnTo>
                    <a:pt x="251" y="311"/>
                  </a:lnTo>
                  <a:lnTo>
                    <a:pt x="263" y="305"/>
                  </a:lnTo>
                  <a:lnTo>
                    <a:pt x="276" y="296"/>
                  </a:lnTo>
                  <a:lnTo>
                    <a:pt x="276" y="253"/>
                  </a:lnTo>
                  <a:lnTo>
                    <a:pt x="235" y="254"/>
                  </a:lnTo>
                  <a:lnTo>
                    <a:pt x="235" y="254"/>
                  </a:lnTo>
                  <a:lnTo>
                    <a:pt x="221" y="263"/>
                  </a:lnTo>
                  <a:lnTo>
                    <a:pt x="206" y="269"/>
                  </a:lnTo>
                  <a:lnTo>
                    <a:pt x="189" y="273"/>
                  </a:lnTo>
                  <a:lnTo>
                    <a:pt x="172" y="274"/>
                  </a:lnTo>
                  <a:lnTo>
                    <a:pt x="155" y="273"/>
                  </a:lnTo>
                  <a:lnTo>
                    <a:pt x="140" y="269"/>
                  </a:lnTo>
                  <a:lnTo>
                    <a:pt x="123" y="263"/>
                  </a:lnTo>
                  <a:lnTo>
                    <a:pt x="109" y="255"/>
                  </a:lnTo>
                  <a:lnTo>
                    <a:pt x="109" y="25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260" tIns="45631" rIns="91260" bIns="45631" anchor="ctr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260" tIns="45631" rIns="91260" bIns="45631" anchor="ctr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4" y="762102"/>
            <a:ext cx="11068958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28" name="Group 27"/>
          <p:cNvGrpSpPr/>
          <p:nvPr userDrawn="1"/>
        </p:nvGrpSpPr>
        <p:grpSpPr>
          <a:xfrm>
            <a:off x="9043168" y="274066"/>
            <a:ext cx="1905496" cy="1220787"/>
            <a:chOff x="9040813" y="285938"/>
            <a:chExt cx="1905000" cy="1220787"/>
          </a:xfrm>
        </p:grpSpPr>
        <p:sp>
          <p:nvSpPr>
            <p:cNvPr id="10" name="AutoShape 3"/>
            <p:cNvSpPr>
              <a:spLocks noChangeAspect="1" noChangeArrowheads="1" noTextEdit="1"/>
            </p:cNvSpPr>
            <p:nvPr/>
          </p:nvSpPr>
          <p:spPr bwMode="auto">
            <a:xfrm>
              <a:off x="9040813" y="285938"/>
              <a:ext cx="1905000" cy="12207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47" name="Freeform 5"/>
            <p:cNvSpPr>
              <a:spLocks/>
            </p:cNvSpPr>
            <p:nvPr userDrawn="1"/>
          </p:nvSpPr>
          <p:spPr bwMode="auto">
            <a:xfrm>
              <a:off x="9053513" y="763775"/>
              <a:ext cx="1879600" cy="290512"/>
            </a:xfrm>
            <a:custGeom>
              <a:avLst/>
              <a:gdLst>
                <a:gd name="T0" fmla="*/ 834 w 1184"/>
                <a:gd name="T1" fmla="*/ 47 h 183"/>
                <a:gd name="T2" fmla="*/ 834 w 1184"/>
                <a:gd name="T3" fmla="*/ 12 h 183"/>
                <a:gd name="T4" fmla="*/ 834 w 1184"/>
                <a:gd name="T5" fmla="*/ 12 h 183"/>
                <a:gd name="T6" fmla="*/ 832 w 1184"/>
                <a:gd name="T7" fmla="*/ 9 h 183"/>
                <a:gd name="T8" fmla="*/ 834 w 1184"/>
                <a:gd name="T9" fmla="*/ 8 h 183"/>
                <a:gd name="T10" fmla="*/ 836 w 1184"/>
                <a:gd name="T11" fmla="*/ 4 h 183"/>
                <a:gd name="T12" fmla="*/ 840 w 1184"/>
                <a:gd name="T13" fmla="*/ 1 h 183"/>
                <a:gd name="T14" fmla="*/ 849 w 1184"/>
                <a:gd name="T15" fmla="*/ 0 h 183"/>
                <a:gd name="T16" fmla="*/ 861 w 1184"/>
                <a:gd name="T17" fmla="*/ 0 h 183"/>
                <a:gd name="T18" fmla="*/ 879 w 1184"/>
                <a:gd name="T19" fmla="*/ 3 h 183"/>
                <a:gd name="T20" fmla="*/ 1172 w 1184"/>
                <a:gd name="T21" fmla="*/ 83 h 183"/>
                <a:gd name="T22" fmla="*/ 1172 w 1184"/>
                <a:gd name="T23" fmla="*/ 83 h 183"/>
                <a:gd name="T24" fmla="*/ 1176 w 1184"/>
                <a:gd name="T25" fmla="*/ 84 h 183"/>
                <a:gd name="T26" fmla="*/ 1184 w 1184"/>
                <a:gd name="T27" fmla="*/ 87 h 183"/>
                <a:gd name="T28" fmla="*/ 1184 w 1184"/>
                <a:gd name="T29" fmla="*/ 90 h 183"/>
                <a:gd name="T30" fmla="*/ 1184 w 1184"/>
                <a:gd name="T31" fmla="*/ 93 h 183"/>
                <a:gd name="T32" fmla="*/ 1180 w 1184"/>
                <a:gd name="T33" fmla="*/ 97 h 183"/>
                <a:gd name="T34" fmla="*/ 1170 w 1184"/>
                <a:gd name="T35" fmla="*/ 100 h 183"/>
                <a:gd name="T36" fmla="*/ 898 w 1184"/>
                <a:gd name="T37" fmla="*/ 178 h 183"/>
                <a:gd name="T38" fmla="*/ 898 w 1184"/>
                <a:gd name="T39" fmla="*/ 178 h 183"/>
                <a:gd name="T40" fmla="*/ 887 w 1184"/>
                <a:gd name="T41" fmla="*/ 179 h 183"/>
                <a:gd name="T42" fmla="*/ 865 w 1184"/>
                <a:gd name="T43" fmla="*/ 183 h 183"/>
                <a:gd name="T44" fmla="*/ 853 w 1184"/>
                <a:gd name="T45" fmla="*/ 183 h 183"/>
                <a:gd name="T46" fmla="*/ 842 w 1184"/>
                <a:gd name="T47" fmla="*/ 183 h 183"/>
                <a:gd name="T48" fmla="*/ 836 w 1184"/>
                <a:gd name="T49" fmla="*/ 179 h 183"/>
                <a:gd name="T50" fmla="*/ 834 w 1184"/>
                <a:gd name="T51" fmla="*/ 178 h 183"/>
                <a:gd name="T52" fmla="*/ 834 w 1184"/>
                <a:gd name="T53" fmla="*/ 175 h 183"/>
                <a:gd name="T54" fmla="*/ 834 w 1184"/>
                <a:gd name="T55" fmla="*/ 132 h 183"/>
                <a:gd name="T56" fmla="*/ 27 w 1184"/>
                <a:gd name="T57" fmla="*/ 132 h 183"/>
                <a:gd name="T58" fmla="*/ 27 w 1184"/>
                <a:gd name="T59" fmla="*/ 132 h 183"/>
                <a:gd name="T60" fmla="*/ 23 w 1184"/>
                <a:gd name="T61" fmla="*/ 132 h 183"/>
                <a:gd name="T62" fmla="*/ 14 w 1184"/>
                <a:gd name="T63" fmla="*/ 130 h 183"/>
                <a:gd name="T64" fmla="*/ 8 w 1184"/>
                <a:gd name="T65" fmla="*/ 130 h 183"/>
                <a:gd name="T66" fmla="*/ 4 w 1184"/>
                <a:gd name="T67" fmla="*/ 127 h 183"/>
                <a:gd name="T68" fmla="*/ 0 w 1184"/>
                <a:gd name="T69" fmla="*/ 124 h 183"/>
                <a:gd name="T70" fmla="*/ 0 w 1184"/>
                <a:gd name="T71" fmla="*/ 118 h 183"/>
                <a:gd name="T72" fmla="*/ 0 w 1184"/>
                <a:gd name="T73" fmla="*/ 118 h 183"/>
                <a:gd name="T74" fmla="*/ 0 w 1184"/>
                <a:gd name="T75" fmla="*/ 60 h 183"/>
                <a:gd name="T76" fmla="*/ 0 w 1184"/>
                <a:gd name="T77" fmla="*/ 60 h 183"/>
                <a:gd name="T78" fmla="*/ 0 w 1184"/>
                <a:gd name="T79" fmla="*/ 58 h 183"/>
                <a:gd name="T80" fmla="*/ 4 w 1184"/>
                <a:gd name="T81" fmla="*/ 54 h 183"/>
                <a:gd name="T82" fmla="*/ 8 w 1184"/>
                <a:gd name="T83" fmla="*/ 52 h 183"/>
                <a:gd name="T84" fmla="*/ 12 w 1184"/>
                <a:gd name="T85" fmla="*/ 50 h 183"/>
                <a:gd name="T86" fmla="*/ 21 w 1184"/>
                <a:gd name="T87" fmla="*/ 49 h 183"/>
                <a:gd name="T88" fmla="*/ 31 w 1184"/>
                <a:gd name="T89" fmla="*/ 47 h 183"/>
                <a:gd name="T90" fmla="*/ 31 w 1184"/>
                <a:gd name="T91" fmla="*/ 47 h 183"/>
                <a:gd name="T92" fmla="*/ 834 w 1184"/>
                <a:gd name="T93" fmla="*/ 47 h 183"/>
                <a:gd name="T94" fmla="*/ 834 w 1184"/>
                <a:gd name="T95" fmla="*/ 47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184" h="183">
                  <a:moveTo>
                    <a:pt x="834" y="47"/>
                  </a:moveTo>
                  <a:lnTo>
                    <a:pt x="834" y="12"/>
                  </a:lnTo>
                  <a:lnTo>
                    <a:pt x="834" y="12"/>
                  </a:lnTo>
                  <a:lnTo>
                    <a:pt x="832" y="9"/>
                  </a:lnTo>
                  <a:lnTo>
                    <a:pt x="834" y="8"/>
                  </a:lnTo>
                  <a:lnTo>
                    <a:pt x="836" y="4"/>
                  </a:lnTo>
                  <a:lnTo>
                    <a:pt x="840" y="1"/>
                  </a:lnTo>
                  <a:lnTo>
                    <a:pt x="849" y="0"/>
                  </a:lnTo>
                  <a:lnTo>
                    <a:pt x="861" y="0"/>
                  </a:lnTo>
                  <a:lnTo>
                    <a:pt x="879" y="3"/>
                  </a:lnTo>
                  <a:lnTo>
                    <a:pt x="1172" y="83"/>
                  </a:lnTo>
                  <a:lnTo>
                    <a:pt x="1172" y="83"/>
                  </a:lnTo>
                  <a:lnTo>
                    <a:pt x="1176" y="84"/>
                  </a:lnTo>
                  <a:lnTo>
                    <a:pt x="1184" y="87"/>
                  </a:lnTo>
                  <a:lnTo>
                    <a:pt x="1184" y="90"/>
                  </a:lnTo>
                  <a:lnTo>
                    <a:pt x="1184" y="93"/>
                  </a:lnTo>
                  <a:lnTo>
                    <a:pt x="1180" y="97"/>
                  </a:lnTo>
                  <a:lnTo>
                    <a:pt x="1170" y="100"/>
                  </a:lnTo>
                  <a:lnTo>
                    <a:pt x="898" y="178"/>
                  </a:lnTo>
                  <a:lnTo>
                    <a:pt x="898" y="178"/>
                  </a:lnTo>
                  <a:lnTo>
                    <a:pt x="887" y="179"/>
                  </a:lnTo>
                  <a:lnTo>
                    <a:pt x="865" y="183"/>
                  </a:lnTo>
                  <a:lnTo>
                    <a:pt x="853" y="183"/>
                  </a:lnTo>
                  <a:lnTo>
                    <a:pt x="842" y="183"/>
                  </a:lnTo>
                  <a:lnTo>
                    <a:pt x="836" y="179"/>
                  </a:lnTo>
                  <a:lnTo>
                    <a:pt x="834" y="178"/>
                  </a:lnTo>
                  <a:lnTo>
                    <a:pt x="834" y="175"/>
                  </a:lnTo>
                  <a:lnTo>
                    <a:pt x="834" y="132"/>
                  </a:lnTo>
                  <a:lnTo>
                    <a:pt x="27" y="132"/>
                  </a:lnTo>
                  <a:lnTo>
                    <a:pt x="27" y="132"/>
                  </a:lnTo>
                  <a:lnTo>
                    <a:pt x="23" y="132"/>
                  </a:lnTo>
                  <a:lnTo>
                    <a:pt x="14" y="130"/>
                  </a:lnTo>
                  <a:lnTo>
                    <a:pt x="8" y="130"/>
                  </a:lnTo>
                  <a:lnTo>
                    <a:pt x="4" y="127"/>
                  </a:lnTo>
                  <a:lnTo>
                    <a:pt x="0" y="124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4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21" y="49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834" y="47"/>
                  </a:lnTo>
                  <a:lnTo>
                    <a:pt x="834" y="47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9575801" y="285938"/>
              <a:ext cx="655638" cy="1220787"/>
            </a:xfrm>
            <a:custGeom>
              <a:avLst/>
              <a:gdLst>
                <a:gd name="T0" fmla="*/ 205 w 413"/>
                <a:gd name="T1" fmla="*/ 2 h 769"/>
                <a:gd name="T2" fmla="*/ 192 w 413"/>
                <a:gd name="T3" fmla="*/ 0 h 769"/>
                <a:gd name="T4" fmla="*/ 154 w 413"/>
                <a:gd name="T5" fmla="*/ 9 h 769"/>
                <a:gd name="T6" fmla="*/ 100 w 413"/>
                <a:gd name="T7" fmla="*/ 48 h 769"/>
                <a:gd name="T8" fmla="*/ 58 w 413"/>
                <a:gd name="T9" fmla="*/ 114 h 769"/>
                <a:gd name="T10" fmla="*/ 25 w 413"/>
                <a:gd name="T11" fmla="*/ 201 h 769"/>
                <a:gd name="T12" fmla="*/ 4 w 413"/>
                <a:gd name="T13" fmla="*/ 307 h 769"/>
                <a:gd name="T14" fmla="*/ 0 w 413"/>
                <a:gd name="T15" fmla="*/ 385 h 769"/>
                <a:gd name="T16" fmla="*/ 11 w 413"/>
                <a:gd name="T17" fmla="*/ 499 h 769"/>
                <a:gd name="T18" fmla="*/ 33 w 413"/>
                <a:gd name="T19" fmla="*/ 600 h 769"/>
                <a:gd name="T20" fmla="*/ 70 w 413"/>
                <a:gd name="T21" fmla="*/ 682 h 769"/>
                <a:gd name="T22" fmla="*/ 119 w 413"/>
                <a:gd name="T23" fmla="*/ 738 h 769"/>
                <a:gd name="T24" fmla="*/ 172 w 413"/>
                <a:gd name="T25" fmla="*/ 767 h 769"/>
                <a:gd name="T26" fmla="*/ 192 w 413"/>
                <a:gd name="T27" fmla="*/ 769 h 769"/>
                <a:gd name="T28" fmla="*/ 215 w 413"/>
                <a:gd name="T29" fmla="*/ 769 h 769"/>
                <a:gd name="T30" fmla="*/ 235 w 413"/>
                <a:gd name="T31" fmla="*/ 767 h 769"/>
                <a:gd name="T32" fmla="*/ 293 w 413"/>
                <a:gd name="T33" fmla="*/ 738 h 769"/>
                <a:gd name="T34" fmla="*/ 342 w 413"/>
                <a:gd name="T35" fmla="*/ 682 h 769"/>
                <a:gd name="T36" fmla="*/ 381 w 413"/>
                <a:gd name="T37" fmla="*/ 600 h 769"/>
                <a:gd name="T38" fmla="*/ 405 w 413"/>
                <a:gd name="T39" fmla="*/ 499 h 769"/>
                <a:gd name="T40" fmla="*/ 413 w 413"/>
                <a:gd name="T41" fmla="*/ 385 h 769"/>
                <a:gd name="T42" fmla="*/ 409 w 413"/>
                <a:gd name="T43" fmla="*/ 307 h 769"/>
                <a:gd name="T44" fmla="*/ 389 w 413"/>
                <a:gd name="T45" fmla="*/ 201 h 769"/>
                <a:gd name="T46" fmla="*/ 356 w 413"/>
                <a:gd name="T47" fmla="*/ 114 h 769"/>
                <a:gd name="T48" fmla="*/ 309 w 413"/>
                <a:gd name="T49" fmla="*/ 48 h 769"/>
                <a:gd name="T50" fmla="*/ 256 w 413"/>
                <a:gd name="T51" fmla="*/ 9 h 769"/>
                <a:gd name="T52" fmla="*/ 215 w 413"/>
                <a:gd name="T53" fmla="*/ 0 h 769"/>
                <a:gd name="T54" fmla="*/ 45 w 413"/>
                <a:gd name="T55" fmla="*/ 385 h 769"/>
                <a:gd name="T56" fmla="*/ 51 w 413"/>
                <a:gd name="T57" fmla="*/ 299 h 769"/>
                <a:gd name="T58" fmla="*/ 68 w 413"/>
                <a:gd name="T59" fmla="*/ 223 h 769"/>
                <a:gd name="T60" fmla="*/ 90 w 413"/>
                <a:gd name="T61" fmla="*/ 158 h 769"/>
                <a:gd name="T62" fmla="*/ 121 w 413"/>
                <a:gd name="T63" fmla="*/ 112 h 769"/>
                <a:gd name="T64" fmla="*/ 156 w 413"/>
                <a:gd name="T65" fmla="*/ 84 h 769"/>
                <a:gd name="T66" fmla="*/ 180 w 413"/>
                <a:gd name="T67" fmla="*/ 84 h 769"/>
                <a:gd name="T68" fmla="*/ 215 w 413"/>
                <a:gd name="T69" fmla="*/ 112 h 769"/>
                <a:gd name="T70" fmla="*/ 244 w 413"/>
                <a:gd name="T71" fmla="*/ 158 h 769"/>
                <a:gd name="T72" fmla="*/ 266 w 413"/>
                <a:gd name="T73" fmla="*/ 223 h 769"/>
                <a:gd name="T74" fmla="*/ 287 w 413"/>
                <a:gd name="T75" fmla="*/ 385 h 769"/>
                <a:gd name="T76" fmla="*/ 278 w 413"/>
                <a:gd name="T77" fmla="*/ 497 h 769"/>
                <a:gd name="T78" fmla="*/ 252 w 413"/>
                <a:gd name="T79" fmla="*/ 592 h 769"/>
                <a:gd name="T80" fmla="*/ 225 w 413"/>
                <a:gd name="T81" fmla="*/ 645 h 769"/>
                <a:gd name="T82" fmla="*/ 192 w 413"/>
                <a:gd name="T83" fmla="*/ 678 h 769"/>
                <a:gd name="T84" fmla="*/ 168 w 413"/>
                <a:gd name="T85" fmla="*/ 689 h 769"/>
                <a:gd name="T86" fmla="*/ 131 w 413"/>
                <a:gd name="T87" fmla="*/ 669 h 769"/>
                <a:gd name="T88" fmla="*/ 100 w 413"/>
                <a:gd name="T89" fmla="*/ 629 h 769"/>
                <a:gd name="T90" fmla="*/ 74 w 413"/>
                <a:gd name="T91" fmla="*/ 571 h 769"/>
                <a:gd name="T92" fmla="*/ 56 w 413"/>
                <a:gd name="T93" fmla="*/ 497 h 769"/>
                <a:gd name="T94" fmla="*/ 47 w 413"/>
                <a:gd name="T95" fmla="*/ 414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3" h="769">
                  <a:moveTo>
                    <a:pt x="215" y="0"/>
                  </a:moveTo>
                  <a:lnTo>
                    <a:pt x="215" y="0"/>
                  </a:lnTo>
                  <a:lnTo>
                    <a:pt x="205" y="2"/>
                  </a:lnTo>
                  <a:lnTo>
                    <a:pt x="205" y="2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82" y="2"/>
                  </a:lnTo>
                  <a:lnTo>
                    <a:pt x="172" y="3"/>
                  </a:lnTo>
                  <a:lnTo>
                    <a:pt x="154" y="9"/>
                  </a:lnTo>
                  <a:lnTo>
                    <a:pt x="135" y="18"/>
                  </a:lnTo>
                  <a:lnTo>
                    <a:pt x="119" y="31"/>
                  </a:lnTo>
                  <a:lnTo>
                    <a:pt x="100" y="48"/>
                  </a:lnTo>
                  <a:lnTo>
                    <a:pt x="86" y="66"/>
                  </a:lnTo>
                  <a:lnTo>
                    <a:pt x="70" y="89"/>
                  </a:lnTo>
                  <a:lnTo>
                    <a:pt x="58" y="114"/>
                  </a:lnTo>
                  <a:lnTo>
                    <a:pt x="45" y="141"/>
                  </a:lnTo>
                  <a:lnTo>
                    <a:pt x="33" y="170"/>
                  </a:lnTo>
                  <a:lnTo>
                    <a:pt x="25" y="201"/>
                  </a:lnTo>
                  <a:lnTo>
                    <a:pt x="17" y="235"/>
                  </a:lnTo>
                  <a:lnTo>
                    <a:pt x="11" y="270"/>
                  </a:lnTo>
                  <a:lnTo>
                    <a:pt x="4" y="307"/>
                  </a:lnTo>
                  <a:lnTo>
                    <a:pt x="2" y="345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2" y="424"/>
                  </a:lnTo>
                  <a:lnTo>
                    <a:pt x="4" y="462"/>
                  </a:lnTo>
                  <a:lnTo>
                    <a:pt x="11" y="499"/>
                  </a:lnTo>
                  <a:lnTo>
                    <a:pt x="17" y="534"/>
                  </a:lnTo>
                  <a:lnTo>
                    <a:pt x="25" y="568"/>
                  </a:lnTo>
                  <a:lnTo>
                    <a:pt x="33" y="600"/>
                  </a:lnTo>
                  <a:lnTo>
                    <a:pt x="45" y="629"/>
                  </a:lnTo>
                  <a:lnTo>
                    <a:pt x="58" y="657"/>
                  </a:lnTo>
                  <a:lnTo>
                    <a:pt x="70" y="682"/>
                  </a:lnTo>
                  <a:lnTo>
                    <a:pt x="86" y="703"/>
                  </a:lnTo>
                  <a:lnTo>
                    <a:pt x="100" y="723"/>
                  </a:lnTo>
                  <a:lnTo>
                    <a:pt x="119" y="738"/>
                  </a:lnTo>
                  <a:lnTo>
                    <a:pt x="135" y="752"/>
                  </a:lnTo>
                  <a:lnTo>
                    <a:pt x="154" y="761"/>
                  </a:lnTo>
                  <a:lnTo>
                    <a:pt x="172" y="767"/>
                  </a:lnTo>
                  <a:lnTo>
                    <a:pt x="182" y="769"/>
                  </a:lnTo>
                  <a:lnTo>
                    <a:pt x="192" y="769"/>
                  </a:lnTo>
                  <a:lnTo>
                    <a:pt x="192" y="769"/>
                  </a:lnTo>
                  <a:lnTo>
                    <a:pt x="205" y="769"/>
                  </a:lnTo>
                  <a:lnTo>
                    <a:pt x="205" y="769"/>
                  </a:lnTo>
                  <a:lnTo>
                    <a:pt x="215" y="769"/>
                  </a:lnTo>
                  <a:lnTo>
                    <a:pt x="215" y="769"/>
                  </a:lnTo>
                  <a:lnTo>
                    <a:pt x="225" y="769"/>
                  </a:lnTo>
                  <a:lnTo>
                    <a:pt x="235" y="767"/>
                  </a:lnTo>
                  <a:lnTo>
                    <a:pt x="256" y="761"/>
                  </a:lnTo>
                  <a:lnTo>
                    <a:pt x="274" y="752"/>
                  </a:lnTo>
                  <a:lnTo>
                    <a:pt x="293" y="738"/>
                  </a:lnTo>
                  <a:lnTo>
                    <a:pt x="309" y="723"/>
                  </a:lnTo>
                  <a:lnTo>
                    <a:pt x="325" y="703"/>
                  </a:lnTo>
                  <a:lnTo>
                    <a:pt x="342" y="682"/>
                  </a:lnTo>
                  <a:lnTo>
                    <a:pt x="356" y="657"/>
                  </a:lnTo>
                  <a:lnTo>
                    <a:pt x="368" y="629"/>
                  </a:lnTo>
                  <a:lnTo>
                    <a:pt x="381" y="600"/>
                  </a:lnTo>
                  <a:lnTo>
                    <a:pt x="389" y="568"/>
                  </a:lnTo>
                  <a:lnTo>
                    <a:pt x="399" y="534"/>
                  </a:lnTo>
                  <a:lnTo>
                    <a:pt x="405" y="499"/>
                  </a:lnTo>
                  <a:lnTo>
                    <a:pt x="409" y="462"/>
                  </a:lnTo>
                  <a:lnTo>
                    <a:pt x="413" y="424"/>
                  </a:lnTo>
                  <a:lnTo>
                    <a:pt x="413" y="385"/>
                  </a:lnTo>
                  <a:lnTo>
                    <a:pt x="413" y="385"/>
                  </a:lnTo>
                  <a:lnTo>
                    <a:pt x="413" y="345"/>
                  </a:lnTo>
                  <a:lnTo>
                    <a:pt x="409" y="307"/>
                  </a:lnTo>
                  <a:lnTo>
                    <a:pt x="405" y="270"/>
                  </a:lnTo>
                  <a:lnTo>
                    <a:pt x="399" y="235"/>
                  </a:lnTo>
                  <a:lnTo>
                    <a:pt x="389" y="201"/>
                  </a:lnTo>
                  <a:lnTo>
                    <a:pt x="381" y="170"/>
                  </a:lnTo>
                  <a:lnTo>
                    <a:pt x="368" y="141"/>
                  </a:lnTo>
                  <a:lnTo>
                    <a:pt x="356" y="114"/>
                  </a:lnTo>
                  <a:lnTo>
                    <a:pt x="342" y="89"/>
                  </a:lnTo>
                  <a:lnTo>
                    <a:pt x="325" y="66"/>
                  </a:lnTo>
                  <a:lnTo>
                    <a:pt x="309" y="48"/>
                  </a:lnTo>
                  <a:lnTo>
                    <a:pt x="293" y="31"/>
                  </a:lnTo>
                  <a:lnTo>
                    <a:pt x="274" y="18"/>
                  </a:lnTo>
                  <a:lnTo>
                    <a:pt x="256" y="9"/>
                  </a:lnTo>
                  <a:lnTo>
                    <a:pt x="235" y="3"/>
                  </a:lnTo>
                  <a:lnTo>
                    <a:pt x="225" y="2"/>
                  </a:lnTo>
                  <a:lnTo>
                    <a:pt x="215" y="0"/>
                  </a:lnTo>
                  <a:lnTo>
                    <a:pt x="215" y="0"/>
                  </a:lnTo>
                  <a:close/>
                  <a:moveTo>
                    <a:pt x="45" y="385"/>
                  </a:moveTo>
                  <a:lnTo>
                    <a:pt x="45" y="385"/>
                  </a:lnTo>
                  <a:lnTo>
                    <a:pt x="47" y="355"/>
                  </a:lnTo>
                  <a:lnTo>
                    <a:pt x="49" y="327"/>
                  </a:lnTo>
                  <a:lnTo>
                    <a:pt x="51" y="299"/>
                  </a:lnTo>
                  <a:lnTo>
                    <a:pt x="56" y="272"/>
                  </a:lnTo>
                  <a:lnTo>
                    <a:pt x="62" y="246"/>
                  </a:lnTo>
                  <a:lnTo>
                    <a:pt x="68" y="223"/>
                  </a:lnTo>
                  <a:lnTo>
                    <a:pt x="74" y="200"/>
                  </a:lnTo>
                  <a:lnTo>
                    <a:pt x="82" y="178"/>
                  </a:lnTo>
                  <a:lnTo>
                    <a:pt x="90" y="158"/>
                  </a:lnTo>
                  <a:lnTo>
                    <a:pt x="100" y="141"/>
                  </a:lnTo>
                  <a:lnTo>
                    <a:pt x="111" y="126"/>
                  </a:lnTo>
                  <a:lnTo>
                    <a:pt x="121" y="112"/>
                  </a:lnTo>
                  <a:lnTo>
                    <a:pt x="131" y="100"/>
                  </a:lnTo>
                  <a:lnTo>
                    <a:pt x="143" y="92"/>
                  </a:lnTo>
                  <a:lnTo>
                    <a:pt x="156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80" y="84"/>
                  </a:lnTo>
                  <a:lnTo>
                    <a:pt x="192" y="92"/>
                  </a:lnTo>
                  <a:lnTo>
                    <a:pt x="205" y="100"/>
                  </a:lnTo>
                  <a:lnTo>
                    <a:pt x="215" y="112"/>
                  </a:lnTo>
                  <a:lnTo>
                    <a:pt x="225" y="126"/>
                  </a:lnTo>
                  <a:lnTo>
                    <a:pt x="235" y="141"/>
                  </a:lnTo>
                  <a:lnTo>
                    <a:pt x="244" y="158"/>
                  </a:lnTo>
                  <a:lnTo>
                    <a:pt x="252" y="178"/>
                  </a:lnTo>
                  <a:lnTo>
                    <a:pt x="260" y="200"/>
                  </a:lnTo>
                  <a:lnTo>
                    <a:pt x="266" y="223"/>
                  </a:lnTo>
                  <a:lnTo>
                    <a:pt x="278" y="272"/>
                  </a:lnTo>
                  <a:lnTo>
                    <a:pt x="284" y="327"/>
                  </a:lnTo>
                  <a:lnTo>
                    <a:pt x="287" y="385"/>
                  </a:lnTo>
                  <a:lnTo>
                    <a:pt x="287" y="385"/>
                  </a:lnTo>
                  <a:lnTo>
                    <a:pt x="284" y="444"/>
                  </a:lnTo>
                  <a:lnTo>
                    <a:pt x="278" y="497"/>
                  </a:lnTo>
                  <a:lnTo>
                    <a:pt x="266" y="548"/>
                  </a:lnTo>
                  <a:lnTo>
                    <a:pt x="260" y="571"/>
                  </a:lnTo>
                  <a:lnTo>
                    <a:pt x="252" y="592"/>
                  </a:lnTo>
                  <a:lnTo>
                    <a:pt x="244" y="611"/>
                  </a:lnTo>
                  <a:lnTo>
                    <a:pt x="235" y="629"/>
                  </a:lnTo>
                  <a:lnTo>
                    <a:pt x="225" y="645"/>
                  </a:lnTo>
                  <a:lnTo>
                    <a:pt x="215" y="658"/>
                  </a:lnTo>
                  <a:lnTo>
                    <a:pt x="205" y="669"/>
                  </a:lnTo>
                  <a:lnTo>
                    <a:pt x="192" y="678"/>
                  </a:lnTo>
                  <a:lnTo>
                    <a:pt x="180" y="685"/>
                  </a:lnTo>
                  <a:lnTo>
                    <a:pt x="168" y="689"/>
                  </a:lnTo>
                  <a:lnTo>
                    <a:pt x="168" y="689"/>
                  </a:lnTo>
                  <a:lnTo>
                    <a:pt x="156" y="685"/>
                  </a:lnTo>
                  <a:lnTo>
                    <a:pt x="143" y="678"/>
                  </a:lnTo>
                  <a:lnTo>
                    <a:pt x="131" y="669"/>
                  </a:lnTo>
                  <a:lnTo>
                    <a:pt x="121" y="658"/>
                  </a:lnTo>
                  <a:lnTo>
                    <a:pt x="111" y="645"/>
                  </a:lnTo>
                  <a:lnTo>
                    <a:pt x="100" y="629"/>
                  </a:lnTo>
                  <a:lnTo>
                    <a:pt x="90" y="611"/>
                  </a:lnTo>
                  <a:lnTo>
                    <a:pt x="82" y="592"/>
                  </a:lnTo>
                  <a:lnTo>
                    <a:pt x="74" y="571"/>
                  </a:lnTo>
                  <a:lnTo>
                    <a:pt x="68" y="548"/>
                  </a:lnTo>
                  <a:lnTo>
                    <a:pt x="62" y="523"/>
                  </a:lnTo>
                  <a:lnTo>
                    <a:pt x="56" y="497"/>
                  </a:lnTo>
                  <a:lnTo>
                    <a:pt x="51" y="471"/>
                  </a:lnTo>
                  <a:lnTo>
                    <a:pt x="49" y="444"/>
                  </a:lnTo>
                  <a:lnTo>
                    <a:pt x="47" y="414"/>
                  </a:lnTo>
                  <a:lnTo>
                    <a:pt x="45" y="385"/>
                  </a:lnTo>
                  <a:lnTo>
                    <a:pt x="45" y="385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cxnSp>
          <p:nvCxnSpPr>
            <p:cNvPr id="24" name="Straight Connector 23"/>
            <p:cNvCxnSpPr/>
            <p:nvPr userDrawn="1"/>
          </p:nvCxnSpPr>
          <p:spPr>
            <a:xfrm>
              <a:off x="9053513" y="908206"/>
              <a:ext cx="795651" cy="0"/>
            </a:xfrm>
            <a:prstGeom prst="line">
              <a:avLst/>
            </a:prstGeom>
            <a:ln w="149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31" name="Group 4"/>
          <p:cNvGrpSpPr>
            <a:grpSpLocks noChangeAspect="1"/>
          </p:cNvGrpSpPr>
          <p:nvPr userDrawn="1"/>
        </p:nvGrpSpPr>
        <p:grpSpPr bwMode="auto">
          <a:xfrm>
            <a:off x="8925038" y="567365"/>
            <a:ext cx="2424744" cy="600075"/>
            <a:chOff x="5375" y="411"/>
            <a:chExt cx="1527" cy="378"/>
          </a:xfrm>
        </p:grpSpPr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auto">
            <a:xfrm>
              <a:off x="5375" y="411"/>
              <a:ext cx="1527" cy="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33" name="Freeform 5"/>
            <p:cNvSpPr>
              <a:spLocks/>
            </p:cNvSpPr>
            <p:nvPr/>
          </p:nvSpPr>
          <p:spPr bwMode="auto">
            <a:xfrm>
              <a:off x="6340" y="483"/>
              <a:ext cx="562" cy="280"/>
            </a:xfrm>
            <a:custGeom>
              <a:avLst/>
              <a:gdLst>
                <a:gd name="T0" fmla="*/ 168 w 562"/>
                <a:gd name="T1" fmla="*/ 4 h 280"/>
                <a:gd name="T2" fmla="*/ 170 w 562"/>
                <a:gd name="T3" fmla="*/ 18 h 280"/>
                <a:gd name="T4" fmla="*/ 170 w 562"/>
                <a:gd name="T5" fmla="*/ 18 h 280"/>
                <a:gd name="T6" fmla="*/ 170 w 562"/>
                <a:gd name="T7" fmla="*/ 20 h 280"/>
                <a:gd name="T8" fmla="*/ 546 w 562"/>
                <a:gd name="T9" fmla="*/ 74 h 280"/>
                <a:gd name="T10" fmla="*/ 549 w 562"/>
                <a:gd name="T11" fmla="*/ 74 h 280"/>
                <a:gd name="T12" fmla="*/ 549 w 562"/>
                <a:gd name="T13" fmla="*/ 74 h 280"/>
                <a:gd name="T14" fmla="*/ 557 w 562"/>
                <a:gd name="T15" fmla="*/ 78 h 280"/>
                <a:gd name="T16" fmla="*/ 557 w 562"/>
                <a:gd name="T17" fmla="*/ 78 h 280"/>
                <a:gd name="T18" fmla="*/ 562 w 562"/>
                <a:gd name="T19" fmla="*/ 102 h 280"/>
                <a:gd name="T20" fmla="*/ 562 w 562"/>
                <a:gd name="T21" fmla="*/ 102 h 280"/>
                <a:gd name="T22" fmla="*/ 562 w 562"/>
                <a:gd name="T23" fmla="*/ 186 h 280"/>
                <a:gd name="T24" fmla="*/ 562 w 562"/>
                <a:gd name="T25" fmla="*/ 186 h 280"/>
                <a:gd name="T26" fmla="*/ 562 w 562"/>
                <a:gd name="T27" fmla="*/ 186 h 280"/>
                <a:gd name="T28" fmla="*/ 559 w 562"/>
                <a:gd name="T29" fmla="*/ 200 h 280"/>
                <a:gd name="T30" fmla="*/ 559 w 562"/>
                <a:gd name="T31" fmla="*/ 200 h 280"/>
                <a:gd name="T32" fmla="*/ 549 w 562"/>
                <a:gd name="T33" fmla="*/ 210 h 280"/>
                <a:gd name="T34" fmla="*/ 543 w 562"/>
                <a:gd name="T35" fmla="*/ 210 h 280"/>
                <a:gd name="T36" fmla="*/ 351 w 562"/>
                <a:gd name="T37" fmla="*/ 210 h 280"/>
                <a:gd name="T38" fmla="*/ 351 w 562"/>
                <a:gd name="T39" fmla="*/ 210 h 280"/>
                <a:gd name="T40" fmla="*/ 170 w 562"/>
                <a:gd name="T41" fmla="*/ 212 h 280"/>
                <a:gd name="T42" fmla="*/ 170 w 562"/>
                <a:gd name="T43" fmla="*/ 254 h 280"/>
                <a:gd name="T44" fmla="*/ 170 w 562"/>
                <a:gd name="T45" fmla="*/ 258 h 280"/>
                <a:gd name="T46" fmla="*/ 170 w 562"/>
                <a:gd name="T47" fmla="*/ 266 h 280"/>
                <a:gd name="T48" fmla="*/ 168 w 562"/>
                <a:gd name="T49" fmla="*/ 272 h 280"/>
                <a:gd name="T50" fmla="*/ 165 w 562"/>
                <a:gd name="T51" fmla="*/ 278 h 280"/>
                <a:gd name="T52" fmla="*/ 157 w 562"/>
                <a:gd name="T53" fmla="*/ 280 h 280"/>
                <a:gd name="T54" fmla="*/ 152 w 562"/>
                <a:gd name="T55" fmla="*/ 278 h 280"/>
                <a:gd name="T56" fmla="*/ 146 w 562"/>
                <a:gd name="T57" fmla="*/ 276 h 280"/>
                <a:gd name="T58" fmla="*/ 8 w 562"/>
                <a:gd name="T59" fmla="*/ 160 h 280"/>
                <a:gd name="T60" fmla="*/ 8 w 562"/>
                <a:gd name="T61" fmla="*/ 160 h 280"/>
                <a:gd name="T62" fmla="*/ 0 w 562"/>
                <a:gd name="T63" fmla="*/ 150 h 280"/>
                <a:gd name="T64" fmla="*/ 0 w 562"/>
                <a:gd name="T65" fmla="*/ 150 h 280"/>
                <a:gd name="T66" fmla="*/ 0 w 562"/>
                <a:gd name="T67" fmla="*/ 142 h 280"/>
                <a:gd name="T68" fmla="*/ 2 w 562"/>
                <a:gd name="T69" fmla="*/ 130 h 280"/>
                <a:gd name="T70" fmla="*/ 2 w 562"/>
                <a:gd name="T71" fmla="*/ 130 h 280"/>
                <a:gd name="T72" fmla="*/ 8 w 562"/>
                <a:gd name="T73" fmla="*/ 122 h 280"/>
                <a:gd name="T74" fmla="*/ 136 w 562"/>
                <a:gd name="T75" fmla="*/ 10 h 280"/>
                <a:gd name="T76" fmla="*/ 136 w 562"/>
                <a:gd name="T77" fmla="*/ 8 h 280"/>
                <a:gd name="T78" fmla="*/ 152 w 562"/>
                <a:gd name="T79" fmla="*/ 2 h 280"/>
                <a:gd name="T80" fmla="*/ 160 w 562"/>
                <a:gd name="T81" fmla="*/ 0 h 280"/>
                <a:gd name="T82" fmla="*/ 162 w 562"/>
                <a:gd name="T83" fmla="*/ 2 h 280"/>
                <a:gd name="T84" fmla="*/ 168 w 562"/>
                <a:gd name="T85" fmla="*/ 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2" h="280">
                  <a:moveTo>
                    <a:pt x="168" y="4"/>
                  </a:moveTo>
                  <a:lnTo>
                    <a:pt x="168" y="4"/>
                  </a:lnTo>
                  <a:lnTo>
                    <a:pt x="170" y="10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20"/>
                  </a:lnTo>
                  <a:lnTo>
                    <a:pt x="170" y="20"/>
                  </a:lnTo>
                  <a:lnTo>
                    <a:pt x="170" y="74"/>
                  </a:lnTo>
                  <a:lnTo>
                    <a:pt x="546" y="74"/>
                  </a:lnTo>
                  <a:lnTo>
                    <a:pt x="546" y="74"/>
                  </a:lnTo>
                  <a:lnTo>
                    <a:pt x="549" y="74"/>
                  </a:lnTo>
                  <a:lnTo>
                    <a:pt x="549" y="74"/>
                  </a:lnTo>
                  <a:lnTo>
                    <a:pt x="549" y="74"/>
                  </a:lnTo>
                  <a:lnTo>
                    <a:pt x="551" y="76"/>
                  </a:lnTo>
                  <a:lnTo>
                    <a:pt x="557" y="78"/>
                  </a:lnTo>
                  <a:lnTo>
                    <a:pt x="557" y="78"/>
                  </a:lnTo>
                  <a:lnTo>
                    <a:pt x="557" y="78"/>
                  </a:lnTo>
                  <a:lnTo>
                    <a:pt x="562" y="88"/>
                  </a:lnTo>
                  <a:lnTo>
                    <a:pt x="562" y="102"/>
                  </a:lnTo>
                  <a:lnTo>
                    <a:pt x="562" y="102"/>
                  </a:lnTo>
                  <a:lnTo>
                    <a:pt x="562" y="102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90"/>
                  </a:lnTo>
                  <a:lnTo>
                    <a:pt x="559" y="200"/>
                  </a:lnTo>
                  <a:lnTo>
                    <a:pt x="559" y="200"/>
                  </a:lnTo>
                  <a:lnTo>
                    <a:pt x="559" y="200"/>
                  </a:lnTo>
                  <a:lnTo>
                    <a:pt x="554" y="206"/>
                  </a:lnTo>
                  <a:lnTo>
                    <a:pt x="549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351" y="210"/>
                  </a:lnTo>
                  <a:lnTo>
                    <a:pt x="351" y="210"/>
                  </a:lnTo>
                  <a:lnTo>
                    <a:pt x="351" y="210"/>
                  </a:lnTo>
                  <a:lnTo>
                    <a:pt x="170" y="212"/>
                  </a:lnTo>
                  <a:lnTo>
                    <a:pt x="170" y="212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70" y="258"/>
                  </a:lnTo>
                  <a:lnTo>
                    <a:pt x="170" y="258"/>
                  </a:lnTo>
                  <a:lnTo>
                    <a:pt x="170" y="258"/>
                  </a:lnTo>
                  <a:lnTo>
                    <a:pt x="170" y="266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5" y="278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2" y="278"/>
                  </a:lnTo>
                  <a:lnTo>
                    <a:pt x="146" y="276"/>
                  </a:lnTo>
                  <a:lnTo>
                    <a:pt x="146" y="276"/>
                  </a:lnTo>
                  <a:lnTo>
                    <a:pt x="144" y="276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5" y="158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136" y="10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44" y="4"/>
                  </a:lnTo>
                  <a:lnTo>
                    <a:pt x="152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62" y="2"/>
                  </a:lnTo>
                  <a:lnTo>
                    <a:pt x="168" y="4"/>
                  </a:lnTo>
                  <a:lnTo>
                    <a:pt x="168" y="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5375" y="483"/>
              <a:ext cx="565" cy="280"/>
            </a:xfrm>
            <a:custGeom>
              <a:avLst/>
              <a:gdLst>
                <a:gd name="T0" fmla="*/ 397 w 565"/>
                <a:gd name="T1" fmla="*/ 4 h 280"/>
                <a:gd name="T2" fmla="*/ 405 w 565"/>
                <a:gd name="T3" fmla="*/ 0 h 280"/>
                <a:gd name="T4" fmla="*/ 405 w 565"/>
                <a:gd name="T5" fmla="*/ 0 h 280"/>
                <a:gd name="T6" fmla="*/ 418 w 565"/>
                <a:gd name="T7" fmla="*/ 4 h 280"/>
                <a:gd name="T8" fmla="*/ 426 w 565"/>
                <a:gd name="T9" fmla="*/ 10 h 280"/>
                <a:gd name="T10" fmla="*/ 554 w 565"/>
                <a:gd name="T11" fmla="*/ 122 h 280"/>
                <a:gd name="T12" fmla="*/ 554 w 565"/>
                <a:gd name="T13" fmla="*/ 122 h 280"/>
                <a:gd name="T14" fmla="*/ 562 w 565"/>
                <a:gd name="T15" fmla="*/ 130 h 280"/>
                <a:gd name="T16" fmla="*/ 565 w 565"/>
                <a:gd name="T17" fmla="*/ 142 h 280"/>
                <a:gd name="T18" fmla="*/ 565 w 565"/>
                <a:gd name="T19" fmla="*/ 142 h 280"/>
                <a:gd name="T20" fmla="*/ 562 w 565"/>
                <a:gd name="T21" fmla="*/ 150 h 280"/>
                <a:gd name="T22" fmla="*/ 557 w 565"/>
                <a:gd name="T23" fmla="*/ 158 h 280"/>
                <a:gd name="T24" fmla="*/ 554 w 565"/>
                <a:gd name="T25" fmla="*/ 160 h 280"/>
                <a:gd name="T26" fmla="*/ 418 w 565"/>
                <a:gd name="T27" fmla="*/ 276 h 280"/>
                <a:gd name="T28" fmla="*/ 418 w 565"/>
                <a:gd name="T29" fmla="*/ 276 h 280"/>
                <a:gd name="T30" fmla="*/ 405 w 565"/>
                <a:gd name="T31" fmla="*/ 280 h 280"/>
                <a:gd name="T32" fmla="*/ 405 w 565"/>
                <a:gd name="T33" fmla="*/ 280 h 280"/>
                <a:gd name="T34" fmla="*/ 394 w 565"/>
                <a:gd name="T35" fmla="*/ 272 h 280"/>
                <a:gd name="T36" fmla="*/ 394 w 565"/>
                <a:gd name="T37" fmla="*/ 272 h 280"/>
                <a:gd name="T38" fmla="*/ 392 w 565"/>
                <a:gd name="T39" fmla="*/ 258 h 280"/>
                <a:gd name="T40" fmla="*/ 392 w 565"/>
                <a:gd name="T41" fmla="*/ 258 h 280"/>
                <a:gd name="T42" fmla="*/ 392 w 565"/>
                <a:gd name="T43" fmla="*/ 212 h 280"/>
                <a:gd name="T44" fmla="*/ 392 w 565"/>
                <a:gd name="T45" fmla="*/ 212 h 280"/>
                <a:gd name="T46" fmla="*/ 213 w 565"/>
                <a:gd name="T47" fmla="*/ 210 h 280"/>
                <a:gd name="T48" fmla="*/ 19 w 565"/>
                <a:gd name="T49" fmla="*/ 210 h 280"/>
                <a:gd name="T50" fmla="*/ 19 w 565"/>
                <a:gd name="T51" fmla="*/ 210 h 280"/>
                <a:gd name="T52" fmla="*/ 8 w 565"/>
                <a:gd name="T53" fmla="*/ 206 h 280"/>
                <a:gd name="T54" fmla="*/ 3 w 565"/>
                <a:gd name="T55" fmla="*/ 200 h 280"/>
                <a:gd name="T56" fmla="*/ 0 w 565"/>
                <a:gd name="T57" fmla="*/ 190 h 280"/>
                <a:gd name="T58" fmla="*/ 0 w 565"/>
                <a:gd name="T59" fmla="*/ 186 h 280"/>
                <a:gd name="T60" fmla="*/ 0 w 565"/>
                <a:gd name="T61" fmla="*/ 186 h 280"/>
                <a:gd name="T62" fmla="*/ 0 w 565"/>
                <a:gd name="T63" fmla="*/ 186 h 280"/>
                <a:gd name="T64" fmla="*/ 0 w 565"/>
                <a:gd name="T65" fmla="*/ 102 h 280"/>
                <a:gd name="T66" fmla="*/ 3 w 565"/>
                <a:gd name="T67" fmla="*/ 88 h 280"/>
                <a:gd name="T68" fmla="*/ 5 w 565"/>
                <a:gd name="T69" fmla="*/ 78 h 280"/>
                <a:gd name="T70" fmla="*/ 11 w 565"/>
                <a:gd name="T71" fmla="*/ 76 h 280"/>
                <a:gd name="T72" fmla="*/ 13 w 565"/>
                <a:gd name="T73" fmla="*/ 74 h 280"/>
                <a:gd name="T74" fmla="*/ 16 w 565"/>
                <a:gd name="T75" fmla="*/ 74 h 280"/>
                <a:gd name="T76" fmla="*/ 392 w 565"/>
                <a:gd name="T77" fmla="*/ 20 h 280"/>
                <a:gd name="T78" fmla="*/ 392 w 565"/>
                <a:gd name="T79" fmla="*/ 20 h 280"/>
                <a:gd name="T80" fmla="*/ 392 w 565"/>
                <a:gd name="T81" fmla="*/ 18 h 280"/>
                <a:gd name="T82" fmla="*/ 392 w 565"/>
                <a:gd name="T83" fmla="*/ 10 h 280"/>
                <a:gd name="T84" fmla="*/ 397 w 565"/>
                <a:gd name="T85" fmla="*/ 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5" h="280">
                  <a:moveTo>
                    <a:pt x="397" y="4"/>
                  </a:moveTo>
                  <a:lnTo>
                    <a:pt x="397" y="4"/>
                  </a:lnTo>
                  <a:lnTo>
                    <a:pt x="400" y="2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10" y="2"/>
                  </a:lnTo>
                  <a:lnTo>
                    <a:pt x="418" y="4"/>
                  </a:lnTo>
                  <a:lnTo>
                    <a:pt x="426" y="8"/>
                  </a:lnTo>
                  <a:lnTo>
                    <a:pt x="426" y="10"/>
                  </a:lnTo>
                  <a:lnTo>
                    <a:pt x="554" y="120"/>
                  </a:lnTo>
                  <a:lnTo>
                    <a:pt x="554" y="122"/>
                  </a:lnTo>
                  <a:lnTo>
                    <a:pt x="554" y="122"/>
                  </a:lnTo>
                  <a:lnTo>
                    <a:pt x="554" y="122"/>
                  </a:lnTo>
                  <a:lnTo>
                    <a:pt x="562" y="130"/>
                  </a:lnTo>
                  <a:lnTo>
                    <a:pt x="562" y="130"/>
                  </a:lnTo>
                  <a:lnTo>
                    <a:pt x="562" y="130"/>
                  </a:lnTo>
                  <a:lnTo>
                    <a:pt x="565" y="142"/>
                  </a:lnTo>
                  <a:lnTo>
                    <a:pt x="565" y="142"/>
                  </a:lnTo>
                  <a:lnTo>
                    <a:pt x="565" y="142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57" y="158"/>
                  </a:lnTo>
                  <a:lnTo>
                    <a:pt x="554" y="160"/>
                  </a:lnTo>
                  <a:lnTo>
                    <a:pt x="554" y="160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0" y="278"/>
                  </a:lnTo>
                  <a:lnTo>
                    <a:pt x="405" y="280"/>
                  </a:lnTo>
                  <a:lnTo>
                    <a:pt x="405" y="280"/>
                  </a:lnTo>
                  <a:lnTo>
                    <a:pt x="405" y="280"/>
                  </a:lnTo>
                  <a:lnTo>
                    <a:pt x="400" y="278"/>
                  </a:lnTo>
                  <a:lnTo>
                    <a:pt x="394" y="272"/>
                  </a:lnTo>
                  <a:lnTo>
                    <a:pt x="394" y="272"/>
                  </a:lnTo>
                  <a:lnTo>
                    <a:pt x="394" y="272"/>
                  </a:lnTo>
                  <a:lnTo>
                    <a:pt x="392" y="266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4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213" y="210"/>
                  </a:lnTo>
                  <a:lnTo>
                    <a:pt x="213" y="210"/>
                  </a:lnTo>
                  <a:lnTo>
                    <a:pt x="213" y="210"/>
                  </a:lnTo>
                  <a:lnTo>
                    <a:pt x="19" y="210"/>
                  </a:lnTo>
                  <a:lnTo>
                    <a:pt x="19" y="210"/>
                  </a:lnTo>
                  <a:lnTo>
                    <a:pt x="19" y="210"/>
                  </a:lnTo>
                  <a:lnTo>
                    <a:pt x="13" y="210"/>
                  </a:lnTo>
                  <a:lnTo>
                    <a:pt x="8" y="206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0" y="190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3" y="8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11" y="76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6" y="74"/>
                  </a:lnTo>
                  <a:lnTo>
                    <a:pt x="392" y="74"/>
                  </a:lnTo>
                  <a:lnTo>
                    <a:pt x="392" y="20"/>
                  </a:lnTo>
                  <a:lnTo>
                    <a:pt x="392" y="20"/>
                  </a:lnTo>
                  <a:lnTo>
                    <a:pt x="392" y="20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2" y="10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5977" y="411"/>
              <a:ext cx="323" cy="378"/>
            </a:xfrm>
            <a:custGeom>
              <a:avLst/>
              <a:gdLst>
                <a:gd name="T0" fmla="*/ 240 w 323"/>
                <a:gd name="T1" fmla="*/ 224 h 378"/>
                <a:gd name="T2" fmla="*/ 224 w 323"/>
                <a:gd name="T3" fmla="*/ 210 h 378"/>
                <a:gd name="T4" fmla="*/ 211 w 323"/>
                <a:gd name="T5" fmla="*/ 188 h 378"/>
                <a:gd name="T6" fmla="*/ 211 w 323"/>
                <a:gd name="T7" fmla="*/ 162 h 378"/>
                <a:gd name="T8" fmla="*/ 232 w 323"/>
                <a:gd name="T9" fmla="*/ 128 h 378"/>
                <a:gd name="T10" fmla="*/ 243 w 323"/>
                <a:gd name="T11" fmla="*/ 118 h 378"/>
                <a:gd name="T12" fmla="*/ 259 w 323"/>
                <a:gd name="T13" fmla="*/ 90 h 378"/>
                <a:gd name="T14" fmla="*/ 261 w 323"/>
                <a:gd name="T15" fmla="*/ 76 h 378"/>
                <a:gd name="T16" fmla="*/ 253 w 323"/>
                <a:gd name="T17" fmla="*/ 46 h 378"/>
                <a:gd name="T18" fmla="*/ 232 w 323"/>
                <a:gd name="T19" fmla="*/ 22 h 378"/>
                <a:gd name="T20" fmla="*/ 200 w 323"/>
                <a:gd name="T21" fmla="*/ 6 h 378"/>
                <a:gd name="T22" fmla="*/ 160 w 323"/>
                <a:gd name="T23" fmla="*/ 0 h 378"/>
                <a:gd name="T24" fmla="*/ 142 w 323"/>
                <a:gd name="T25" fmla="*/ 2 h 378"/>
                <a:gd name="T26" fmla="*/ 104 w 323"/>
                <a:gd name="T27" fmla="*/ 14 h 378"/>
                <a:gd name="T28" fmla="*/ 78 w 323"/>
                <a:gd name="T29" fmla="*/ 34 h 378"/>
                <a:gd name="T30" fmla="*/ 64 w 323"/>
                <a:gd name="T31" fmla="*/ 60 h 378"/>
                <a:gd name="T32" fmla="*/ 62 w 323"/>
                <a:gd name="T33" fmla="*/ 76 h 378"/>
                <a:gd name="T34" fmla="*/ 70 w 323"/>
                <a:gd name="T35" fmla="*/ 104 h 378"/>
                <a:gd name="T36" fmla="*/ 88 w 323"/>
                <a:gd name="T37" fmla="*/ 126 h 378"/>
                <a:gd name="T38" fmla="*/ 99 w 323"/>
                <a:gd name="T39" fmla="*/ 140 h 378"/>
                <a:gd name="T40" fmla="*/ 107 w 323"/>
                <a:gd name="T41" fmla="*/ 162 h 378"/>
                <a:gd name="T42" fmla="*/ 102 w 323"/>
                <a:gd name="T43" fmla="*/ 194 h 378"/>
                <a:gd name="T44" fmla="*/ 86 w 323"/>
                <a:gd name="T45" fmla="*/ 212 h 378"/>
                <a:gd name="T46" fmla="*/ 62 w 323"/>
                <a:gd name="T47" fmla="*/ 232 h 378"/>
                <a:gd name="T48" fmla="*/ 64 w 323"/>
                <a:gd name="T49" fmla="*/ 232 h 378"/>
                <a:gd name="T50" fmla="*/ 46 w 323"/>
                <a:gd name="T51" fmla="*/ 244 h 378"/>
                <a:gd name="T52" fmla="*/ 14 w 323"/>
                <a:gd name="T53" fmla="*/ 286 h 378"/>
                <a:gd name="T54" fmla="*/ 0 w 323"/>
                <a:gd name="T55" fmla="*/ 326 h 378"/>
                <a:gd name="T56" fmla="*/ 0 w 323"/>
                <a:gd name="T57" fmla="*/ 338 h 378"/>
                <a:gd name="T58" fmla="*/ 0 w 323"/>
                <a:gd name="T59" fmla="*/ 352 h 378"/>
                <a:gd name="T60" fmla="*/ 3 w 323"/>
                <a:gd name="T61" fmla="*/ 354 h 378"/>
                <a:gd name="T62" fmla="*/ 22 w 323"/>
                <a:gd name="T63" fmla="*/ 362 h 378"/>
                <a:gd name="T64" fmla="*/ 54 w 323"/>
                <a:gd name="T65" fmla="*/ 370 h 378"/>
                <a:gd name="T66" fmla="*/ 115 w 323"/>
                <a:gd name="T67" fmla="*/ 376 h 378"/>
                <a:gd name="T68" fmla="*/ 158 w 323"/>
                <a:gd name="T69" fmla="*/ 378 h 378"/>
                <a:gd name="T70" fmla="*/ 160 w 323"/>
                <a:gd name="T71" fmla="*/ 378 h 378"/>
                <a:gd name="T72" fmla="*/ 243 w 323"/>
                <a:gd name="T73" fmla="*/ 374 h 378"/>
                <a:gd name="T74" fmla="*/ 269 w 323"/>
                <a:gd name="T75" fmla="*/ 372 h 378"/>
                <a:gd name="T76" fmla="*/ 291 w 323"/>
                <a:gd name="T77" fmla="*/ 368 h 378"/>
                <a:gd name="T78" fmla="*/ 309 w 323"/>
                <a:gd name="T79" fmla="*/ 364 h 378"/>
                <a:gd name="T80" fmla="*/ 320 w 323"/>
                <a:gd name="T81" fmla="*/ 352 h 378"/>
                <a:gd name="T82" fmla="*/ 323 w 323"/>
                <a:gd name="T83" fmla="*/ 334 h 378"/>
                <a:gd name="T84" fmla="*/ 320 w 323"/>
                <a:gd name="T85" fmla="*/ 318 h 378"/>
                <a:gd name="T86" fmla="*/ 307 w 323"/>
                <a:gd name="T87" fmla="*/ 284 h 378"/>
                <a:gd name="T88" fmla="*/ 285 w 323"/>
                <a:gd name="T89" fmla="*/ 256 h 378"/>
                <a:gd name="T90" fmla="*/ 256 w 323"/>
                <a:gd name="T91" fmla="*/ 232 h 378"/>
                <a:gd name="T92" fmla="*/ 240 w 323"/>
                <a:gd name="T93" fmla="*/ 224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3" h="378">
                  <a:moveTo>
                    <a:pt x="240" y="224"/>
                  </a:moveTo>
                  <a:lnTo>
                    <a:pt x="240" y="224"/>
                  </a:lnTo>
                  <a:lnTo>
                    <a:pt x="232" y="218"/>
                  </a:lnTo>
                  <a:lnTo>
                    <a:pt x="224" y="210"/>
                  </a:lnTo>
                  <a:lnTo>
                    <a:pt x="216" y="200"/>
                  </a:lnTo>
                  <a:lnTo>
                    <a:pt x="211" y="188"/>
                  </a:lnTo>
                  <a:lnTo>
                    <a:pt x="208" y="176"/>
                  </a:lnTo>
                  <a:lnTo>
                    <a:pt x="211" y="162"/>
                  </a:lnTo>
                  <a:lnTo>
                    <a:pt x="219" y="146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43" y="118"/>
                  </a:lnTo>
                  <a:lnTo>
                    <a:pt x="253" y="104"/>
                  </a:lnTo>
                  <a:lnTo>
                    <a:pt x="259" y="90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59" y="60"/>
                  </a:lnTo>
                  <a:lnTo>
                    <a:pt x="253" y="46"/>
                  </a:lnTo>
                  <a:lnTo>
                    <a:pt x="243" y="34"/>
                  </a:lnTo>
                  <a:lnTo>
                    <a:pt x="232" y="22"/>
                  </a:lnTo>
                  <a:lnTo>
                    <a:pt x="216" y="14"/>
                  </a:lnTo>
                  <a:lnTo>
                    <a:pt x="200" y="6"/>
                  </a:lnTo>
                  <a:lnTo>
                    <a:pt x="181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42" y="2"/>
                  </a:lnTo>
                  <a:lnTo>
                    <a:pt x="123" y="6"/>
                  </a:lnTo>
                  <a:lnTo>
                    <a:pt x="104" y="14"/>
                  </a:lnTo>
                  <a:lnTo>
                    <a:pt x="91" y="22"/>
                  </a:lnTo>
                  <a:lnTo>
                    <a:pt x="78" y="34"/>
                  </a:lnTo>
                  <a:lnTo>
                    <a:pt x="70" y="46"/>
                  </a:lnTo>
                  <a:lnTo>
                    <a:pt x="64" y="60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4" y="90"/>
                  </a:lnTo>
                  <a:lnTo>
                    <a:pt x="70" y="104"/>
                  </a:lnTo>
                  <a:lnTo>
                    <a:pt x="78" y="11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99" y="140"/>
                  </a:lnTo>
                  <a:lnTo>
                    <a:pt x="104" y="150"/>
                  </a:lnTo>
                  <a:lnTo>
                    <a:pt x="107" y="162"/>
                  </a:lnTo>
                  <a:lnTo>
                    <a:pt x="107" y="178"/>
                  </a:lnTo>
                  <a:lnTo>
                    <a:pt x="102" y="194"/>
                  </a:lnTo>
                  <a:lnTo>
                    <a:pt x="94" y="204"/>
                  </a:lnTo>
                  <a:lnTo>
                    <a:pt x="86" y="212"/>
                  </a:lnTo>
                  <a:lnTo>
                    <a:pt x="75" y="222"/>
                  </a:lnTo>
                  <a:lnTo>
                    <a:pt x="62" y="232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27" y="264"/>
                  </a:lnTo>
                  <a:lnTo>
                    <a:pt x="14" y="286"/>
                  </a:lnTo>
                  <a:lnTo>
                    <a:pt x="3" y="312"/>
                  </a:lnTo>
                  <a:lnTo>
                    <a:pt x="0" y="326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0" y="350"/>
                  </a:lnTo>
                  <a:lnTo>
                    <a:pt x="0" y="352"/>
                  </a:lnTo>
                  <a:lnTo>
                    <a:pt x="3" y="354"/>
                  </a:lnTo>
                  <a:lnTo>
                    <a:pt x="3" y="354"/>
                  </a:lnTo>
                  <a:lnTo>
                    <a:pt x="11" y="358"/>
                  </a:lnTo>
                  <a:lnTo>
                    <a:pt x="22" y="362"/>
                  </a:lnTo>
                  <a:lnTo>
                    <a:pt x="35" y="366"/>
                  </a:lnTo>
                  <a:lnTo>
                    <a:pt x="54" y="370"/>
                  </a:lnTo>
                  <a:lnTo>
                    <a:pt x="80" y="374"/>
                  </a:lnTo>
                  <a:lnTo>
                    <a:pt x="115" y="376"/>
                  </a:lnTo>
                  <a:lnTo>
                    <a:pt x="158" y="378"/>
                  </a:lnTo>
                  <a:lnTo>
                    <a:pt x="158" y="378"/>
                  </a:lnTo>
                  <a:lnTo>
                    <a:pt x="160" y="378"/>
                  </a:lnTo>
                  <a:lnTo>
                    <a:pt x="160" y="378"/>
                  </a:lnTo>
                  <a:lnTo>
                    <a:pt x="192" y="376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69" y="372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309" y="364"/>
                  </a:lnTo>
                  <a:lnTo>
                    <a:pt x="309" y="364"/>
                  </a:lnTo>
                  <a:lnTo>
                    <a:pt x="317" y="360"/>
                  </a:lnTo>
                  <a:lnTo>
                    <a:pt x="320" y="352"/>
                  </a:lnTo>
                  <a:lnTo>
                    <a:pt x="320" y="352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0" y="318"/>
                  </a:lnTo>
                  <a:lnTo>
                    <a:pt x="315" y="300"/>
                  </a:lnTo>
                  <a:lnTo>
                    <a:pt x="307" y="284"/>
                  </a:lnTo>
                  <a:lnTo>
                    <a:pt x="299" y="270"/>
                  </a:lnTo>
                  <a:lnTo>
                    <a:pt x="285" y="256"/>
                  </a:lnTo>
                  <a:lnTo>
                    <a:pt x="272" y="244"/>
                  </a:lnTo>
                  <a:lnTo>
                    <a:pt x="256" y="232"/>
                  </a:lnTo>
                  <a:lnTo>
                    <a:pt x="240" y="224"/>
                  </a:lnTo>
                  <a:lnTo>
                    <a:pt x="240" y="2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8870799" y="598551"/>
            <a:ext cx="2324705" cy="584200"/>
            <a:chOff x="5377" y="392"/>
            <a:chExt cx="1464" cy="368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/>
          </p:nvSpPr>
          <p:spPr bwMode="auto">
            <a:xfrm>
              <a:off x="5377" y="392"/>
              <a:ext cx="1464" cy="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5377" y="392"/>
              <a:ext cx="301" cy="368"/>
            </a:xfrm>
            <a:custGeom>
              <a:avLst/>
              <a:gdLst>
                <a:gd name="T0" fmla="*/ 301 w 301"/>
                <a:gd name="T1" fmla="*/ 182 h 368"/>
                <a:gd name="T2" fmla="*/ 301 w 301"/>
                <a:gd name="T3" fmla="*/ 182 h 368"/>
                <a:gd name="T4" fmla="*/ 299 w 301"/>
                <a:gd name="T5" fmla="*/ 176 h 368"/>
                <a:gd name="T6" fmla="*/ 293 w 301"/>
                <a:gd name="T7" fmla="*/ 168 h 368"/>
                <a:gd name="T8" fmla="*/ 75 w 301"/>
                <a:gd name="T9" fmla="*/ 6 h 368"/>
                <a:gd name="T10" fmla="*/ 75 w 301"/>
                <a:gd name="T11" fmla="*/ 6 h 368"/>
                <a:gd name="T12" fmla="*/ 67 w 301"/>
                <a:gd name="T13" fmla="*/ 2 h 368"/>
                <a:gd name="T14" fmla="*/ 56 w 301"/>
                <a:gd name="T15" fmla="*/ 0 h 368"/>
                <a:gd name="T16" fmla="*/ 56 w 301"/>
                <a:gd name="T17" fmla="*/ 0 h 368"/>
                <a:gd name="T18" fmla="*/ 48 w 301"/>
                <a:gd name="T19" fmla="*/ 0 h 368"/>
                <a:gd name="T20" fmla="*/ 40 w 301"/>
                <a:gd name="T21" fmla="*/ 4 h 368"/>
                <a:gd name="T22" fmla="*/ 5 w 301"/>
                <a:gd name="T23" fmla="*/ 30 h 368"/>
                <a:gd name="T24" fmla="*/ 5 w 301"/>
                <a:gd name="T25" fmla="*/ 30 h 368"/>
                <a:gd name="T26" fmla="*/ 0 w 301"/>
                <a:gd name="T27" fmla="*/ 36 h 368"/>
                <a:gd name="T28" fmla="*/ 0 w 301"/>
                <a:gd name="T29" fmla="*/ 42 h 368"/>
                <a:gd name="T30" fmla="*/ 0 w 301"/>
                <a:gd name="T31" fmla="*/ 42 h 368"/>
                <a:gd name="T32" fmla="*/ 3 w 301"/>
                <a:gd name="T33" fmla="*/ 50 h 368"/>
                <a:gd name="T34" fmla="*/ 8 w 301"/>
                <a:gd name="T35" fmla="*/ 56 h 368"/>
                <a:gd name="T36" fmla="*/ 176 w 301"/>
                <a:gd name="T37" fmla="*/ 184 h 368"/>
                <a:gd name="T38" fmla="*/ 8 w 301"/>
                <a:gd name="T39" fmla="*/ 310 h 368"/>
                <a:gd name="T40" fmla="*/ 8 w 301"/>
                <a:gd name="T41" fmla="*/ 310 h 368"/>
                <a:gd name="T42" fmla="*/ 3 w 301"/>
                <a:gd name="T43" fmla="*/ 318 h 368"/>
                <a:gd name="T44" fmla="*/ 0 w 301"/>
                <a:gd name="T45" fmla="*/ 324 h 368"/>
                <a:gd name="T46" fmla="*/ 0 w 301"/>
                <a:gd name="T47" fmla="*/ 324 h 368"/>
                <a:gd name="T48" fmla="*/ 0 w 301"/>
                <a:gd name="T49" fmla="*/ 332 h 368"/>
                <a:gd name="T50" fmla="*/ 5 w 301"/>
                <a:gd name="T51" fmla="*/ 336 h 368"/>
                <a:gd name="T52" fmla="*/ 40 w 301"/>
                <a:gd name="T53" fmla="*/ 362 h 368"/>
                <a:gd name="T54" fmla="*/ 40 w 301"/>
                <a:gd name="T55" fmla="*/ 362 h 368"/>
                <a:gd name="T56" fmla="*/ 48 w 301"/>
                <a:gd name="T57" fmla="*/ 366 h 368"/>
                <a:gd name="T58" fmla="*/ 56 w 301"/>
                <a:gd name="T59" fmla="*/ 368 h 368"/>
                <a:gd name="T60" fmla="*/ 56 w 301"/>
                <a:gd name="T61" fmla="*/ 368 h 368"/>
                <a:gd name="T62" fmla="*/ 56 w 301"/>
                <a:gd name="T63" fmla="*/ 368 h 368"/>
                <a:gd name="T64" fmla="*/ 56 w 301"/>
                <a:gd name="T65" fmla="*/ 368 h 368"/>
                <a:gd name="T66" fmla="*/ 67 w 301"/>
                <a:gd name="T67" fmla="*/ 366 h 368"/>
                <a:gd name="T68" fmla="*/ 75 w 301"/>
                <a:gd name="T69" fmla="*/ 362 h 368"/>
                <a:gd name="T70" fmla="*/ 293 w 301"/>
                <a:gd name="T71" fmla="*/ 198 h 368"/>
                <a:gd name="T72" fmla="*/ 293 w 301"/>
                <a:gd name="T73" fmla="*/ 198 h 368"/>
                <a:gd name="T74" fmla="*/ 299 w 301"/>
                <a:gd name="T75" fmla="*/ 192 h 368"/>
                <a:gd name="T76" fmla="*/ 301 w 301"/>
                <a:gd name="T77" fmla="*/ 184 h 368"/>
                <a:gd name="T78" fmla="*/ 301 w 301"/>
                <a:gd name="T79" fmla="*/ 184 h 368"/>
                <a:gd name="T80" fmla="*/ 301 w 301"/>
                <a:gd name="T81" fmla="*/ 184 h 368"/>
                <a:gd name="T82" fmla="*/ 301 w 301"/>
                <a:gd name="T83" fmla="*/ 184 h 368"/>
                <a:gd name="T84" fmla="*/ 301 w 301"/>
                <a:gd name="T85" fmla="*/ 182 h 368"/>
                <a:gd name="T86" fmla="*/ 301 w 301"/>
                <a:gd name="T87" fmla="*/ 18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1" h="368">
                  <a:moveTo>
                    <a:pt x="301" y="182"/>
                  </a:moveTo>
                  <a:lnTo>
                    <a:pt x="301" y="182"/>
                  </a:lnTo>
                  <a:lnTo>
                    <a:pt x="299" y="176"/>
                  </a:lnTo>
                  <a:lnTo>
                    <a:pt x="293" y="168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67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40" y="4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3" y="50"/>
                  </a:lnTo>
                  <a:lnTo>
                    <a:pt x="8" y="56"/>
                  </a:lnTo>
                  <a:lnTo>
                    <a:pt x="176" y="184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3" y="318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0" y="332"/>
                  </a:lnTo>
                  <a:lnTo>
                    <a:pt x="5" y="336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8" y="366"/>
                  </a:lnTo>
                  <a:lnTo>
                    <a:pt x="56" y="368"/>
                  </a:lnTo>
                  <a:lnTo>
                    <a:pt x="56" y="368"/>
                  </a:lnTo>
                  <a:lnTo>
                    <a:pt x="56" y="368"/>
                  </a:lnTo>
                  <a:lnTo>
                    <a:pt x="56" y="368"/>
                  </a:lnTo>
                  <a:lnTo>
                    <a:pt x="67" y="366"/>
                  </a:lnTo>
                  <a:lnTo>
                    <a:pt x="75" y="362"/>
                  </a:lnTo>
                  <a:lnTo>
                    <a:pt x="293" y="198"/>
                  </a:lnTo>
                  <a:lnTo>
                    <a:pt x="293" y="198"/>
                  </a:lnTo>
                  <a:lnTo>
                    <a:pt x="299" y="192"/>
                  </a:lnTo>
                  <a:lnTo>
                    <a:pt x="301" y="184"/>
                  </a:lnTo>
                  <a:lnTo>
                    <a:pt x="301" y="184"/>
                  </a:lnTo>
                  <a:lnTo>
                    <a:pt x="301" y="184"/>
                  </a:lnTo>
                  <a:lnTo>
                    <a:pt x="301" y="184"/>
                  </a:lnTo>
                  <a:lnTo>
                    <a:pt x="301" y="182"/>
                  </a:lnTo>
                  <a:lnTo>
                    <a:pt x="301" y="18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5622" y="392"/>
              <a:ext cx="1219" cy="368"/>
            </a:xfrm>
            <a:custGeom>
              <a:avLst/>
              <a:gdLst>
                <a:gd name="T0" fmla="*/ 299 w 1219"/>
                <a:gd name="T1" fmla="*/ 184 h 368"/>
                <a:gd name="T2" fmla="*/ 302 w 1219"/>
                <a:gd name="T3" fmla="*/ 182 h 368"/>
                <a:gd name="T4" fmla="*/ 75 w 1219"/>
                <a:gd name="T5" fmla="*/ 6 h 368"/>
                <a:gd name="T6" fmla="*/ 56 w 1219"/>
                <a:gd name="T7" fmla="*/ 0 h 368"/>
                <a:gd name="T8" fmla="*/ 40 w 1219"/>
                <a:gd name="T9" fmla="*/ 4 h 368"/>
                <a:gd name="T10" fmla="*/ 0 w 1219"/>
                <a:gd name="T11" fmla="*/ 36 h 368"/>
                <a:gd name="T12" fmla="*/ 3 w 1219"/>
                <a:gd name="T13" fmla="*/ 50 h 368"/>
                <a:gd name="T14" fmla="*/ 8 w 1219"/>
                <a:gd name="T15" fmla="*/ 310 h 368"/>
                <a:gd name="T16" fmla="*/ 0 w 1219"/>
                <a:gd name="T17" fmla="*/ 324 h 368"/>
                <a:gd name="T18" fmla="*/ 6 w 1219"/>
                <a:gd name="T19" fmla="*/ 336 h 368"/>
                <a:gd name="T20" fmla="*/ 48 w 1219"/>
                <a:gd name="T21" fmla="*/ 366 h 368"/>
                <a:gd name="T22" fmla="*/ 56 w 1219"/>
                <a:gd name="T23" fmla="*/ 368 h 368"/>
                <a:gd name="T24" fmla="*/ 294 w 1219"/>
                <a:gd name="T25" fmla="*/ 198 h 368"/>
                <a:gd name="T26" fmla="*/ 302 w 1219"/>
                <a:gd name="T27" fmla="*/ 184 h 368"/>
                <a:gd name="T28" fmla="*/ 275 w 1219"/>
                <a:gd name="T29" fmla="*/ 6 h 368"/>
                <a:gd name="T30" fmla="*/ 256 w 1219"/>
                <a:gd name="T31" fmla="*/ 0 h 368"/>
                <a:gd name="T32" fmla="*/ 240 w 1219"/>
                <a:gd name="T33" fmla="*/ 4 h 368"/>
                <a:gd name="T34" fmla="*/ 200 w 1219"/>
                <a:gd name="T35" fmla="*/ 36 h 368"/>
                <a:gd name="T36" fmla="*/ 200 w 1219"/>
                <a:gd name="T37" fmla="*/ 50 h 368"/>
                <a:gd name="T38" fmla="*/ 208 w 1219"/>
                <a:gd name="T39" fmla="*/ 310 h 368"/>
                <a:gd name="T40" fmla="*/ 200 w 1219"/>
                <a:gd name="T41" fmla="*/ 324 h 368"/>
                <a:gd name="T42" fmla="*/ 206 w 1219"/>
                <a:gd name="T43" fmla="*/ 336 h 368"/>
                <a:gd name="T44" fmla="*/ 248 w 1219"/>
                <a:gd name="T45" fmla="*/ 366 h 368"/>
                <a:gd name="T46" fmla="*/ 256 w 1219"/>
                <a:gd name="T47" fmla="*/ 368 h 368"/>
                <a:gd name="T48" fmla="*/ 491 w 1219"/>
                <a:gd name="T49" fmla="*/ 198 h 368"/>
                <a:gd name="T50" fmla="*/ 499 w 1219"/>
                <a:gd name="T51" fmla="*/ 184 h 368"/>
                <a:gd name="T52" fmla="*/ 499 w 1219"/>
                <a:gd name="T53" fmla="*/ 184 h 368"/>
                <a:gd name="T54" fmla="*/ 499 w 1219"/>
                <a:gd name="T55" fmla="*/ 176 h 368"/>
                <a:gd name="T56" fmla="*/ 816 w 1219"/>
                <a:gd name="T57" fmla="*/ 168 h 368"/>
                <a:gd name="T58" fmla="*/ 592 w 1219"/>
                <a:gd name="T59" fmla="*/ 2 h 368"/>
                <a:gd name="T60" fmla="*/ 574 w 1219"/>
                <a:gd name="T61" fmla="*/ 0 h 368"/>
                <a:gd name="T62" fmla="*/ 531 w 1219"/>
                <a:gd name="T63" fmla="*/ 30 h 368"/>
                <a:gd name="T64" fmla="*/ 526 w 1219"/>
                <a:gd name="T65" fmla="*/ 42 h 368"/>
                <a:gd name="T66" fmla="*/ 702 w 1219"/>
                <a:gd name="T67" fmla="*/ 184 h 368"/>
                <a:gd name="T68" fmla="*/ 526 w 1219"/>
                <a:gd name="T69" fmla="*/ 318 h 368"/>
                <a:gd name="T70" fmla="*/ 526 w 1219"/>
                <a:gd name="T71" fmla="*/ 332 h 368"/>
                <a:gd name="T72" fmla="*/ 566 w 1219"/>
                <a:gd name="T73" fmla="*/ 362 h 368"/>
                <a:gd name="T74" fmla="*/ 582 w 1219"/>
                <a:gd name="T75" fmla="*/ 368 h 368"/>
                <a:gd name="T76" fmla="*/ 600 w 1219"/>
                <a:gd name="T77" fmla="*/ 362 h 368"/>
                <a:gd name="T78" fmla="*/ 824 w 1219"/>
                <a:gd name="T79" fmla="*/ 192 h 368"/>
                <a:gd name="T80" fmla="*/ 824 w 1219"/>
                <a:gd name="T81" fmla="*/ 184 h 368"/>
                <a:gd name="T82" fmla="*/ 824 w 1219"/>
                <a:gd name="T83" fmla="*/ 182 h 368"/>
                <a:gd name="T84" fmla="*/ 816 w 1219"/>
                <a:gd name="T85" fmla="*/ 168 h 368"/>
                <a:gd name="T86" fmla="*/ 1216 w 1219"/>
                <a:gd name="T87" fmla="*/ 176 h 368"/>
                <a:gd name="T88" fmla="*/ 995 w 1219"/>
                <a:gd name="T89" fmla="*/ 6 h 368"/>
                <a:gd name="T90" fmla="*/ 976 w 1219"/>
                <a:gd name="T91" fmla="*/ 0 h 368"/>
                <a:gd name="T92" fmla="*/ 926 w 1219"/>
                <a:gd name="T93" fmla="*/ 30 h 368"/>
                <a:gd name="T94" fmla="*/ 918 w 1219"/>
                <a:gd name="T95" fmla="*/ 42 h 368"/>
                <a:gd name="T96" fmla="*/ 926 w 1219"/>
                <a:gd name="T97" fmla="*/ 56 h 368"/>
                <a:gd name="T98" fmla="*/ 926 w 1219"/>
                <a:gd name="T99" fmla="*/ 310 h 368"/>
                <a:gd name="T100" fmla="*/ 918 w 1219"/>
                <a:gd name="T101" fmla="*/ 324 h 368"/>
                <a:gd name="T102" fmla="*/ 960 w 1219"/>
                <a:gd name="T103" fmla="*/ 362 h 368"/>
                <a:gd name="T104" fmla="*/ 976 w 1219"/>
                <a:gd name="T105" fmla="*/ 368 h 368"/>
                <a:gd name="T106" fmla="*/ 984 w 1219"/>
                <a:gd name="T107" fmla="*/ 366 h 368"/>
                <a:gd name="T108" fmla="*/ 1211 w 1219"/>
                <a:gd name="T109" fmla="*/ 198 h 368"/>
                <a:gd name="T110" fmla="*/ 1219 w 1219"/>
                <a:gd name="T111" fmla="*/ 184 h 368"/>
                <a:gd name="T112" fmla="*/ 1219 w 1219"/>
                <a:gd name="T113" fmla="*/ 18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19" h="368">
                  <a:moveTo>
                    <a:pt x="302" y="184"/>
                  </a:moveTo>
                  <a:lnTo>
                    <a:pt x="302" y="184"/>
                  </a:lnTo>
                  <a:lnTo>
                    <a:pt x="299" y="184"/>
                  </a:lnTo>
                  <a:lnTo>
                    <a:pt x="299" y="184"/>
                  </a:lnTo>
                  <a:lnTo>
                    <a:pt x="302" y="182"/>
                  </a:lnTo>
                  <a:lnTo>
                    <a:pt x="302" y="182"/>
                  </a:lnTo>
                  <a:lnTo>
                    <a:pt x="299" y="176"/>
                  </a:lnTo>
                  <a:lnTo>
                    <a:pt x="294" y="168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67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40" y="4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0" y="36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3" y="50"/>
                  </a:lnTo>
                  <a:lnTo>
                    <a:pt x="8" y="56"/>
                  </a:lnTo>
                  <a:lnTo>
                    <a:pt x="176" y="184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3" y="318"/>
                  </a:lnTo>
                  <a:lnTo>
                    <a:pt x="0" y="324"/>
                  </a:lnTo>
                  <a:lnTo>
                    <a:pt x="0" y="324"/>
                  </a:lnTo>
                  <a:lnTo>
                    <a:pt x="0" y="332"/>
                  </a:lnTo>
                  <a:lnTo>
                    <a:pt x="6" y="336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8" y="366"/>
                  </a:lnTo>
                  <a:lnTo>
                    <a:pt x="56" y="368"/>
                  </a:lnTo>
                  <a:lnTo>
                    <a:pt x="56" y="368"/>
                  </a:lnTo>
                  <a:lnTo>
                    <a:pt x="56" y="368"/>
                  </a:lnTo>
                  <a:lnTo>
                    <a:pt x="67" y="366"/>
                  </a:lnTo>
                  <a:lnTo>
                    <a:pt x="75" y="362"/>
                  </a:lnTo>
                  <a:lnTo>
                    <a:pt x="294" y="198"/>
                  </a:lnTo>
                  <a:lnTo>
                    <a:pt x="294" y="198"/>
                  </a:lnTo>
                  <a:lnTo>
                    <a:pt x="299" y="192"/>
                  </a:lnTo>
                  <a:lnTo>
                    <a:pt x="302" y="184"/>
                  </a:lnTo>
                  <a:lnTo>
                    <a:pt x="302" y="184"/>
                  </a:lnTo>
                  <a:close/>
                  <a:moveTo>
                    <a:pt x="491" y="168"/>
                  </a:moveTo>
                  <a:lnTo>
                    <a:pt x="275" y="6"/>
                  </a:lnTo>
                  <a:lnTo>
                    <a:pt x="275" y="6"/>
                  </a:lnTo>
                  <a:lnTo>
                    <a:pt x="267" y="2"/>
                  </a:lnTo>
                  <a:lnTo>
                    <a:pt x="256" y="0"/>
                  </a:lnTo>
                  <a:lnTo>
                    <a:pt x="256" y="0"/>
                  </a:lnTo>
                  <a:lnTo>
                    <a:pt x="248" y="0"/>
                  </a:lnTo>
                  <a:lnTo>
                    <a:pt x="240" y="4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0" y="36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50"/>
                  </a:lnTo>
                  <a:lnTo>
                    <a:pt x="208" y="56"/>
                  </a:lnTo>
                  <a:lnTo>
                    <a:pt x="376" y="184"/>
                  </a:lnTo>
                  <a:lnTo>
                    <a:pt x="208" y="310"/>
                  </a:lnTo>
                  <a:lnTo>
                    <a:pt x="208" y="310"/>
                  </a:lnTo>
                  <a:lnTo>
                    <a:pt x="200" y="318"/>
                  </a:lnTo>
                  <a:lnTo>
                    <a:pt x="200" y="324"/>
                  </a:lnTo>
                  <a:lnTo>
                    <a:pt x="200" y="324"/>
                  </a:lnTo>
                  <a:lnTo>
                    <a:pt x="200" y="332"/>
                  </a:lnTo>
                  <a:lnTo>
                    <a:pt x="206" y="336"/>
                  </a:lnTo>
                  <a:lnTo>
                    <a:pt x="240" y="362"/>
                  </a:lnTo>
                  <a:lnTo>
                    <a:pt x="240" y="362"/>
                  </a:lnTo>
                  <a:lnTo>
                    <a:pt x="248" y="366"/>
                  </a:lnTo>
                  <a:lnTo>
                    <a:pt x="256" y="368"/>
                  </a:lnTo>
                  <a:lnTo>
                    <a:pt x="256" y="368"/>
                  </a:lnTo>
                  <a:lnTo>
                    <a:pt x="256" y="368"/>
                  </a:lnTo>
                  <a:lnTo>
                    <a:pt x="267" y="366"/>
                  </a:lnTo>
                  <a:lnTo>
                    <a:pt x="275" y="362"/>
                  </a:lnTo>
                  <a:lnTo>
                    <a:pt x="491" y="198"/>
                  </a:lnTo>
                  <a:lnTo>
                    <a:pt x="491" y="198"/>
                  </a:lnTo>
                  <a:lnTo>
                    <a:pt x="499" y="192"/>
                  </a:lnTo>
                  <a:lnTo>
                    <a:pt x="499" y="184"/>
                  </a:lnTo>
                  <a:lnTo>
                    <a:pt x="499" y="184"/>
                  </a:lnTo>
                  <a:lnTo>
                    <a:pt x="499" y="184"/>
                  </a:lnTo>
                  <a:lnTo>
                    <a:pt x="499" y="184"/>
                  </a:lnTo>
                  <a:lnTo>
                    <a:pt x="499" y="182"/>
                  </a:lnTo>
                  <a:lnTo>
                    <a:pt x="499" y="182"/>
                  </a:lnTo>
                  <a:lnTo>
                    <a:pt x="499" y="176"/>
                  </a:lnTo>
                  <a:lnTo>
                    <a:pt x="491" y="168"/>
                  </a:lnTo>
                  <a:lnTo>
                    <a:pt x="491" y="168"/>
                  </a:lnTo>
                  <a:close/>
                  <a:moveTo>
                    <a:pt x="816" y="168"/>
                  </a:moveTo>
                  <a:lnTo>
                    <a:pt x="600" y="6"/>
                  </a:lnTo>
                  <a:lnTo>
                    <a:pt x="600" y="6"/>
                  </a:lnTo>
                  <a:lnTo>
                    <a:pt x="592" y="2"/>
                  </a:lnTo>
                  <a:lnTo>
                    <a:pt x="582" y="0"/>
                  </a:lnTo>
                  <a:lnTo>
                    <a:pt x="582" y="0"/>
                  </a:lnTo>
                  <a:lnTo>
                    <a:pt x="574" y="0"/>
                  </a:lnTo>
                  <a:lnTo>
                    <a:pt x="566" y="4"/>
                  </a:lnTo>
                  <a:lnTo>
                    <a:pt x="531" y="30"/>
                  </a:lnTo>
                  <a:lnTo>
                    <a:pt x="531" y="30"/>
                  </a:lnTo>
                  <a:lnTo>
                    <a:pt x="526" y="36"/>
                  </a:lnTo>
                  <a:lnTo>
                    <a:pt x="526" y="42"/>
                  </a:lnTo>
                  <a:lnTo>
                    <a:pt x="526" y="42"/>
                  </a:lnTo>
                  <a:lnTo>
                    <a:pt x="526" y="50"/>
                  </a:lnTo>
                  <a:lnTo>
                    <a:pt x="534" y="56"/>
                  </a:lnTo>
                  <a:lnTo>
                    <a:pt x="702" y="184"/>
                  </a:lnTo>
                  <a:lnTo>
                    <a:pt x="534" y="310"/>
                  </a:lnTo>
                  <a:lnTo>
                    <a:pt x="534" y="310"/>
                  </a:lnTo>
                  <a:lnTo>
                    <a:pt x="526" y="318"/>
                  </a:lnTo>
                  <a:lnTo>
                    <a:pt x="526" y="324"/>
                  </a:lnTo>
                  <a:lnTo>
                    <a:pt x="526" y="324"/>
                  </a:lnTo>
                  <a:lnTo>
                    <a:pt x="526" y="332"/>
                  </a:lnTo>
                  <a:lnTo>
                    <a:pt x="531" y="336"/>
                  </a:lnTo>
                  <a:lnTo>
                    <a:pt x="566" y="362"/>
                  </a:lnTo>
                  <a:lnTo>
                    <a:pt x="566" y="362"/>
                  </a:lnTo>
                  <a:lnTo>
                    <a:pt x="574" y="366"/>
                  </a:lnTo>
                  <a:lnTo>
                    <a:pt x="582" y="368"/>
                  </a:lnTo>
                  <a:lnTo>
                    <a:pt x="582" y="368"/>
                  </a:lnTo>
                  <a:lnTo>
                    <a:pt x="582" y="368"/>
                  </a:lnTo>
                  <a:lnTo>
                    <a:pt x="592" y="366"/>
                  </a:lnTo>
                  <a:lnTo>
                    <a:pt x="600" y="362"/>
                  </a:lnTo>
                  <a:lnTo>
                    <a:pt x="816" y="198"/>
                  </a:lnTo>
                  <a:lnTo>
                    <a:pt x="816" y="198"/>
                  </a:lnTo>
                  <a:lnTo>
                    <a:pt x="824" y="192"/>
                  </a:lnTo>
                  <a:lnTo>
                    <a:pt x="824" y="184"/>
                  </a:lnTo>
                  <a:lnTo>
                    <a:pt x="824" y="184"/>
                  </a:lnTo>
                  <a:lnTo>
                    <a:pt x="824" y="184"/>
                  </a:lnTo>
                  <a:lnTo>
                    <a:pt x="824" y="184"/>
                  </a:lnTo>
                  <a:lnTo>
                    <a:pt x="824" y="182"/>
                  </a:lnTo>
                  <a:lnTo>
                    <a:pt x="824" y="182"/>
                  </a:lnTo>
                  <a:lnTo>
                    <a:pt x="824" y="176"/>
                  </a:lnTo>
                  <a:lnTo>
                    <a:pt x="816" y="168"/>
                  </a:lnTo>
                  <a:lnTo>
                    <a:pt x="816" y="168"/>
                  </a:lnTo>
                  <a:close/>
                  <a:moveTo>
                    <a:pt x="1219" y="182"/>
                  </a:moveTo>
                  <a:lnTo>
                    <a:pt x="1219" y="182"/>
                  </a:lnTo>
                  <a:lnTo>
                    <a:pt x="1216" y="176"/>
                  </a:lnTo>
                  <a:lnTo>
                    <a:pt x="1211" y="168"/>
                  </a:lnTo>
                  <a:lnTo>
                    <a:pt x="995" y="6"/>
                  </a:lnTo>
                  <a:lnTo>
                    <a:pt x="995" y="6"/>
                  </a:lnTo>
                  <a:lnTo>
                    <a:pt x="984" y="2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968" y="0"/>
                  </a:lnTo>
                  <a:lnTo>
                    <a:pt x="960" y="4"/>
                  </a:lnTo>
                  <a:lnTo>
                    <a:pt x="926" y="30"/>
                  </a:lnTo>
                  <a:lnTo>
                    <a:pt x="926" y="30"/>
                  </a:lnTo>
                  <a:lnTo>
                    <a:pt x="920" y="36"/>
                  </a:lnTo>
                  <a:lnTo>
                    <a:pt x="918" y="42"/>
                  </a:lnTo>
                  <a:lnTo>
                    <a:pt x="918" y="42"/>
                  </a:lnTo>
                  <a:lnTo>
                    <a:pt x="920" y="50"/>
                  </a:lnTo>
                  <a:lnTo>
                    <a:pt x="926" y="56"/>
                  </a:lnTo>
                  <a:lnTo>
                    <a:pt x="1096" y="184"/>
                  </a:lnTo>
                  <a:lnTo>
                    <a:pt x="926" y="310"/>
                  </a:lnTo>
                  <a:lnTo>
                    <a:pt x="926" y="310"/>
                  </a:lnTo>
                  <a:lnTo>
                    <a:pt x="920" y="318"/>
                  </a:lnTo>
                  <a:lnTo>
                    <a:pt x="918" y="324"/>
                  </a:lnTo>
                  <a:lnTo>
                    <a:pt x="918" y="324"/>
                  </a:lnTo>
                  <a:lnTo>
                    <a:pt x="920" y="332"/>
                  </a:lnTo>
                  <a:lnTo>
                    <a:pt x="926" y="336"/>
                  </a:lnTo>
                  <a:lnTo>
                    <a:pt x="960" y="362"/>
                  </a:lnTo>
                  <a:lnTo>
                    <a:pt x="960" y="362"/>
                  </a:lnTo>
                  <a:lnTo>
                    <a:pt x="968" y="366"/>
                  </a:lnTo>
                  <a:lnTo>
                    <a:pt x="976" y="368"/>
                  </a:lnTo>
                  <a:lnTo>
                    <a:pt x="976" y="368"/>
                  </a:lnTo>
                  <a:lnTo>
                    <a:pt x="976" y="368"/>
                  </a:lnTo>
                  <a:lnTo>
                    <a:pt x="984" y="366"/>
                  </a:lnTo>
                  <a:lnTo>
                    <a:pt x="995" y="362"/>
                  </a:lnTo>
                  <a:lnTo>
                    <a:pt x="1211" y="198"/>
                  </a:lnTo>
                  <a:lnTo>
                    <a:pt x="1211" y="198"/>
                  </a:lnTo>
                  <a:lnTo>
                    <a:pt x="1216" y="192"/>
                  </a:lnTo>
                  <a:lnTo>
                    <a:pt x="1219" y="184"/>
                  </a:lnTo>
                  <a:lnTo>
                    <a:pt x="1219" y="184"/>
                  </a:lnTo>
                  <a:lnTo>
                    <a:pt x="1219" y="184"/>
                  </a:lnTo>
                  <a:lnTo>
                    <a:pt x="1219" y="184"/>
                  </a:lnTo>
                  <a:lnTo>
                    <a:pt x="1219" y="182"/>
                  </a:lnTo>
                  <a:lnTo>
                    <a:pt x="1219" y="18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8938893" y="593090"/>
            <a:ext cx="2424744" cy="600075"/>
            <a:chOff x="5375" y="411"/>
            <a:chExt cx="1527" cy="378"/>
          </a:xfrm>
        </p:grpSpPr>
        <p:sp>
          <p:nvSpPr>
            <p:cNvPr id="10" name="AutoShape 3"/>
            <p:cNvSpPr>
              <a:spLocks noChangeAspect="1" noChangeArrowheads="1" noTextEdit="1"/>
            </p:cNvSpPr>
            <p:nvPr/>
          </p:nvSpPr>
          <p:spPr bwMode="auto">
            <a:xfrm>
              <a:off x="5375" y="411"/>
              <a:ext cx="1527" cy="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6340" y="483"/>
              <a:ext cx="562" cy="280"/>
            </a:xfrm>
            <a:custGeom>
              <a:avLst/>
              <a:gdLst>
                <a:gd name="T0" fmla="*/ 168 w 562"/>
                <a:gd name="T1" fmla="*/ 4 h 280"/>
                <a:gd name="T2" fmla="*/ 170 w 562"/>
                <a:gd name="T3" fmla="*/ 18 h 280"/>
                <a:gd name="T4" fmla="*/ 170 w 562"/>
                <a:gd name="T5" fmla="*/ 18 h 280"/>
                <a:gd name="T6" fmla="*/ 170 w 562"/>
                <a:gd name="T7" fmla="*/ 20 h 280"/>
                <a:gd name="T8" fmla="*/ 546 w 562"/>
                <a:gd name="T9" fmla="*/ 74 h 280"/>
                <a:gd name="T10" fmla="*/ 549 w 562"/>
                <a:gd name="T11" fmla="*/ 74 h 280"/>
                <a:gd name="T12" fmla="*/ 549 w 562"/>
                <a:gd name="T13" fmla="*/ 74 h 280"/>
                <a:gd name="T14" fmla="*/ 557 w 562"/>
                <a:gd name="T15" fmla="*/ 78 h 280"/>
                <a:gd name="T16" fmla="*/ 557 w 562"/>
                <a:gd name="T17" fmla="*/ 78 h 280"/>
                <a:gd name="T18" fmla="*/ 562 w 562"/>
                <a:gd name="T19" fmla="*/ 102 h 280"/>
                <a:gd name="T20" fmla="*/ 562 w 562"/>
                <a:gd name="T21" fmla="*/ 102 h 280"/>
                <a:gd name="T22" fmla="*/ 562 w 562"/>
                <a:gd name="T23" fmla="*/ 186 h 280"/>
                <a:gd name="T24" fmla="*/ 562 w 562"/>
                <a:gd name="T25" fmla="*/ 186 h 280"/>
                <a:gd name="T26" fmla="*/ 562 w 562"/>
                <a:gd name="T27" fmla="*/ 186 h 280"/>
                <a:gd name="T28" fmla="*/ 559 w 562"/>
                <a:gd name="T29" fmla="*/ 200 h 280"/>
                <a:gd name="T30" fmla="*/ 559 w 562"/>
                <a:gd name="T31" fmla="*/ 200 h 280"/>
                <a:gd name="T32" fmla="*/ 549 w 562"/>
                <a:gd name="T33" fmla="*/ 210 h 280"/>
                <a:gd name="T34" fmla="*/ 543 w 562"/>
                <a:gd name="T35" fmla="*/ 210 h 280"/>
                <a:gd name="T36" fmla="*/ 351 w 562"/>
                <a:gd name="T37" fmla="*/ 210 h 280"/>
                <a:gd name="T38" fmla="*/ 351 w 562"/>
                <a:gd name="T39" fmla="*/ 210 h 280"/>
                <a:gd name="T40" fmla="*/ 170 w 562"/>
                <a:gd name="T41" fmla="*/ 212 h 280"/>
                <a:gd name="T42" fmla="*/ 170 w 562"/>
                <a:gd name="T43" fmla="*/ 254 h 280"/>
                <a:gd name="T44" fmla="*/ 170 w 562"/>
                <a:gd name="T45" fmla="*/ 258 h 280"/>
                <a:gd name="T46" fmla="*/ 170 w 562"/>
                <a:gd name="T47" fmla="*/ 266 h 280"/>
                <a:gd name="T48" fmla="*/ 168 w 562"/>
                <a:gd name="T49" fmla="*/ 272 h 280"/>
                <a:gd name="T50" fmla="*/ 165 w 562"/>
                <a:gd name="T51" fmla="*/ 278 h 280"/>
                <a:gd name="T52" fmla="*/ 157 w 562"/>
                <a:gd name="T53" fmla="*/ 280 h 280"/>
                <a:gd name="T54" fmla="*/ 152 w 562"/>
                <a:gd name="T55" fmla="*/ 278 h 280"/>
                <a:gd name="T56" fmla="*/ 146 w 562"/>
                <a:gd name="T57" fmla="*/ 276 h 280"/>
                <a:gd name="T58" fmla="*/ 8 w 562"/>
                <a:gd name="T59" fmla="*/ 160 h 280"/>
                <a:gd name="T60" fmla="*/ 8 w 562"/>
                <a:gd name="T61" fmla="*/ 160 h 280"/>
                <a:gd name="T62" fmla="*/ 0 w 562"/>
                <a:gd name="T63" fmla="*/ 150 h 280"/>
                <a:gd name="T64" fmla="*/ 0 w 562"/>
                <a:gd name="T65" fmla="*/ 150 h 280"/>
                <a:gd name="T66" fmla="*/ 0 w 562"/>
                <a:gd name="T67" fmla="*/ 142 h 280"/>
                <a:gd name="T68" fmla="*/ 2 w 562"/>
                <a:gd name="T69" fmla="*/ 130 h 280"/>
                <a:gd name="T70" fmla="*/ 2 w 562"/>
                <a:gd name="T71" fmla="*/ 130 h 280"/>
                <a:gd name="T72" fmla="*/ 8 w 562"/>
                <a:gd name="T73" fmla="*/ 122 h 280"/>
                <a:gd name="T74" fmla="*/ 136 w 562"/>
                <a:gd name="T75" fmla="*/ 10 h 280"/>
                <a:gd name="T76" fmla="*/ 136 w 562"/>
                <a:gd name="T77" fmla="*/ 8 h 280"/>
                <a:gd name="T78" fmla="*/ 152 w 562"/>
                <a:gd name="T79" fmla="*/ 2 h 280"/>
                <a:gd name="T80" fmla="*/ 160 w 562"/>
                <a:gd name="T81" fmla="*/ 0 h 280"/>
                <a:gd name="T82" fmla="*/ 162 w 562"/>
                <a:gd name="T83" fmla="*/ 2 h 280"/>
                <a:gd name="T84" fmla="*/ 168 w 562"/>
                <a:gd name="T85" fmla="*/ 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2" h="280">
                  <a:moveTo>
                    <a:pt x="168" y="4"/>
                  </a:moveTo>
                  <a:lnTo>
                    <a:pt x="168" y="4"/>
                  </a:lnTo>
                  <a:lnTo>
                    <a:pt x="170" y="10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20"/>
                  </a:lnTo>
                  <a:lnTo>
                    <a:pt x="170" y="20"/>
                  </a:lnTo>
                  <a:lnTo>
                    <a:pt x="170" y="74"/>
                  </a:lnTo>
                  <a:lnTo>
                    <a:pt x="546" y="74"/>
                  </a:lnTo>
                  <a:lnTo>
                    <a:pt x="546" y="74"/>
                  </a:lnTo>
                  <a:lnTo>
                    <a:pt x="549" y="74"/>
                  </a:lnTo>
                  <a:lnTo>
                    <a:pt x="549" y="74"/>
                  </a:lnTo>
                  <a:lnTo>
                    <a:pt x="549" y="74"/>
                  </a:lnTo>
                  <a:lnTo>
                    <a:pt x="551" y="76"/>
                  </a:lnTo>
                  <a:lnTo>
                    <a:pt x="557" y="78"/>
                  </a:lnTo>
                  <a:lnTo>
                    <a:pt x="557" y="78"/>
                  </a:lnTo>
                  <a:lnTo>
                    <a:pt x="557" y="78"/>
                  </a:lnTo>
                  <a:lnTo>
                    <a:pt x="562" y="88"/>
                  </a:lnTo>
                  <a:lnTo>
                    <a:pt x="562" y="102"/>
                  </a:lnTo>
                  <a:lnTo>
                    <a:pt x="562" y="102"/>
                  </a:lnTo>
                  <a:lnTo>
                    <a:pt x="562" y="102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86"/>
                  </a:lnTo>
                  <a:lnTo>
                    <a:pt x="562" y="190"/>
                  </a:lnTo>
                  <a:lnTo>
                    <a:pt x="559" y="200"/>
                  </a:lnTo>
                  <a:lnTo>
                    <a:pt x="559" y="200"/>
                  </a:lnTo>
                  <a:lnTo>
                    <a:pt x="559" y="200"/>
                  </a:lnTo>
                  <a:lnTo>
                    <a:pt x="554" y="206"/>
                  </a:lnTo>
                  <a:lnTo>
                    <a:pt x="549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351" y="210"/>
                  </a:lnTo>
                  <a:lnTo>
                    <a:pt x="351" y="210"/>
                  </a:lnTo>
                  <a:lnTo>
                    <a:pt x="351" y="210"/>
                  </a:lnTo>
                  <a:lnTo>
                    <a:pt x="170" y="212"/>
                  </a:lnTo>
                  <a:lnTo>
                    <a:pt x="170" y="212"/>
                  </a:lnTo>
                  <a:lnTo>
                    <a:pt x="170" y="254"/>
                  </a:lnTo>
                  <a:lnTo>
                    <a:pt x="170" y="254"/>
                  </a:lnTo>
                  <a:lnTo>
                    <a:pt x="170" y="258"/>
                  </a:lnTo>
                  <a:lnTo>
                    <a:pt x="170" y="258"/>
                  </a:lnTo>
                  <a:lnTo>
                    <a:pt x="170" y="258"/>
                  </a:lnTo>
                  <a:lnTo>
                    <a:pt x="170" y="266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8" y="272"/>
                  </a:lnTo>
                  <a:lnTo>
                    <a:pt x="165" y="278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7" y="280"/>
                  </a:lnTo>
                  <a:lnTo>
                    <a:pt x="152" y="278"/>
                  </a:lnTo>
                  <a:lnTo>
                    <a:pt x="146" y="276"/>
                  </a:lnTo>
                  <a:lnTo>
                    <a:pt x="146" y="276"/>
                  </a:lnTo>
                  <a:lnTo>
                    <a:pt x="144" y="276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5" y="158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0"/>
                  </a:lnTo>
                  <a:lnTo>
                    <a:pt x="136" y="10"/>
                  </a:lnTo>
                  <a:lnTo>
                    <a:pt x="136" y="8"/>
                  </a:lnTo>
                  <a:lnTo>
                    <a:pt x="136" y="8"/>
                  </a:lnTo>
                  <a:lnTo>
                    <a:pt x="144" y="4"/>
                  </a:lnTo>
                  <a:lnTo>
                    <a:pt x="152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62" y="2"/>
                  </a:lnTo>
                  <a:lnTo>
                    <a:pt x="168" y="4"/>
                  </a:lnTo>
                  <a:lnTo>
                    <a:pt x="168" y="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5375" y="483"/>
              <a:ext cx="565" cy="280"/>
            </a:xfrm>
            <a:custGeom>
              <a:avLst/>
              <a:gdLst>
                <a:gd name="T0" fmla="*/ 397 w 565"/>
                <a:gd name="T1" fmla="*/ 4 h 280"/>
                <a:gd name="T2" fmla="*/ 405 w 565"/>
                <a:gd name="T3" fmla="*/ 0 h 280"/>
                <a:gd name="T4" fmla="*/ 405 w 565"/>
                <a:gd name="T5" fmla="*/ 0 h 280"/>
                <a:gd name="T6" fmla="*/ 418 w 565"/>
                <a:gd name="T7" fmla="*/ 4 h 280"/>
                <a:gd name="T8" fmla="*/ 426 w 565"/>
                <a:gd name="T9" fmla="*/ 10 h 280"/>
                <a:gd name="T10" fmla="*/ 554 w 565"/>
                <a:gd name="T11" fmla="*/ 122 h 280"/>
                <a:gd name="T12" fmla="*/ 554 w 565"/>
                <a:gd name="T13" fmla="*/ 122 h 280"/>
                <a:gd name="T14" fmla="*/ 562 w 565"/>
                <a:gd name="T15" fmla="*/ 130 h 280"/>
                <a:gd name="T16" fmla="*/ 565 w 565"/>
                <a:gd name="T17" fmla="*/ 142 h 280"/>
                <a:gd name="T18" fmla="*/ 565 w 565"/>
                <a:gd name="T19" fmla="*/ 142 h 280"/>
                <a:gd name="T20" fmla="*/ 562 w 565"/>
                <a:gd name="T21" fmla="*/ 150 h 280"/>
                <a:gd name="T22" fmla="*/ 557 w 565"/>
                <a:gd name="T23" fmla="*/ 158 h 280"/>
                <a:gd name="T24" fmla="*/ 554 w 565"/>
                <a:gd name="T25" fmla="*/ 160 h 280"/>
                <a:gd name="T26" fmla="*/ 418 w 565"/>
                <a:gd name="T27" fmla="*/ 276 h 280"/>
                <a:gd name="T28" fmla="*/ 418 w 565"/>
                <a:gd name="T29" fmla="*/ 276 h 280"/>
                <a:gd name="T30" fmla="*/ 405 w 565"/>
                <a:gd name="T31" fmla="*/ 280 h 280"/>
                <a:gd name="T32" fmla="*/ 405 w 565"/>
                <a:gd name="T33" fmla="*/ 280 h 280"/>
                <a:gd name="T34" fmla="*/ 394 w 565"/>
                <a:gd name="T35" fmla="*/ 272 h 280"/>
                <a:gd name="T36" fmla="*/ 394 w 565"/>
                <a:gd name="T37" fmla="*/ 272 h 280"/>
                <a:gd name="T38" fmla="*/ 392 w 565"/>
                <a:gd name="T39" fmla="*/ 258 h 280"/>
                <a:gd name="T40" fmla="*/ 392 w 565"/>
                <a:gd name="T41" fmla="*/ 258 h 280"/>
                <a:gd name="T42" fmla="*/ 392 w 565"/>
                <a:gd name="T43" fmla="*/ 212 h 280"/>
                <a:gd name="T44" fmla="*/ 392 w 565"/>
                <a:gd name="T45" fmla="*/ 212 h 280"/>
                <a:gd name="T46" fmla="*/ 213 w 565"/>
                <a:gd name="T47" fmla="*/ 210 h 280"/>
                <a:gd name="T48" fmla="*/ 19 w 565"/>
                <a:gd name="T49" fmla="*/ 210 h 280"/>
                <a:gd name="T50" fmla="*/ 19 w 565"/>
                <a:gd name="T51" fmla="*/ 210 h 280"/>
                <a:gd name="T52" fmla="*/ 8 w 565"/>
                <a:gd name="T53" fmla="*/ 206 h 280"/>
                <a:gd name="T54" fmla="*/ 3 w 565"/>
                <a:gd name="T55" fmla="*/ 200 h 280"/>
                <a:gd name="T56" fmla="*/ 0 w 565"/>
                <a:gd name="T57" fmla="*/ 190 h 280"/>
                <a:gd name="T58" fmla="*/ 0 w 565"/>
                <a:gd name="T59" fmla="*/ 186 h 280"/>
                <a:gd name="T60" fmla="*/ 0 w 565"/>
                <a:gd name="T61" fmla="*/ 186 h 280"/>
                <a:gd name="T62" fmla="*/ 0 w 565"/>
                <a:gd name="T63" fmla="*/ 186 h 280"/>
                <a:gd name="T64" fmla="*/ 0 w 565"/>
                <a:gd name="T65" fmla="*/ 102 h 280"/>
                <a:gd name="T66" fmla="*/ 3 w 565"/>
                <a:gd name="T67" fmla="*/ 88 h 280"/>
                <a:gd name="T68" fmla="*/ 5 w 565"/>
                <a:gd name="T69" fmla="*/ 78 h 280"/>
                <a:gd name="T70" fmla="*/ 11 w 565"/>
                <a:gd name="T71" fmla="*/ 76 h 280"/>
                <a:gd name="T72" fmla="*/ 13 w 565"/>
                <a:gd name="T73" fmla="*/ 74 h 280"/>
                <a:gd name="T74" fmla="*/ 16 w 565"/>
                <a:gd name="T75" fmla="*/ 74 h 280"/>
                <a:gd name="T76" fmla="*/ 392 w 565"/>
                <a:gd name="T77" fmla="*/ 20 h 280"/>
                <a:gd name="T78" fmla="*/ 392 w 565"/>
                <a:gd name="T79" fmla="*/ 20 h 280"/>
                <a:gd name="T80" fmla="*/ 392 w 565"/>
                <a:gd name="T81" fmla="*/ 18 h 280"/>
                <a:gd name="T82" fmla="*/ 392 w 565"/>
                <a:gd name="T83" fmla="*/ 10 h 280"/>
                <a:gd name="T84" fmla="*/ 397 w 565"/>
                <a:gd name="T85" fmla="*/ 4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65" h="280">
                  <a:moveTo>
                    <a:pt x="397" y="4"/>
                  </a:moveTo>
                  <a:lnTo>
                    <a:pt x="397" y="4"/>
                  </a:lnTo>
                  <a:lnTo>
                    <a:pt x="400" y="2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10" y="2"/>
                  </a:lnTo>
                  <a:lnTo>
                    <a:pt x="418" y="4"/>
                  </a:lnTo>
                  <a:lnTo>
                    <a:pt x="426" y="8"/>
                  </a:lnTo>
                  <a:lnTo>
                    <a:pt x="426" y="10"/>
                  </a:lnTo>
                  <a:lnTo>
                    <a:pt x="554" y="120"/>
                  </a:lnTo>
                  <a:lnTo>
                    <a:pt x="554" y="122"/>
                  </a:lnTo>
                  <a:lnTo>
                    <a:pt x="554" y="122"/>
                  </a:lnTo>
                  <a:lnTo>
                    <a:pt x="554" y="122"/>
                  </a:lnTo>
                  <a:lnTo>
                    <a:pt x="562" y="130"/>
                  </a:lnTo>
                  <a:lnTo>
                    <a:pt x="562" y="130"/>
                  </a:lnTo>
                  <a:lnTo>
                    <a:pt x="562" y="130"/>
                  </a:lnTo>
                  <a:lnTo>
                    <a:pt x="565" y="142"/>
                  </a:lnTo>
                  <a:lnTo>
                    <a:pt x="565" y="142"/>
                  </a:lnTo>
                  <a:lnTo>
                    <a:pt x="565" y="142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62" y="150"/>
                  </a:lnTo>
                  <a:lnTo>
                    <a:pt x="557" y="158"/>
                  </a:lnTo>
                  <a:lnTo>
                    <a:pt x="554" y="160"/>
                  </a:lnTo>
                  <a:lnTo>
                    <a:pt x="554" y="160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0" y="278"/>
                  </a:lnTo>
                  <a:lnTo>
                    <a:pt x="405" y="280"/>
                  </a:lnTo>
                  <a:lnTo>
                    <a:pt x="405" y="280"/>
                  </a:lnTo>
                  <a:lnTo>
                    <a:pt x="405" y="280"/>
                  </a:lnTo>
                  <a:lnTo>
                    <a:pt x="400" y="278"/>
                  </a:lnTo>
                  <a:lnTo>
                    <a:pt x="394" y="272"/>
                  </a:lnTo>
                  <a:lnTo>
                    <a:pt x="394" y="272"/>
                  </a:lnTo>
                  <a:lnTo>
                    <a:pt x="394" y="272"/>
                  </a:lnTo>
                  <a:lnTo>
                    <a:pt x="392" y="266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8"/>
                  </a:lnTo>
                  <a:lnTo>
                    <a:pt x="392" y="254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392" y="212"/>
                  </a:lnTo>
                  <a:lnTo>
                    <a:pt x="213" y="210"/>
                  </a:lnTo>
                  <a:lnTo>
                    <a:pt x="213" y="210"/>
                  </a:lnTo>
                  <a:lnTo>
                    <a:pt x="213" y="210"/>
                  </a:lnTo>
                  <a:lnTo>
                    <a:pt x="19" y="210"/>
                  </a:lnTo>
                  <a:lnTo>
                    <a:pt x="19" y="210"/>
                  </a:lnTo>
                  <a:lnTo>
                    <a:pt x="19" y="210"/>
                  </a:lnTo>
                  <a:lnTo>
                    <a:pt x="13" y="210"/>
                  </a:lnTo>
                  <a:lnTo>
                    <a:pt x="8" y="206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0" y="190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86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3" y="8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11" y="76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6" y="74"/>
                  </a:lnTo>
                  <a:lnTo>
                    <a:pt x="392" y="74"/>
                  </a:lnTo>
                  <a:lnTo>
                    <a:pt x="392" y="20"/>
                  </a:lnTo>
                  <a:lnTo>
                    <a:pt x="392" y="20"/>
                  </a:lnTo>
                  <a:lnTo>
                    <a:pt x="392" y="20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2" y="18"/>
                  </a:lnTo>
                  <a:lnTo>
                    <a:pt x="392" y="10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5977" y="411"/>
              <a:ext cx="323" cy="378"/>
            </a:xfrm>
            <a:custGeom>
              <a:avLst/>
              <a:gdLst>
                <a:gd name="T0" fmla="*/ 240 w 323"/>
                <a:gd name="T1" fmla="*/ 224 h 378"/>
                <a:gd name="T2" fmla="*/ 224 w 323"/>
                <a:gd name="T3" fmla="*/ 210 h 378"/>
                <a:gd name="T4" fmla="*/ 211 w 323"/>
                <a:gd name="T5" fmla="*/ 188 h 378"/>
                <a:gd name="T6" fmla="*/ 211 w 323"/>
                <a:gd name="T7" fmla="*/ 162 h 378"/>
                <a:gd name="T8" fmla="*/ 232 w 323"/>
                <a:gd name="T9" fmla="*/ 128 h 378"/>
                <a:gd name="T10" fmla="*/ 243 w 323"/>
                <a:gd name="T11" fmla="*/ 118 h 378"/>
                <a:gd name="T12" fmla="*/ 259 w 323"/>
                <a:gd name="T13" fmla="*/ 90 h 378"/>
                <a:gd name="T14" fmla="*/ 261 w 323"/>
                <a:gd name="T15" fmla="*/ 76 h 378"/>
                <a:gd name="T16" fmla="*/ 253 w 323"/>
                <a:gd name="T17" fmla="*/ 46 h 378"/>
                <a:gd name="T18" fmla="*/ 232 w 323"/>
                <a:gd name="T19" fmla="*/ 22 h 378"/>
                <a:gd name="T20" fmla="*/ 200 w 323"/>
                <a:gd name="T21" fmla="*/ 6 h 378"/>
                <a:gd name="T22" fmla="*/ 160 w 323"/>
                <a:gd name="T23" fmla="*/ 0 h 378"/>
                <a:gd name="T24" fmla="*/ 142 w 323"/>
                <a:gd name="T25" fmla="*/ 2 h 378"/>
                <a:gd name="T26" fmla="*/ 104 w 323"/>
                <a:gd name="T27" fmla="*/ 14 h 378"/>
                <a:gd name="T28" fmla="*/ 78 w 323"/>
                <a:gd name="T29" fmla="*/ 34 h 378"/>
                <a:gd name="T30" fmla="*/ 64 w 323"/>
                <a:gd name="T31" fmla="*/ 60 h 378"/>
                <a:gd name="T32" fmla="*/ 62 w 323"/>
                <a:gd name="T33" fmla="*/ 76 h 378"/>
                <a:gd name="T34" fmla="*/ 70 w 323"/>
                <a:gd name="T35" fmla="*/ 104 h 378"/>
                <a:gd name="T36" fmla="*/ 88 w 323"/>
                <a:gd name="T37" fmla="*/ 126 h 378"/>
                <a:gd name="T38" fmla="*/ 99 w 323"/>
                <a:gd name="T39" fmla="*/ 140 h 378"/>
                <a:gd name="T40" fmla="*/ 107 w 323"/>
                <a:gd name="T41" fmla="*/ 162 h 378"/>
                <a:gd name="T42" fmla="*/ 102 w 323"/>
                <a:gd name="T43" fmla="*/ 194 h 378"/>
                <a:gd name="T44" fmla="*/ 86 w 323"/>
                <a:gd name="T45" fmla="*/ 212 h 378"/>
                <a:gd name="T46" fmla="*/ 62 w 323"/>
                <a:gd name="T47" fmla="*/ 232 h 378"/>
                <a:gd name="T48" fmla="*/ 64 w 323"/>
                <a:gd name="T49" fmla="*/ 232 h 378"/>
                <a:gd name="T50" fmla="*/ 46 w 323"/>
                <a:gd name="T51" fmla="*/ 244 h 378"/>
                <a:gd name="T52" fmla="*/ 14 w 323"/>
                <a:gd name="T53" fmla="*/ 286 h 378"/>
                <a:gd name="T54" fmla="*/ 0 w 323"/>
                <a:gd name="T55" fmla="*/ 326 h 378"/>
                <a:gd name="T56" fmla="*/ 0 w 323"/>
                <a:gd name="T57" fmla="*/ 338 h 378"/>
                <a:gd name="T58" fmla="*/ 0 w 323"/>
                <a:gd name="T59" fmla="*/ 352 h 378"/>
                <a:gd name="T60" fmla="*/ 3 w 323"/>
                <a:gd name="T61" fmla="*/ 354 h 378"/>
                <a:gd name="T62" fmla="*/ 22 w 323"/>
                <a:gd name="T63" fmla="*/ 362 h 378"/>
                <a:gd name="T64" fmla="*/ 54 w 323"/>
                <a:gd name="T65" fmla="*/ 370 h 378"/>
                <a:gd name="T66" fmla="*/ 115 w 323"/>
                <a:gd name="T67" fmla="*/ 376 h 378"/>
                <a:gd name="T68" fmla="*/ 158 w 323"/>
                <a:gd name="T69" fmla="*/ 378 h 378"/>
                <a:gd name="T70" fmla="*/ 160 w 323"/>
                <a:gd name="T71" fmla="*/ 378 h 378"/>
                <a:gd name="T72" fmla="*/ 243 w 323"/>
                <a:gd name="T73" fmla="*/ 374 h 378"/>
                <a:gd name="T74" fmla="*/ 269 w 323"/>
                <a:gd name="T75" fmla="*/ 372 h 378"/>
                <a:gd name="T76" fmla="*/ 291 w 323"/>
                <a:gd name="T77" fmla="*/ 368 h 378"/>
                <a:gd name="T78" fmla="*/ 309 w 323"/>
                <a:gd name="T79" fmla="*/ 364 h 378"/>
                <a:gd name="T80" fmla="*/ 320 w 323"/>
                <a:gd name="T81" fmla="*/ 352 h 378"/>
                <a:gd name="T82" fmla="*/ 323 w 323"/>
                <a:gd name="T83" fmla="*/ 334 h 378"/>
                <a:gd name="T84" fmla="*/ 320 w 323"/>
                <a:gd name="T85" fmla="*/ 318 h 378"/>
                <a:gd name="T86" fmla="*/ 307 w 323"/>
                <a:gd name="T87" fmla="*/ 284 h 378"/>
                <a:gd name="T88" fmla="*/ 285 w 323"/>
                <a:gd name="T89" fmla="*/ 256 h 378"/>
                <a:gd name="T90" fmla="*/ 256 w 323"/>
                <a:gd name="T91" fmla="*/ 232 h 378"/>
                <a:gd name="T92" fmla="*/ 240 w 323"/>
                <a:gd name="T93" fmla="*/ 224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23" h="378">
                  <a:moveTo>
                    <a:pt x="240" y="224"/>
                  </a:moveTo>
                  <a:lnTo>
                    <a:pt x="240" y="224"/>
                  </a:lnTo>
                  <a:lnTo>
                    <a:pt x="232" y="218"/>
                  </a:lnTo>
                  <a:lnTo>
                    <a:pt x="224" y="210"/>
                  </a:lnTo>
                  <a:lnTo>
                    <a:pt x="216" y="200"/>
                  </a:lnTo>
                  <a:lnTo>
                    <a:pt x="211" y="188"/>
                  </a:lnTo>
                  <a:lnTo>
                    <a:pt x="208" y="176"/>
                  </a:lnTo>
                  <a:lnTo>
                    <a:pt x="211" y="162"/>
                  </a:lnTo>
                  <a:lnTo>
                    <a:pt x="219" y="146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43" y="118"/>
                  </a:lnTo>
                  <a:lnTo>
                    <a:pt x="253" y="104"/>
                  </a:lnTo>
                  <a:lnTo>
                    <a:pt x="259" y="90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59" y="60"/>
                  </a:lnTo>
                  <a:lnTo>
                    <a:pt x="253" y="46"/>
                  </a:lnTo>
                  <a:lnTo>
                    <a:pt x="243" y="34"/>
                  </a:lnTo>
                  <a:lnTo>
                    <a:pt x="232" y="22"/>
                  </a:lnTo>
                  <a:lnTo>
                    <a:pt x="216" y="14"/>
                  </a:lnTo>
                  <a:lnTo>
                    <a:pt x="200" y="6"/>
                  </a:lnTo>
                  <a:lnTo>
                    <a:pt x="181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42" y="2"/>
                  </a:lnTo>
                  <a:lnTo>
                    <a:pt x="123" y="6"/>
                  </a:lnTo>
                  <a:lnTo>
                    <a:pt x="104" y="14"/>
                  </a:lnTo>
                  <a:lnTo>
                    <a:pt x="91" y="22"/>
                  </a:lnTo>
                  <a:lnTo>
                    <a:pt x="78" y="34"/>
                  </a:lnTo>
                  <a:lnTo>
                    <a:pt x="70" y="46"/>
                  </a:lnTo>
                  <a:lnTo>
                    <a:pt x="64" y="60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4" y="90"/>
                  </a:lnTo>
                  <a:lnTo>
                    <a:pt x="70" y="104"/>
                  </a:lnTo>
                  <a:lnTo>
                    <a:pt x="78" y="11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99" y="140"/>
                  </a:lnTo>
                  <a:lnTo>
                    <a:pt x="104" y="150"/>
                  </a:lnTo>
                  <a:lnTo>
                    <a:pt x="107" y="162"/>
                  </a:lnTo>
                  <a:lnTo>
                    <a:pt x="107" y="178"/>
                  </a:lnTo>
                  <a:lnTo>
                    <a:pt x="102" y="194"/>
                  </a:lnTo>
                  <a:lnTo>
                    <a:pt x="94" y="204"/>
                  </a:lnTo>
                  <a:lnTo>
                    <a:pt x="86" y="212"/>
                  </a:lnTo>
                  <a:lnTo>
                    <a:pt x="75" y="222"/>
                  </a:lnTo>
                  <a:lnTo>
                    <a:pt x="62" y="232"/>
                  </a:lnTo>
                  <a:lnTo>
                    <a:pt x="64" y="232"/>
                  </a:lnTo>
                  <a:lnTo>
                    <a:pt x="64" y="232"/>
                  </a:lnTo>
                  <a:lnTo>
                    <a:pt x="46" y="244"/>
                  </a:lnTo>
                  <a:lnTo>
                    <a:pt x="46" y="244"/>
                  </a:lnTo>
                  <a:lnTo>
                    <a:pt x="27" y="264"/>
                  </a:lnTo>
                  <a:lnTo>
                    <a:pt x="14" y="286"/>
                  </a:lnTo>
                  <a:lnTo>
                    <a:pt x="3" y="312"/>
                  </a:lnTo>
                  <a:lnTo>
                    <a:pt x="0" y="326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0" y="350"/>
                  </a:lnTo>
                  <a:lnTo>
                    <a:pt x="0" y="352"/>
                  </a:lnTo>
                  <a:lnTo>
                    <a:pt x="3" y="354"/>
                  </a:lnTo>
                  <a:lnTo>
                    <a:pt x="3" y="354"/>
                  </a:lnTo>
                  <a:lnTo>
                    <a:pt x="11" y="358"/>
                  </a:lnTo>
                  <a:lnTo>
                    <a:pt x="22" y="362"/>
                  </a:lnTo>
                  <a:lnTo>
                    <a:pt x="35" y="366"/>
                  </a:lnTo>
                  <a:lnTo>
                    <a:pt x="54" y="370"/>
                  </a:lnTo>
                  <a:lnTo>
                    <a:pt x="80" y="374"/>
                  </a:lnTo>
                  <a:lnTo>
                    <a:pt x="115" y="376"/>
                  </a:lnTo>
                  <a:lnTo>
                    <a:pt x="158" y="378"/>
                  </a:lnTo>
                  <a:lnTo>
                    <a:pt x="158" y="378"/>
                  </a:lnTo>
                  <a:lnTo>
                    <a:pt x="160" y="378"/>
                  </a:lnTo>
                  <a:lnTo>
                    <a:pt x="160" y="378"/>
                  </a:lnTo>
                  <a:lnTo>
                    <a:pt x="192" y="376"/>
                  </a:lnTo>
                  <a:lnTo>
                    <a:pt x="243" y="374"/>
                  </a:lnTo>
                  <a:lnTo>
                    <a:pt x="243" y="374"/>
                  </a:lnTo>
                  <a:lnTo>
                    <a:pt x="269" y="372"/>
                  </a:lnTo>
                  <a:lnTo>
                    <a:pt x="291" y="368"/>
                  </a:lnTo>
                  <a:lnTo>
                    <a:pt x="291" y="368"/>
                  </a:lnTo>
                  <a:lnTo>
                    <a:pt x="309" y="364"/>
                  </a:lnTo>
                  <a:lnTo>
                    <a:pt x="309" y="364"/>
                  </a:lnTo>
                  <a:lnTo>
                    <a:pt x="317" y="360"/>
                  </a:lnTo>
                  <a:lnTo>
                    <a:pt x="320" y="352"/>
                  </a:lnTo>
                  <a:lnTo>
                    <a:pt x="320" y="352"/>
                  </a:lnTo>
                  <a:lnTo>
                    <a:pt x="323" y="334"/>
                  </a:lnTo>
                  <a:lnTo>
                    <a:pt x="323" y="334"/>
                  </a:lnTo>
                  <a:lnTo>
                    <a:pt x="320" y="318"/>
                  </a:lnTo>
                  <a:lnTo>
                    <a:pt x="315" y="300"/>
                  </a:lnTo>
                  <a:lnTo>
                    <a:pt x="307" y="284"/>
                  </a:lnTo>
                  <a:lnTo>
                    <a:pt x="299" y="270"/>
                  </a:lnTo>
                  <a:lnTo>
                    <a:pt x="285" y="256"/>
                  </a:lnTo>
                  <a:lnTo>
                    <a:pt x="272" y="244"/>
                  </a:lnTo>
                  <a:lnTo>
                    <a:pt x="256" y="232"/>
                  </a:lnTo>
                  <a:lnTo>
                    <a:pt x="240" y="224"/>
                  </a:lnTo>
                  <a:lnTo>
                    <a:pt x="240" y="2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67598" y="1374587"/>
            <a:ext cx="10063187" cy="3092092"/>
          </a:xfrm>
        </p:spPr>
        <p:txBody>
          <a:bodyPr anchor="ctr">
            <a:normAutofit/>
          </a:bodyPr>
          <a:lstStyle>
            <a:lvl1pPr marL="230150" indent="-230150">
              <a:lnSpc>
                <a:spcPct val="100000"/>
              </a:lnSpc>
              <a:buFontTx/>
              <a:buNone/>
              <a:defRPr sz="4400"/>
            </a:lvl1pPr>
            <a:lvl2pPr marL="457119" indent="0">
              <a:buFontTx/>
              <a:buNone/>
              <a:defRPr/>
            </a:lvl2pPr>
            <a:lvl3pPr marL="914241" indent="0">
              <a:buFontTx/>
              <a:buNone/>
              <a:defRPr/>
            </a:lvl3pPr>
            <a:lvl4pPr marL="1371362" indent="0">
              <a:buFontTx/>
              <a:buNone/>
              <a:defRPr/>
            </a:lvl4pPr>
            <a:lvl5pPr marL="1828482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“Click to edit quote text.”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335697" y="4917154"/>
            <a:ext cx="9795091" cy="550863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rgbClr val="30A3FF"/>
                </a:solidFill>
                <a:latin typeface="+mn-lt"/>
              </a:defRPr>
            </a:lvl1pPr>
            <a:lvl2pPr marL="457119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2pPr>
            <a:lvl3pPr marL="914241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3pPr>
            <a:lvl4pPr marL="1371362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4pPr>
            <a:lvl5pPr marL="1828482" indent="0">
              <a:buFontTx/>
              <a:buNone/>
              <a:defRPr>
                <a:solidFill>
                  <a:srgbClr val="01929A"/>
                </a:solidFill>
                <a:latin typeface="CiscoSans" panose="020B0503020201020303" pitchFamily="34" charset="0"/>
              </a:defRPr>
            </a:lvl5pPr>
          </a:lstStyle>
          <a:p>
            <a:pPr lvl="0"/>
            <a:r>
              <a:rPr lang="en-US" dirty="0" smtClean="0"/>
              <a:t>Click to edit Attribution</a:t>
            </a:r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111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4832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9050965" y="209553"/>
            <a:ext cx="2019775" cy="1515413"/>
            <a:chOff x="5508" y="132"/>
            <a:chExt cx="1551" cy="1164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/>
          </p:nvSpPr>
          <p:spPr bwMode="auto">
            <a:xfrm>
              <a:off x="5508" y="132"/>
              <a:ext cx="1551" cy="1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5508" y="132"/>
              <a:ext cx="1551" cy="1164"/>
            </a:xfrm>
            <a:custGeom>
              <a:avLst/>
              <a:gdLst>
                <a:gd name="T0" fmla="*/ 927 w 1551"/>
                <a:gd name="T1" fmla="*/ 280 h 1164"/>
                <a:gd name="T2" fmla="*/ 869 w 1551"/>
                <a:gd name="T3" fmla="*/ 282 h 1164"/>
                <a:gd name="T4" fmla="*/ 866 w 1551"/>
                <a:gd name="T5" fmla="*/ 12 h 1164"/>
                <a:gd name="T6" fmla="*/ 853 w 1551"/>
                <a:gd name="T7" fmla="*/ 2 h 1164"/>
                <a:gd name="T8" fmla="*/ 725 w 1551"/>
                <a:gd name="T9" fmla="*/ 0 h 1164"/>
                <a:gd name="T10" fmla="*/ 693 w 1551"/>
                <a:gd name="T11" fmla="*/ 6 h 1164"/>
                <a:gd name="T12" fmla="*/ 693 w 1551"/>
                <a:gd name="T13" fmla="*/ 282 h 1164"/>
                <a:gd name="T14" fmla="*/ 621 w 1551"/>
                <a:gd name="T15" fmla="*/ 282 h 1164"/>
                <a:gd name="T16" fmla="*/ 600 w 1551"/>
                <a:gd name="T17" fmla="*/ 288 h 1164"/>
                <a:gd name="T18" fmla="*/ 602 w 1551"/>
                <a:gd name="T19" fmla="*/ 300 h 1164"/>
                <a:gd name="T20" fmla="*/ 752 w 1551"/>
                <a:gd name="T21" fmla="*/ 398 h 1164"/>
                <a:gd name="T22" fmla="*/ 778 w 1551"/>
                <a:gd name="T23" fmla="*/ 406 h 1164"/>
                <a:gd name="T24" fmla="*/ 797 w 1551"/>
                <a:gd name="T25" fmla="*/ 402 h 1164"/>
                <a:gd name="T26" fmla="*/ 949 w 1551"/>
                <a:gd name="T27" fmla="*/ 300 h 1164"/>
                <a:gd name="T28" fmla="*/ 954 w 1551"/>
                <a:gd name="T29" fmla="*/ 292 h 1164"/>
                <a:gd name="T30" fmla="*/ 949 w 1551"/>
                <a:gd name="T31" fmla="*/ 864 h 1164"/>
                <a:gd name="T32" fmla="*/ 797 w 1551"/>
                <a:gd name="T33" fmla="*/ 762 h 1164"/>
                <a:gd name="T34" fmla="*/ 778 w 1551"/>
                <a:gd name="T35" fmla="*/ 758 h 1164"/>
                <a:gd name="T36" fmla="*/ 752 w 1551"/>
                <a:gd name="T37" fmla="*/ 764 h 1164"/>
                <a:gd name="T38" fmla="*/ 602 w 1551"/>
                <a:gd name="T39" fmla="*/ 862 h 1164"/>
                <a:gd name="T40" fmla="*/ 600 w 1551"/>
                <a:gd name="T41" fmla="*/ 876 h 1164"/>
                <a:gd name="T42" fmla="*/ 621 w 1551"/>
                <a:gd name="T43" fmla="*/ 882 h 1164"/>
                <a:gd name="T44" fmla="*/ 693 w 1551"/>
                <a:gd name="T45" fmla="*/ 1152 h 1164"/>
                <a:gd name="T46" fmla="*/ 693 w 1551"/>
                <a:gd name="T47" fmla="*/ 1156 h 1164"/>
                <a:gd name="T48" fmla="*/ 725 w 1551"/>
                <a:gd name="T49" fmla="*/ 1164 h 1164"/>
                <a:gd name="T50" fmla="*/ 853 w 1551"/>
                <a:gd name="T51" fmla="*/ 1162 h 1164"/>
                <a:gd name="T52" fmla="*/ 866 w 1551"/>
                <a:gd name="T53" fmla="*/ 1150 h 1164"/>
                <a:gd name="T54" fmla="*/ 869 w 1551"/>
                <a:gd name="T55" fmla="*/ 882 h 1164"/>
                <a:gd name="T56" fmla="*/ 927 w 1551"/>
                <a:gd name="T57" fmla="*/ 882 h 1164"/>
                <a:gd name="T58" fmla="*/ 951 w 1551"/>
                <a:gd name="T59" fmla="*/ 876 h 1164"/>
                <a:gd name="T60" fmla="*/ 949 w 1551"/>
                <a:gd name="T61" fmla="*/ 864 h 1164"/>
                <a:gd name="T62" fmla="*/ 1543 w 1551"/>
                <a:gd name="T63" fmla="*/ 520 h 1164"/>
                <a:gd name="T64" fmla="*/ 1175 w 1551"/>
                <a:gd name="T65" fmla="*/ 520 h 1164"/>
                <a:gd name="T66" fmla="*/ 1175 w 1551"/>
                <a:gd name="T67" fmla="*/ 466 h 1164"/>
                <a:gd name="T68" fmla="*/ 1167 w 1551"/>
                <a:gd name="T69" fmla="*/ 448 h 1164"/>
                <a:gd name="T70" fmla="*/ 1151 w 1551"/>
                <a:gd name="T71" fmla="*/ 452 h 1164"/>
                <a:gd name="T72" fmla="*/ 1021 w 1551"/>
                <a:gd name="T73" fmla="*/ 564 h 1164"/>
                <a:gd name="T74" fmla="*/ 1010 w 1551"/>
                <a:gd name="T75" fmla="*/ 582 h 1164"/>
                <a:gd name="T76" fmla="*/ 1015 w 1551"/>
                <a:gd name="T77" fmla="*/ 598 h 1164"/>
                <a:gd name="T78" fmla="*/ 1151 w 1551"/>
                <a:gd name="T79" fmla="*/ 712 h 1164"/>
                <a:gd name="T80" fmla="*/ 1162 w 1551"/>
                <a:gd name="T81" fmla="*/ 716 h 1164"/>
                <a:gd name="T82" fmla="*/ 1175 w 1551"/>
                <a:gd name="T83" fmla="*/ 702 h 1164"/>
                <a:gd name="T84" fmla="*/ 1175 w 1551"/>
                <a:gd name="T85" fmla="*/ 650 h 1164"/>
                <a:gd name="T86" fmla="*/ 1535 w 1551"/>
                <a:gd name="T87" fmla="*/ 648 h 1164"/>
                <a:gd name="T88" fmla="*/ 1548 w 1551"/>
                <a:gd name="T89" fmla="*/ 638 h 1164"/>
                <a:gd name="T90" fmla="*/ 1551 w 1551"/>
                <a:gd name="T91" fmla="*/ 544 h 1164"/>
                <a:gd name="T92" fmla="*/ 1546 w 1551"/>
                <a:gd name="T93" fmla="*/ 524 h 1164"/>
                <a:gd name="T94" fmla="*/ 408 w 1551"/>
                <a:gd name="T95" fmla="*/ 456 h 1164"/>
                <a:gd name="T96" fmla="*/ 386 w 1551"/>
                <a:gd name="T97" fmla="*/ 448 h 1164"/>
                <a:gd name="T98" fmla="*/ 378 w 1551"/>
                <a:gd name="T99" fmla="*/ 452 h 1164"/>
                <a:gd name="T100" fmla="*/ 376 w 1551"/>
                <a:gd name="T101" fmla="*/ 466 h 1164"/>
                <a:gd name="T102" fmla="*/ 13 w 1551"/>
                <a:gd name="T103" fmla="*/ 520 h 1164"/>
                <a:gd name="T104" fmla="*/ 5 w 1551"/>
                <a:gd name="T105" fmla="*/ 524 h 1164"/>
                <a:gd name="T106" fmla="*/ 0 w 1551"/>
                <a:gd name="T107" fmla="*/ 626 h 1164"/>
                <a:gd name="T108" fmla="*/ 8 w 1551"/>
                <a:gd name="T109" fmla="*/ 646 h 1164"/>
                <a:gd name="T110" fmla="*/ 203 w 1551"/>
                <a:gd name="T111" fmla="*/ 650 h 1164"/>
                <a:gd name="T112" fmla="*/ 376 w 1551"/>
                <a:gd name="T113" fmla="*/ 690 h 1164"/>
                <a:gd name="T114" fmla="*/ 378 w 1551"/>
                <a:gd name="T115" fmla="*/ 708 h 1164"/>
                <a:gd name="T116" fmla="*/ 389 w 1551"/>
                <a:gd name="T117" fmla="*/ 716 h 1164"/>
                <a:gd name="T118" fmla="*/ 533 w 1551"/>
                <a:gd name="T119" fmla="*/ 600 h 1164"/>
                <a:gd name="T120" fmla="*/ 538 w 1551"/>
                <a:gd name="T121" fmla="*/ 592 h 1164"/>
                <a:gd name="T122" fmla="*/ 538 w 1551"/>
                <a:gd name="T123" fmla="*/ 572 h 1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51" h="1164">
                  <a:moveTo>
                    <a:pt x="946" y="284"/>
                  </a:moveTo>
                  <a:lnTo>
                    <a:pt x="946" y="284"/>
                  </a:lnTo>
                  <a:lnTo>
                    <a:pt x="935" y="282"/>
                  </a:lnTo>
                  <a:lnTo>
                    <a:pt x="927" y="280"/>
                  </a:lnTo>
                  <a:lnTo>
                    <a:pt x="927" y="280"/>
                  </a:lnTo>
                  <a:lnTo>
                    <a:pt x="922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6" y="152"/>
                  </a:lnTo>
                  <a:lnTo>
                    <a:pt x="866" y="152"/>
                  </a:lnTo>
                  <a:lnTo>
                    <a:pt x="866" y="12"/>
                  </a:lnTo>
                  <a:lnTo>
                    <a:pt x="866" y="12"/>
                  </a:lnTo>
                  <a:lnTo>
                    <a:pt x="863" y="8"/>
                  </a:lnTo>
                  <a:lnTo>
                    <a:pt x="861" y="6"/>
                  </a:lnTo>
                  <a:lnTo>
                    <a:pt x="853" y="2"/>
                  </a:lnTo>
                  <a:lnTo>
                    <a:pt x="853" y="2"/>
                  </a:lnTo>
                  <a:lnTo>
                    <a:pt x="842" y="0"/>
                  </a:lnTo>
                  <a:lnTo>
                    <a:pt x="834" y="0"/>
                  </a:lnTo>
                  <a:lnTo>
                    <a:pt x="725" y="0"/>
                  </a:lnTo>
                  <a:lnTo>
                    <a:pt x="725" y="0"/>
                  </a:lnTo>
                  <a:lnTo>
                    <a:pt x="709" y="0"/>
                  </a:lnTo>
                  <a:lnTo>
                    <a:pt x="698" y="4"/>
                  </a:lnTo>
                  <a:lnTo>
                    <a:pt x="698" y="4"/>
                  </a:lnTo>
                  <a:lnTo>
                    <a:pt x="693" y="6"/>
                  </a:lnTo>
                  <a:lnTo>
                    <a:pt x="693" y="10"/>
                  </a:lnTo>
                  <a:lnTo>
                    <a:pt x="693" y="10"/>
                  </a:lnTo>
                  <a:lnTo>
                    <a:pt x="693" y="12"/>
                  </a:lnTo>
                  <a:lnTo>
                    <a:pt x="693" y="282"/>
                  </a:lnTo>
                  <a:lnTo>
                    <a:pt x="621" y="282"/>
                  </a:lnTo>
                  <a:lnTo>
                    <a:pt x="621" y="282"/>
                  </a:lnTo>
                  <a:lnTo>
                    <a:pt x="621" y="282"/>
                  </a:lnTo>
                  <a:lnTo>
                    <a:pt x="621" y="282"/>
                  </a:lnTo>
                  <a:lnTo>
                    <a:pt x="610" y="282"/>
                  </a:lnTo>
                  <a:lnTo>
                    <a:pt x="602" y="284"/>
                  </a:lnTo>
                  <a:lnTo>
                    <a:pt x="602" y="284"/>
                  </a:lnTo>
                  <a:lnTo>
                    <a:pt x="600" y="288"/>
                  </a:lnTo>
                  <a:lnTo>
                    <a:pt x="597" y="290"/>
                  </a:lnTo>
                  <a:lnTo>
                    <a:pt x="597" y="290"/>
                  </a:lnTo>
                  <a:lnTo>
                    <a:pt x="600" y="296"/>
                  </a:lnTo>
                  <a:lnTo>
                    <a:pt x="602" y="300"/>
                  </a:lnTo>
                  <a:lnTo>
                    <a:pt x="608" y="306"/>
                  </a:lnTo>
                  <a:lnTo>
                    <a:pt x="608" y="306"/>
                  </a:lnTo>
                  <a:lnTo>
                    <a:pt x="752" y="398"/>
                  </a:lnTo>
                  <a:lnTo>
                    <a:pt x="752" y="398"/>
                  </a:lnTo>
                  <a:lnTo>
                    <a:pt x="752" y="398"/>
                  </a:lnTo>
                  <a:lnTo>
                    <a:pt x="762" y="404"/>
                  </a:lnTo>
                  <a:lnTo>
                    <a:pt x="762" y="404"/>
                  </a:lnTo>
                  <a:lnTo>
                    <a:pt x="778" y="406"/>
                  </a:lnTo>
                  <a:lnTo>
                    <a:pt x="778" y="406"/>
                  </a:lnTo>
                  <a:lnTo>
                    <a:pt x="789" y="404"/>
                  </a:lnTo>
                  <a:lnTo>
                    <a:pt x="789" y="404"/>
                  </a:lnTo>
                  <a:lnTo>
                    <a:pt x="797" y="402"/>
                  </a:lnTo>
                  <a:lnTo>
                    <a:pt x="802" y="400"/>
                  </a:lnTo>
                  <a:lnTo>
                    <a:pt x="802" y="400"/>
                  </a:lnTo>
                  <a:lnTo>
                    <a:pt x="949" y="300"/>
                  </a:lnTo>
                  <a:lnTo>
                    <a:pt x="949" y="300"/>
                  </a:lnTo>
                  <a:lnTo>
                    <a:pt x="949" y="300"/>
                  </a:lnTo>
                  <a:lnTo>
                    <a:pt x="954" y="296"/>
                  </a:lnTo>
                  <a:lnTo>
                    <a:pt x="954" y="292"/>
                  </a:lnTo>
                  <a:lnTo>
                    <a:pt x="954" y="292"/>
                  </a:lnTo>
                  <a:lnTo>
                    <a:pt x="951" y="286"/>
                  </a:lnTo>
                  <a:lnTo>
                    <a:pt x="946" y="284"/>
                  </a:lnTo>
                  <a:lnTo>
                    <a:pt x="946" y="284"/>
                  </a:lnTo>
                  <a:close/>
                  <a:moveTo>
                    <a:pt x="949" y="864"/>
                  </a:moveTo>
                  <a:lnTo>
                    <a:pt x="802" y="764"/>
                  </a:lnTo>
                  <a:lnTo>
                    <a:pt x="802" y="764"/>
                  </a:lnTo>
                  <a:lnTo>
                    <a:pt x="802" y="764"/>
                  </a:lnTo>
                  <a:lnTo>
                    <a:pt x="797" y="762"/>
                  </a:lnTo>
                  <a:lnTo>
                    <a:pt x="789" y="760"/>
                  </a:lnTo>
                  <a:lnTo>
                    <a:pt x="789" y="760"/>
                  </a:lnTo>
                  <a:lnTo>
                    <a:pt x="778" y="758"/>
                  </a:lnTo>
                  <a:lnTo>
                    <a:pt x="778" y="758"/>
                  </a:lnTo>
                  <a:lnTo>
                    <a:pt x="762" y="760"/>
                  </a:lnTo>
                  <a:lnTo>
                    <a:pt x="762" y="760"/>
                  </a:lnTo>
                  <a:lnTo>
                    <a:pt x="752" y="764"/>
                  </a:lnTo>
                  <a:lnTo>
                    <a:pt x="752" y="764"/>
                  </a:lnTo>
                  <a:lnTo>
                    <a:pt x="608" y="858"/>
                  </a:lnTo>
                  <a:lnTo>
                    <a:pt x="608" y="858"/>
                  </a:lnTo>
                  <a:lnTo>
                    <a:pt x="608" y="858"/>
                  </a:lnTo>
                  <a:lnTo>
                    <a:pt x="602" y="862"/>
                  </a:lnTo>
                  <a:lnTo>
                    <a:pt x="600" y="868"/>
                  </a:lnTo>
                  <a:lnTo>
                    <a:pt x="597" y="874"/>
                  </a:lnTo>
                  <a:lnTo>
                    <a:pt x="597" y="874"/>
                  </a:lnTo>
                  <a:lnTo>
                    <a:pt x="600" y="876"/>
                  </a:lnTo>
                  <a:lnTo>
                    <a:pt x="602" y="880"/>
                  </a:lnTo>
                  <a:lnTo>
                    <a:pt x="602" y="880"/>
                  </a:lnTo>
                  <a:lnTo>
                    <a:pt x="610" y="882"/>
                  </a:lnTo>
                  <a:lnTo>
                    <a:pt x="621" y="882"/>
                  </a:lnTo>
                  <a:lnTo>
                    <a:pt x="621" y="882"/>
                  </a:lnTo>
                  <a:lnTo>
                    <a:pt x="621" y="882"/>
                  </a:lnTo>
                  <a:lnTo>
                    <a:pt x="693" y="882"/>
                  </a:lnTo>
                  <a:lnTo>
                    <a:pt x="693" y="1152"/>
                  </a:lnTo>
                  <a:lnTo>
                    <a:pt x="693" y="1152"/>
                  </a:lnTo>
                  <a:lnTo>
                    <a:pt x="693" y="1154"/>
                  </a:lnTo>
                  <a:lnTo>
                    <a:pt x="693" y="1154"/>
                  </a:lnTo>
                  <a:lnTo>
                    <a:pt x="693" y="1156"/>
                  </a:lnTo>
                  <a:lnTo>
                    <a:pt x="698" y="1160"/>
                  </a:lnTo>
                  <a:lnTo>
                    <a:pt x="698" y="1160"/>
                  </a:lnTo>
                  <a:lnTo>
                    <a:pt x="709" y="1162"/>
                  </a:lnTo>
                  <a:lnTo>
                    <a:pt x="725" y="1164"/>
                  </a:lnTo>
                  <a:lnTo>
                    <a:pt x="834" y="1164"/>
                  </a:lnTo>
                  <a:lnTo>
                    <a:pt x="834" y="1164"/>
                  </a:lnTo>
                  <a:lnTo>
                    <a:pt x="842" y="1164"/>
                  </a:lnTo>
                  <a:lnTo>
                    <a:pt x="853" y="1162"/>
                  </a:lnTo>
                  <a:lnTo>
                    <a:pt x="853" y="1162"/>
                  </a:lnTo>
                  <a:lnTo>
                    <a:pt x="861" y="1158"/>
                  </a:lnTo>
                  <a:lnTo>
                    <a:pt x="863" y="1154"/>
                  </a:lnTo>
                  <a:lnTo>
                    <a:pt x="866" y="1150"/>
                  </a:lnTo>
                  <a:lnTo>
                    <a:pt x="866" y="1150"/>
                  </a:lnTo>
                  <a:lnTo>
                    <a:pt x="866" y="1012"/>
                  </a:lnTo>
                  <a:lnTo>
                    <a:pt x="866" y="1012"/>
                  </a:lnTo>
                  <a:lnTo>
                    <a:pt x="869" y="882"/>
                  </a:lnTo>
                  <a:lnTo>
                    <a:pt x="922" y="882"/>
                  </a:lnTo>
                  <a:lnTo>
                    <a:pt x="922" y="882"/>
                  </a:lnTo>
                  <a:lnTo>
                    <a:pt x="927" y="882"/>
                  </a:lnTo>
                  <a:lnTo>
                    <a:pt x="927" y="882"/>
                  </a:lnTo>
                  <a:lnTo>
                    <a:pt x="935" y="882"/>
                  </a:lnTo>
                  <a:lnTo>
                    <a:pt x="946" y="880"/>
                  </a:lnTo>
                  <a:lnTo>
                    <a:pt x="946" y="880"/>
                  </a:lnTo>
                  <a:lnTo>
                    <a:pt x="951" y="876"/>
                  </a:lnTo>
                  <a:lnTo>
                    <a:pt x="954" y="872"/>
                  </a:lnTo>
                  <a:lnTo>
                    <a:pt x="954" y="872"/>
                  </a:lnTo>
                  <a:lnTo>
                    <a:pt x="954" y="868"/>
                  </a:lnTo>
                  <a:lnTo>
                    <a:pt x="949" y="864"/>
                  </a:lnTo>
                  <a:lnTo>
                    <a:pt x="949" y="864"/>
                  </a:lnTo>
                  <a:close/>
                  <a:moveTo>
                    <a:pt x="1546" y="524"/>
                  </a:moveTo>
                  <a:lnTo>
                    <a:pt x="1546" y="524"/>
                  </a:lnTo>
                  <a:lnTo>
                    <a:pt x="1543" y="520"/>
                  </a:lnTo>
                  <a:lnTo>
                    <a:pt x="1538" y="520"/>
                  </a:lnTo>
                  <a:lnTo>
                    <a:pt x="1538" y="520"/>
                  </a:lnTo>
                  <a:lnTo>
                    <a:pt x="1535" y="520"/>
                  </a:lnTo>
                  <a:lnTo>
                    <a:pt x="1175" y="520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56"/>
                  </a:lnTo>
                  <a:lnTo>
                    <a:pt x="1173" y="452"/>
                  </a:lnTo>
                  <a:lnTo>
                    <a:pt x="1173" y="452"/>
                  </a:lnTo>
                  <a:lnTo>
                    <a:pt x="1167" y="448"/>
                  </a:lnTo>
                  <a:lnTo>
                    <a:pt x="1165" y="448"/>
                  </a:lnTo>
                  <a:lnTo>
                    <a:pt x="1165" y="448"/>
                  </a:lnTo>
                  <a:lnTo>
                    <a:pt x="1157" y="450"/>
                  </a:lnTo>
                  <a:lnTo>
                    <a:pt x="1151" y="452"/>
                  </a:lnTo>
                  <a:lnTo>
                    <a:pt x="1143" y="456"/>
                  </a:lnTo>
                  <a:lnTo>
                    <a:pt x="1143" y="456"/>
                  </a:lnTo>
                  <a:lnTo>
                    <a:pt x="1021" y="564"/>
                  </a:lnTo>
                  <a:lnTo>
                    <a:pt x="1021" y="564"/>
                  </a:lnTo>
                  <a:lnTo>
                    <a:pt x="1021" y="564"/>
                  </a:lnTo>
                  <a:lnTo>
                    <a:pt x="1013" y="572"/>
                  </a:lnTo>
                  <a:lnTo>
                    <a:pt x="1013" y="572"/>
                  </a:lnTo>
                  <a:lnTo>
                    <a:pt x="1010" y="582"/>
                  </a:lnTo>
                  <a:lnTo>
                    <a:pt x="1010" y="582"/>
                  </a:lnTo>
                  <a:lnTo>
                    <a:pt x="1013" y="592"/>
                  </a:lnTo>
                  <a:lnTo>
                    <a:pt x="1013" y="592"/>
                  </a:lnTo>
                  <a:lnTo>
                    <a:pt x="1015" y="598"/>
                  </a:lnTo>
                  <a:lnTo>
                    <a:pt x="1018" y="600"/>
                  </a:lnTo>
                  <a:lnTo>
                    <a:pt x="1018" y="600"/>
                  </a:lnTo>
                  <a:lnTo>
                    <a:pt x="1151" y="712"/>
                  </a:lnTo>
                  <a:lnTo>
                    <a:pt x="1151" y="712"/>
                  </a:lnTo>
                  <a:lnTo>
                    <a:pt x="1151" y="712"/>
                  </a:lnTo>
                  <a:lnTo>
                    <a:pt x="1157" y="714"/>
                  </a:lnTo>
                  <a:lnTo>
                    <a:pt x="1162" y="716"/>
                  </a:lnTo>
                  <a:lnTo>
                    <a:pt x="1162" y="716"/>
                  </a:lnTo>
                  <a:lnTo>
                    <a:pt x="1170" y="714"/>
                  </a:lnTo>
                  <a:lnTo>
                    <a:pt x="1173" y="708"/>
                  </a:lnTo>
                  <a:lnTo>
                    <a:pt x="1173" y="708"/>
                  </a:lnTo>
                  <a:lnTo>
                    <a:pt x="1175" y="702"/>
                  </a:lnTo>
                  <a:lnTo>
                    <a:pt x="1178" y="696"/>
                  </a:lnTo>
                  <a:lnTo>
                    <a:pt x="1178" y="696"/>
                  </a:lnTo>
                  <a:lnTo>
                    <a:pt x="1175" y="690"/>
                  </a:lnTo>
                  <a:lnTo>
                    <a:pt x="1175" y="650"/>
                  </a:lnTo>
                  <a:lnTo>
                    <a:pt x="1175" y="650"/>
                  </a:lnTo>
                  <a:lnTo>
                    <a:pt x="1348" y="650"/>
                  </a:lnTo>
                  <a:lnTo>
                    <a:pt x="1348" y="650"/>
                  </a:lnTo>
                  <a:lnTo>
                    <a:pt x="1535" y="648"/>
                  </a:lnTo>
                  <a:lnTo>
                    <a:pt x="1535" y="648"/>
                  </a:lnTo>
                  <a:lnTo>
                    <a:pt x="1540" y="648"/>
                  </a:lnTo>
                  <a:lnTo>
                    <a:pt x="1543" y="646"/>
                  </a:lnTo>
                  <a:lnTo>
                    <a:pt x="1548" y="638"/>
                  </a:lnTo>
                  <a:lnTo>
                    <a:pt x="1548" y="638"/>
                  </a:lnTo>
                  <a:lnTo>
                    <a:pt x="1551" y="630"/>
                  </a:lnTo>
                  <a:lnTo>
                    <a:pt x="1551" y="626"/>
                  </a:lnTo>
                  <a:lnTo>
                    <a:pt x="1551" y="544"/>
                  </a:lnTo>
                  <a:lnTo>
                    <a:pt x="1551" y="544"/>
                  </a:lnTo>
                  <a:lnTo>
                    <a:pt x="1551" y="532"/>
                  </a:lnTo>
                  <a:lnTo>
                    <a:pt x="1546" y="524"/>
                  </a:lnTo>
                  <a:lnTo>
                    <a:pt x="1546" y="524"/>
                  </a:lnTo>
                  <a:close/>
                  <a:moveTo>
                    <a:pt x="533" y="564"/>
                  </a:moveTo>
                  <a:lnTo>
                    <a:pt x="533" y="564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8" y="456"/>
                  </a:lnTo>
                  <a:lnTo>
                    <a:pt x="402" y="452"/>
                  </a:lnTo>
                  <a:lnTo>
                    <a:pt x="394" y="450"/>
                  </a:lnTo>
                  <a:lnTo>
                    <a:pt x="386" y="448"/>
                  </a:lnTo>
                  <a:lnTo>
                    <a:pt x="386" y="448"/>
                  </a:lnTo>
                  <a:lnTo>
                    <a:pt x="384" y="448"/>
                  </a:lnTo>
                  <a:lnTo>
                    <a:pt x="378" y="452"/>
                  </a:lnTo>
                  <a:lnTo>
                    <a:pt x="378" y="452"/>
                  </a:lnTo>
                  <a:lnTo>
                    <a:pt x="376" y="456"/>
                  </a:lnTo>
                  <a:lnTo>
                    <a:pt x="376" y="466"/>
                  </a:lnTo>
                  <a:lnTo>
                    <a:pt x="376" y="466"/>
                  </a:lnTo>
                  <a:lnTo>
                    <a:pt x="376" y="466"/>
                  </a:lnTo>
                  <a:lnTo>
                    <a:pt x="376" y="520"/>
                  </a:lnTo>
                  <a:lnTo>
                    <a:pt x="16" y="520"/>
                  </a:lnTo>
                  <a:lnTo>
                    <a:pt x="16" y="520"/>
                  </a:lnTo>
                  <a:lnTo>
                    <a:pt x="13" y="520"/>
                  </a:lnTo>
                  <a:lnTo>
                    <a:pt x="13" y="520"/>
                  </a:lnTo>
                  <a:lnTo>
                    <a:pt x="11" y="520"/>
                  </a:lnTo>
                  <a:lnTo>
                    <a:pt x="5" y="524"/>
                  </a:lnTo>
                  <a:lnTo>
                    <a:pt x="5" y="524"/>
                  </a:lnTo>
                  <a:lnTo>
                    <a:pt x="3" y="532"/>
                  </a:lnTo>
                  <a:lnTo>
                    <a:pt x="0" y="544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30"/>
                  </a:lnTo>
                  <a:lnTo>
                    <a:pt x="3" y="638"/>
                  </a:lnTo>
                  <a:lnTo>
                    <a:pt x="3" y="638"/>
                  </a:lnTo>
                  <a:lnTo>
                    <a:pt x="8" y="646"/>
                  </a:lnTo>
                  <a:lnTo>
                    <a:pt x="13" y="648"/>
                  </a:lnTo>
                  <a:lnTo>
                    <a:pt x="19" y="648"/>
                  </a:lnTo>
                  <a:lnTo>
                    <a:pt x="19" y="648"/>
                  </a:lnTo>
                  <a:lnTo>
                    <a:pt x="203" y="650"/>
                  </a:lnTo>
                  <a:lnTo>
                    <a:pt x="203" y="650"/>
                  </a:lnTo>
                  <a:lnTo>
                    <a:pt x="376" y="650"/>
                  </a:lnTo>
                  <a:lnTo>
                    <a:pt x="376" y="690"/>
                  </a:lnTo>
                  <a:lnTo>
                    <a:pt x="376" y="690"/>
                  </a:lnTo>
                  <a:lnTo>
                    <a:pt x="376" y="696"/>
                  </a:lnTo>
                  <a:lnTo>
                    <a:pt x="376" y="696"/>
                  </a:lnTo>
                  <a:lnTo>
                    <a:pt x="376" y="702"/>
                  </a:lnTo>
                  <a:lnTo>
                    <a:pt x="378" y="708"/>
                  </a:lnTo>
                  <a:lnTo>
                    <a:pt x="378" y="708"/>
                  </a:lnTo>
                  <a:lnTo>
                    <a:pt x="384" y="714"/>
                  </a:lnTo>
                  <a:lnTo>
                    <a:pt x="389" y="716"/>
                  </a:lnTo>
                  <a:lnTo>
                    <a:pt x="389" y="716"/>
                  </a:lnTo>
                  <a:lnTo>
                    <a:pt x="394" y="714"/>
                  </a:lnTo>
                  <a:lnTo>
                    <a:pt x="400" y="712"/>
                  </a:lnTo>
                  <a:lnTo>
                    <a:pt x="400" y="712"/>
                  </a:lnTo>
                  <a:lnTo>
                    <a:pt x="533" y="600"/>
                  </a:lnTo>
                  <a:lnTo>
                    <a:pt x="533" y="600"/>
                  </a:lnTo>
                  <a:lnTo>
                    <a:pt x="533" y="600"/>
                  </a:lnTo>
                  <a:lnTo>
                    <a:pt x="536" y="598"/>
                  </a:lnTo>
                  <a:lnTo>
                    <a:pt x="538" y="592"/>
                  </a:lnTo>
                  <a:lnTo>
                    <a:pt x="538" y="592"/>
                  </a:lnTo>
                  <a:lnTo>
                    <a:pt x="541" y="582"/>
                  </a:lnTo>
                  <a:lnTo>
                    <a:pt x="541" y="582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3" y="564"/>
                  </a:lnTo>
                  <a:lnTo>
                    <a:pt x="533" y="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6094" y="568"/>
              <a:ext cx="389" cy="292"/>
            </a:xfrm>
            <a:custGeom>
              <a:avLst/>
              <a:gdLst>
                <a:gd name="T0" fmla="*/ 381 w 389"/>
                <a:gd name="T1" fmla="*/ 226 h 292"/>
                <a:gd name="T2" fmla="*/ 275 w 389"/>
                <a:gd name="T3" fmla="*/ 146 h 292"/>
                <a:gd name="T4" fmla="*/ 381 w 389"/>
                <a:gd name="T5" fmla="*/ 66 h 292"/>
                <a:gd name="T6" fmla="*/ 381 w 389"/>
                <a:gd name="T7" fmla="*/ 66 h 292"/>
                <a:gd name="T8" fmla="*/ 387 w 389"/>
                <a:gd name="T9" fmla="*/ 60 h 292"/>
                <a:gd name="T10" fmla="*/ 389 w 389"/>
                <a:gd name="T11" fmla="*/ 52 h 292"/>
                <a:gd name="T12" fmla="*/ 387 w 389"/>
                <a:gd name="T13" fmla="*/ 46 h 292"/>
                <a:gd name="T14" fmla="*/ 381 w 389"/>
                <a:gd name="T15" fmla="*/ 40 h 292"/>
                <a:gd name="T16" fmla="*/ 336 w 389"/>
                <a:gd name="T17" fmla="*/ 4 h 292"/>
                <a:gd name="T18" fmla="*/ 336 w 389"/>
                <a:gd name="T19" fmla="*/ 4 h 292"/>
                <a:gd name="T20" fmla="*/ 328 w 389"/>
                <a:gd name="T21" fmla="*/ 0 h 292"/>
                <a:gd name="T22" fmla="*/ 317 w 389"/>
                <a:gd name="T23" fmla="*/ 0 h 292"/>
                <a:gd name="T24" fmla="*/ 309 w 389"/>
                <a:gd name="T25" fmla="*/ 2 h 292"/>
                <a:gd name="T26" fmla="*/ 301 w 389"/>
                <a:gd name="T27" fmla="*/ 6 h 292"/>
                <a:gd name="T28" fmla="*/ 195 w 389"/>
                <a:gd name="T29" fmla="*/ 86 h 292"/>
                <a:gd name="T30" fmla="*/ 88 w 389"/>
                <a:gd name="T31" fmla="*/ 6 h 292"/>
                <a:gd name="T32" fmla="*/ 88 w 389"/>
                <a:gd name="T33" fmla="*/ 6 h 292"/>
                <a:gd name="T34" fmla="*/ 80 w 389"/>
                <a:gd name="T35" fmla="*/ 2 h 292"/>
                <a:gd name="T36" fmla="*/ 70 w 389"/>
                <a:gd name="T37" fmla="*/ 0 h 292"/>
                <a:gd name="T38" fmla="*/ 62 w 389"/>
                <a:gd name="T39" fmla="*/ 0 h 292"/>
                <a:gd name="T40" fmla="*/ 54 w 389"/>
                <a:gd name="T41" fmla="*/ 4 h 292"/>
                <a:gd name="T42" fmla="*/ 6 w 389"/>
                <a:gd name="T43" fmla="*/ 40 h 292"/>
                <a:gd name="T44" fmla="*/ 6 w 389"/>
                <a:gd name="T45" fmla="*/ 40 h 292"/>
                <a:gd name="T46" fmla="*/ 0 w 389"/>
                <a:gd name="T47" fmla="*/ 46 h 292"/>
                <a:gd name="T48" fmla="*/ 0 w 389"/>
                <a:gd name="T49" fmla="*/ 52 h 292"/>
                <a:gd name="T50" fmla="*/ 3 w 389"/>
                <a:gd name="T51" fmla="*/ 60 h 292"/>
                <a:gd name="T52" fmla="*/ 8 w 389"/>
                <a:gd name="T53" fmla="*/ 66 h 292"/>
                <a:gd name="T54" fmla="*/ 115 w 389"/>
                <a:gd name="T55" fmla="*/ 146 h 292"/>
                <a:gd name="T56" fmla="*/ 8 w 389"/>
                <a:gd name="T57" fmla="*/ 226 h 292"/>
                <a:gd name="T58" fmla="*/ 8 w 389"/>
                <a:gd name="T59" fmla="*/ 226 h 292"/>
                <a:gd name="T60" fmla="*/ 3 w 389"/>
                <a:gd name="T61" fmla="*/ 232 h 292"/>
                <a:gd name="T62" fmla="*/ 0 w 389"/>
                <a:gd name="T63" fmla="*/ 238 h 292"/>
                <a:gd name="T64" fmla="*/ 0 w 389"/>
                <a:gd name="T65" fmla="*/ 246 h 292"/>
                <a:gd name="T66" fmla="*/ 6 w 389"/>
                <a:gd name="T67" fmla="*/ 252 h 292"/>
                <a:gd name="T68" fmla="*/ 54 w 389"/>
                <a:gd name="T69" fmla="*/ 286 h 292"/>
                <a:gd name="T70" fmla="*/ 54 w 389"/>
                <a:gd name="T71" fmla="*/ 286 h 292"/>
                <a:gd name="T72" fmla="*/ 62 w 389"/>
                <a:gd name="T73" fmla="*/ 290 h 292"/>
                <a:gd name="T74" fmla="*/ 70 w 389"/>
                <a:gd name="T75" fmla="*/ 292 h 292"/>
                <a:gd name="T76" fmla="*/ 80 w 389"/>
                <a:gd name="T77" fmla="*/ 290 h 292"/>
                <a:gd name="T78" fmla="*/ 88 w 389"/>
                <a:gd name="T79" fmla="*/ 286 h 292"/>
                <a:gd name="T80" fmla="*/ 195 w 389"/>
                <a:gd name="T81" fmla="*/ 206 h 292"/>
                <a:gd name="T82" fmla="*/ 301 w 389"/>
                <a:gd name="T83" fmla="*/ 286 h 292"/>
                <a:gd name="T84" fmla="*/ 301 w 389"/>
                <a:gd name="T85" fmla="*/ 286 h 292"/>
                <a:gd name="T86" fmla="*/ 309 w 389"/>
                <a:gd name="T87" fmla="*/ 290 h 292"/>
                <a:gd name="T88" fmla="*/ 317 w 389"/>
                <a:gd name="T89" fmla="*/ 292 h 292"/>
                <a:gd name="T90" fmla="*/ 328 w 389"/>
                <a:gd name="T91" fmla="*/ 290 h 292"/>
                <a:gd name="T92" fmla="*/ 336 w 389"/>
                <a:gd name="T93" fmla="*/ 286 h 292"/>
                <a:gd name="T94" fmla="*/ 381 w 389"/>
                <a:gd name="T95" fmla="*/ 252 h 292"/>
                <a:gd name="T96" fmla="*/ 381 w 389"/>
                <a:gd name="T97" fmla="*/ 252 h 292"/>
                <a:gd name="T98" fmla="*/ 387 w 389"/>
                <a:gd name="T99" fmla="*/ 246 h 292"/>
                <a:gd name="T100" fmla="*/ 389 w 389"/>
                <a:gd name="T101" fmla="*/ 238 h 292"/>
                <a:gd name="T102" fmla="*/ 387 w 389"/>
                <a:gd name="T103" fmla="*/ 232 h 292"/>
                <a:gd name="T104" fmla="*/ 381 w 389"/>
                <a:gd name="T105" fmla="*/ 226 h 292"/>
                <a:gd name="T106" fmla="*/ 381 w 389"/>
                <a:gd name="T107" fmla="*/ 226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89" h="292">
                  <a:moveTo>
                    <a:pt x="381" y="226"/>
                  </a:moveTo>
                  <a:lnTo>
                    <a:pt x="275" y="146"/>
                  </a:lnTo>
                  <a:lnTo>
                    <a:pt x="381" y="66"/>
                  </a:lnTo>
                  <a:lnTo>
                    <a:pt x="381" y="66"/>
                  </a:lnTo>
                  <a:lnTo>
                    <a:pt x="387" y="60"/>
                  </a:lnTo>
                  <a:lnTo>
                    <a:pt x="389" y="52"/>
                  </a:lnTo>
                  <a:lnTo>
                    <a:pt x="387" y="46"/>
                  </a:lnTo>
                  <a:lnTo>
                    <a:pt x="381" y="40"/>
                  </a:lnTo>
                  <a:lnTo>
                    <a:pt x="336" y="4"/>
                  </a:lnTo>
                  <a:lnTo>
                    <a:pt x="336" y="4"/>
                  </a:lnTo>
                  <a:lnTo>
                    <a:pt x="328" y="0"/>
                  </a:lnTo>
                  <a:lnTo>
                    <a:pt x="317" y="0"/>
                  </a:lnTo>
                  <a:lnTo>
                    <a:pt x="309" y="2"/>
                  </a:lnTo>
                  <a:lnTo>
                    <a:pt x="301" y="6"/>
                  </a:lnTo>
                  <a:lnTo>
                    <a:pt x="195" y="8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0" y="2"/>
                  </a:lnTo>
                  <a:lnTo>
                    <a:pt x="70" y="0"/>
                  </a:lnTo>
                  <a:lnTo>
                    <a:pt x="62" y="0"/>
                  </a:lnTo>
                  <a:lnTo>
                    <a:pt x="54" y="4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0" y="46"/>
                  </a:lnTo>
                  <a:lnTo>
                    <a:pt x="0" y="52"/>
                  </a:lnTo>
                  <a:lnTo>
                    <a:pt x="3" y="60"/>
                  </a:lnTo>
                  <a:lnTo>
                    <a:pt x="8" y="66"/>
                  </a:lnTo>
                  <a:lnTo>
                    <a:pt x="115" y="146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3" y="232"/>
                  </a:lnTo>
                  <a:lnTo>
                    <a:pt x="0" y="23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54" y="286"/>
                  </a:lnTo>
                  <a:lnTo>
                    <a:pt x="54" y="286"/>
                  </a:lnTo>
                  <a:lnTo>
                    <a:pt x="62" y="290"/>
                  </a:lnTo>
                  <a:lnTo>
                    <a:pt x="70" y="292"/>
                  </a:lnTo>
                  <a:lnTo>
                    <a:pt x="80" y="290"/>
                  </a:lnTo>
                  <a:lnTo>
                    <a:pt x="88" y="286"/>
                  </a:lnTo>
                  <a:lnTo>
                    <a:pt x="195" y="206"/>
                  </a:lnTo>
                  <a:lnTo>
                    <a:pt x="301" y="286"/>
                  </a:lnTo>
                  <a:lnTo>
                    <a:pt x="301" y="286"/>
                  </a:lnTo>
                  <a:lnTo>
                    <a:pt x="309" y="290"/>
                  </a:lnTo>
                  <a:lnTo>
                    <a:pt x="317" y="292"/>
                  </a:lnTo>
                  <a:lnTo>
                    <a:pt x="328" y="290"/>
                  </a:lnTo>
                  <a:lnTo>
                    <a:pt x="336" y="286"/>
                  </a:lnTo>
                  <a:lnTo>
                    <a:pt x="381" y="252"/>
                  </a:lnTo>
                  <a:lnTo>
                    <a:pt x="381" y="252"/>
                  </a:lnTo>
                  <a:lnTo>
                    <a:pt x="387" y="246"/>
                  </a:lnTo>
                  <a:lnTo>
                    <a:pt x="389" y="238"/>
                  </a:lnTo>
                  <a:lnTo>
                    <a:pt x="387" y="232"/>
                  </a:lnTo>
                  <a:lnTo>
                    <a:pt x="381" y="226"/>
                  </a:lnTo>
                  <a:lnTo>
                    <a:pt x="381" y="22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5" y="1666619"/>
            <a:ext cx="11443668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73897" indent="-29788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76011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99499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21257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440734" indent="-223926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9613300" y="402654"/>
            <a:ext cx="935612" cy="1411364"/>
            <a:chOff x="10833922" y="426404"/>
            <a:chExt cx="935368" cy="1411364"/>
          </a:xfrm>
        </p:grpSpPr>
        <p:grpSp>
          <p:nvGrpSpPr>
            <p:cNvPr id="10" name="Group 9"/>
            <p:cNvGrpSpPr/>
            <p:nvPr/>
          </p:nvGrpSpPr>
          <p:grpSpPr>
            <a:xfrm>
              <a:off x="10833922" y="426404"/>
              <a:ext cx="935368" cy="1411364"/>
              <a:chOff x="10833922" y="426404"/>
              <a:chExt cx="935368" cy="1411364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10833922" y="44062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1153724" y="426404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11022122" y="59237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10869547" y="723123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11471293" y="497715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11650418" y="615449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11649540" y="472232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11260721" y="782559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11224941" y="583248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11140994" y="651074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11528539" y="710510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11067492" y="72244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Oval 23"/>
              <p:cNvSpPr/>
              <p:nvPr/>
            </p:nvSpPr>
            <p:spPr>
              <a:xfrm>
                <a:off x="10988419" y="76994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11341718" y="63971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Oval 25"/>
              <p:cNvSpPr/>
              <p:nvPr/>
            </p:nvSpPr>
            <p:spPr>
              <a:xfrm>
                <a:off x="11258531" y="684310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11341718" y="72244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11434650" y="731353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11246656" y="1528891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11244466" y="1718896"/>
                <a:ext cx="118872" cy="11887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10833922" y="850225"/>
              <a:ext cx="928688" cy="630237"/>
            </a:xfrm>
            <a:custGeom>
              <a:avLst/>
              <a:gdLst>
                <a:gd name="T0" fmla="*/ 8 w 585"/>
                <a:gd name="T1" fmla="*/ 0 h 397"/>
                <a:gd name="T2" fmla="*/ 8 w 585"/>
                <a:gd name="T3" fmla="*/ 0 h 397"/>
                <a:gd name="T4" fmla="*/ 5 w 585"/>
                <a:gd name="T5" fmla="*/ 8 h 397"/>
                <a:gd name="T6" fmla="*/ 2 w 585"/>
                <a:gd name="T7" fmla="*/ 14 h 397"/>
                <a:gd name="T8" fmla="*/ 0 w 585"/>
                <a:gd name="T9" fmla="*/ 22 h 397"/>
                <a:gd name="T10" fmla="*/ 0 w 585"/>
                <a:gd name="T11" fmla="*/ 31 h 397"/>
                <a:gd name="T12" fmla="*/ 2 w 585"/>
                <a:gd name="T13" fmla="*/ 39 h 397"/>
                <a:gd name="T14" fmla="*/ 3 w 585"/>
                <a:gd name="T15" fmla="*/ 45 h 397"/>
                <a:gd name="T16" fmla="*/ 8 w 585"/>
                <a:gd name="T17" fmla="*/ 53 h 397"/>
                <a:gd name="T18" fmla="*/ 12 w 585"/>
                <a:gd name="T19" fmla="*/ 59 h 397"/>
                <a:gd name="T20" fmla="*/ 214 w 585"/>
                <a:gd name="T21" fmla="*/ 261 h 397"/>
                <a:gd name="T22" fmla="*/ 214 w 585"/>
                <a:gd name="T23" fmla="*/ 261 h 397"/>
                <a:gd name="T24" fmla="*/ 211 w 585"/>
                <a:gd name="T25" fmla="*/ 270 h 397"/>
                <a:gd name="T26" fmla="*/ 209 w 585"/>
                <a:gd name="T27" fmla="*/ 281 h 397"/>
                <a:gd name="T28" fmla="*/ 209 w 585"/>
                <a:gd name="T29" fmla="*/ 352 h 397"/>
                <a:gd name="T30" fmla="*/ 209 w 585"/>
                <a:gd name="T31" fmla="*/ 352 h 397"/>
                <a:gd name="T32" fmla="*/ 209 w 585"/>
                <a:gd name="T33" fmla="*/ 362 h 397"/>
                <a:gd name="T34" fmla="*/ 213 w 585"/>
                <a:gd name="T35" fmla="*/ 369 h 397"/>
                <a:gd name="T36" fmla="*/ 217 w 585"/>
                <a:gd name="T37" fmla="*/ 377 h 397"/>
                <a:gd name="T38" fmla="*/ 223 w 585"/>
                <a:gd name="T39" fmla="*/ 385 h 397"/>
                <a:gd name="T40" fmla="*/ 230 w 585"/>
                <a:gd name="T41" fmla="*/ 389 h 397"/>
                <a:gd name="T42" fmla="*/ 237 w 585"/>
                <a:gd name="T43" fmla="*/ 394 h 397"/>
                <a:gd name="T44" fmla="*/ 245 w 585"/>
                <a:gd name="T45" fmla="*/ 397 h 397"/>
                <a:gd name="T46" fmla="*/ 254 w 585"/>
                <a:gd name="T47" fmla="*/ 397 h 397"/>
                <a:gd name="T48" fmla="*/ 326 w 585"/>
                <a:gd name="T49" fmla="*/ 397 h 397"/>
                <a:gd name="T50" fmla="*/ 326 w 585"/>
                <a:gd name="T51" fmla="*/ 397 h 397"/>
                <a:gd name="T52" fmla="*/ 335 w 585"/>
                <a:gd name="T53" fmla="*/ 397 h 397"/>
                <a:gd name="T54" fmla="*/ 344 w 585"/>
                <a:gd name="T55" fmla="*/ 394 h 397"/>
                <a:gd name="T56" fmla="*/ 352 w 585"/>
                <a:gd name="T57" fmla="*/ 389 h 397"/>
                <a:gd name="T58" fmla="*/ 358 w 585"/>
                <a:gd name="T59" fmla="*/ 385 h 397"/>
                <a:gd name="T60" fmla="*/ 365 w 585"/>
                <a:gd name="T61" fmla="*/ 377 h 397"/>
                <a:gd name="T62" fmla="*/ 369 w 585"/>
                <a:gd name="T63" fmla="*/ 369 h 397"/>
                <a:gd name="T64" fmla="*/ 371 w 585"/>
                <a:gd name="T65" fmla="*/ 362 h 397"/>
                <a:gd name="T66" fmla="*/ 372 w 585"/>
                <a:gd name="T67" fmla="*/ 352 h 397"/>
                <a:gd name="T68" fmla="*/ 372 w 585"/>
                <a:gd name="T69" fmla="*/ 281 h 397"/>
                <a:gd name="T70" fmla="*/ 372 w 585"/>
                <a:gd name="T71" fmla="*/ 281 h 397"/>
                <a:gd name="T72" fmla="*/ 371 w 585"/>
                <a:gd name="T73" fmla="*/ 272 h 397"/>
                <a:gd name="T74" fmla="*/ 369 w 585"/>
                <a:gd name="T75" fmla="*/ 262 h 397"/>
                <a:gd name="T76" fmla="*/ 571 w 585"/>
                <a:gd name="T77" fmla="*/ 59 h 397"/>
                <a:gd name="T78" fmla="*/ 571 w 585"/>
                <a:gd name="T79" fmla="*/ 59 h 397"/>
                <a:gd name="T80" fmla="*/ 577 w 585"/>
                <a:gd name="T81" fmla="*/ 53 h 397"/>
                <a:gd name="T82" fmla="*/ 580 w 585"/>
                <a:gd name="T83" fmla="*/ 45 h 397"/>
                <a:gd name="T84" fmla="*/ 583 w 585"/>
                <a:gd name="T85" fmla="*/ 39 h 397"/>
                <a:gd name="T86" fmla="*/ 585 w 585"/>
                <a:gd name="T87" fmla="*/ 31 h 397"/>
                <a:gd name="T88" fmla="*/ 585 w 585"/>
                <a:gd name="T89" fmla="*/ 22 h 397"/>
                <a:gd name="T90" fmla="*/ 583 w 585"/>
                <a:gd name="T91" fmla="*/ 14 h 397"/>
                <a:gd name="T92" fmla="*/ 580 w 585"/>
                <a:gd name="T93" fmla="*/ 8 h 397"/>
                <a:gd name="T94" fmla="*/ 576 w 585"/>
                <a:gd name="T95" fmla="*/ 0 h 397"/>
                <a:gd name="T96" fmla="*/ 8 w 585"/>
                <a:gd name="T9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397">
                  <a:moveTo>
                    <a:pt x="8" y="0"/>
                  </a:moveTo>
                  <a:lnTo>
                    <a:pt x="8" y="0"/>
                  </a:lnTo>
                  <a:lnTo>
                    <a:pt x="5" y="8"/>
                  </a:lnTo>
                  <a:lnTo>
                    <a:pt x="2" y="14"/>
                  </a:lnTo>
                  <a:lnTo>
                    <a:pt x="0" y="22"/>
                  </a:lnTo>
                  <a:lnTo>
                    <a:pt x="0" y="31"/>
                  </a:lnTo>
                  <a:lnTo>
                    <a:pt x="2" y="39"/>
                  </a:lnTo>
                  <a:lnTo>
                    <a:pt x="3" y="45"/>
                  </a:lnTo>
                  <a:lnTo>
                    <a:pt x="8" y="53"/>
                  </a:lnTo>
                  <a:lnTo>
                    <a:pt x="12" y="59"/>
                  </a:lnTo>
                  <a:lnTo>
                    <a:pt x="214" y="261"/>
                  </a:lnTo>
                  <a:lnTo>
                    <a:pt x="214" y="261"/>
                  </a:lnTo>
                  <a:lnTo>
                    <a:pt x="211" y="270"/>
                  </a:lnTo>
                  <a:lnTo>
                    <a:pt x="209" y="281"/>
                  </a:lnTo>
                  <a:lnTo>
                    <a:pt x="209" y="352"/>
                  </a:lnTo>
                  <a:lnTo>
                    <a:pt x="209" y="352"/>
                  </a:lnTo>
                  <a:lnTo>
                    <a:pt x="209" y="362"/>
                  </a:lnTo>
                  <a:lnTo>
                    <a:pt x="213" y="369"/>
                  </a:lnTo>
                  <a:lnTo>
                    <a:pt x="217" y="377"/>
                  </a:lnTo>
                  <a:lnTo>
                    <a:pt x="223" y="385"/>
                  </a:lnTo>
                  <a:lnTo>
                    <a:pt x="230" y="389"/>
                  </a:lnTo>
                  <a:lnTo>
                    <a:pt x="237" y="394"/>
                  </a:lnTo>
                  <a:lnTo>
                    <a:pt x="245" y="397"/>
                  </a:lnTo>
                  <a:lnTo>
                    <a:pt x="254" y="397"/>
                  </a:lnTo>
                  <a:lnTo>
                    <a:pt x="326" y="397"/>
                  </a:lnTo>
                  <a:lnTo>
                    <a:pt x="326" y="397"/>
                  </a:lnTo>
                  <a:lnTo>
                    <a:pt x="335" y="397"/>
                  </a:lnTo>
                  <a:lnTo>
                    <a:pt x="344" y="394"/>
                  </a:lnTo>
                  <a:lnTo>
                    <a:pt x="352" y="389"/>
                  </a:lnTo>
                  <a:lnTo>
                    <a:pt x="358" y="385"/>
                  </a:lnTo>
                  <a:lnTo>
                    <a:pt x="365" y="377"/>
                  </a:lnTo>
                  <a:lnTo>
                    <a:pt x="369" y="369"/>
                  </a:lnTo>
                  <a:lnTo>
                    <a:pt x="371" y="362"/>
                  </a:lnTo>
                  <a:lnTo>
                    <a:pt x="372" y="352"/>
                  </a:lnTo>
                  <a:lnTo>
                    <a:pt x="372" y="281"/>
                  </a:lnTo>
                  <a:lnTo>
                    <a:pt x="372" y="281"/>
                  </a:lnTo>
                  <a:lnTo>
                    <a:pt x="371" y="272"/>
                  </a:lnTo>
                  <a:lnTo>
                    <a:pt x="369" y="262"/>
                  </a:lnTo>
                  <a:lnTo>
                    <a:pt x="571" y="59"/>
                  </a:lnTo>
                  <a:lnTo>
                    <a:pt x="571" y="59"/>
                  </a:lnTo>
                  <a:lnTo>
                    <a:pt x="577" y="53"/>
                  </a:lnTo>
                  <a:lnTo>
                    <a:pt x="580" y="45"/>
                  </a:lnTo>
                  <a:lnTo>
                    <a:pt x="583" y="39"/>
                  </a:lnTo>
                  <a:lnTo>
                    <a:pt x="585" y="31"/>
                  </a:lnTo>
                  <a:lnTo>
                    <a:pt x="585" y="22"/>
                  </a:lnTo>
                  <a:lnTo>
                    <a:pt x="583" y="14"/>
                  </a:lnTo>
                  <a:lnTo>
                    <a:pt x="580" y="8"/>
                  </a:lnTo>
                  <a:lnTo>
                    <a:pt x="57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CiscoSansTT 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/>
        </p:nvSpPr>
        <p:spPr bwMode="white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264" tIns="45633" rIns="91264" bIns="45633" anchor="ctr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1791" y="3282704"/>
            <a:ext cx="6283409" cy="1022351"/>
          </a:xfrm>
        </p:spPr>
        <p:txBody>
          <a:bodyPr vert="horz" lIns="82120" tIns="45633" rIns="82120" bIns="45633" rtlCol="0" anchor="b" anchorCtr="0">
            <a:noAutofit/>
          </a:bodyPr>
          <a:lstStyle>
            <a:lvl1pPr marL="0" indent="0" algn="l" defTabSz="91272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accent1"/>
                    </a:gs>
                    <a:gs pos="77000">
                      <a:srgbClr val="01BBBB"/>
                    </a:gs>
                    <a:gs pos="100000">
                      <a:schemeClr val="accent6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Demo Title</a:t>
            </a:r>
            <a:endParaRPr lang="en-US" dirty="0"/>
          </a:p>
        </p:txBody>
      </p:sp>
      <p:sp>
        <p:nvSpPr>
          <p:cNvPr id="49" name="Rectangle 3"/>
          <p:cNvSpPr>
            <a:spLocks noChangeArrowheads="1"/>
          </p:cNvSpPr>
          <p:nvPr/>
        </p:nvSpPr>
        <p:spPr bwMode="hidden">
          <a:xfrm>
            <a:off x="1" y="0"/>
            <a:ext cx="12192000" cy="17780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91264" tIns="45633" rIns="91264" bIns="45633" anchor="ctr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 hasCustomPrompt="1"/>
          </p:nvPr>
        </p:nvSpPr>
        <p:spPr>
          <a:xfrm>
            <a:off x="7387226" y="1917702"/>
            <a:ext cx="3568700" cy="2889251"/>
          </a:xfrm>
          <a:prstGeom prst="rect">
            <a:avLst/>
          </a:prstGeom>
        </p:spPr>
        <p:txBody>
          <a:bodyPr lIns="121669" tIns="60835" rIns="121669" bIns="60835" anchor="ctr" anchorCtr="1"/>
          <a:lstStyle>
            <a:lvl1pPr marL="0" indent="0" algn="ctr">
              <a:buNone/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Insert photo her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1" grpId="0"/>
    </p:bldLst>
  </p:timing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21589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7276" y="1666619"/>
            <a:ext cx="5559510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04231" indent="-22815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404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54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471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2852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187991" y="1666619"/>
            <a:ext cx="5559510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04231" indent="-22815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8404" indent="-287300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4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836546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1064719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292852" indent="-22815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 userDrawn="1"/>
        </p:nvSpPr>
        <p:spPr>
          <a:xfrm>
            <a:off x="6857471" y="1639738"/>
            <a:ext cx="4830949" cy="4408475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69" tIns="60835" rIns="121669" bIns="60835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6961632" y="1747743"/>
            <a:ext cx="4315968" cy="2440001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114119" indent="-114119" algn="l" defTabSz="91269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2000" kern="1200" dirty="0" smtClean="0">
                <a:gradFill>
                  <a:gsLst>
                    <a:gs pos="0">
                      <a:srgbClr val="272749"/>
                    </a:gs>
                    <a:gs pos="27000">
                      <a:srgbClr val="272749"/>
                    </a:gs>
                    <a:gs pos="100000">
                      <a:srgbClr val="B8E1D0"/>
                    </a:gs>
                    <a:gs pos="83000">
                      <a:srgbClr val="39BBB9"/>
                    </a:gs>
                  </a:gsLst>
                  <a:lin ang="3600000" scaled="0"/>
                </a:gradFill>
                <a:latin typeface="+mn-lt"/>
                <a:ea typeface="+mn-ea"/>
                <a:cs typeface="CiscoSans ExtraLight"/>
              </a:defRPr>
            </a:lvl1pPr>
            <a:lvl2pPr marL="114119" indent="-114119" algn="l" defTabSz="91269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114119" indent="-114119" algn="l" defTabSz="91269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114119" indent="-114119" algn="l" defTabSz="91269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114119" indent="-114119" algn="l" defTabSz="912690" rtl="0" eaLnBrk="1" latinLnBrk="0" hangingPunct="1">
              <a:defRPr lang="en-US" sz="20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“This is the sample pull quote.”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066398" y="4736592"/>
            <a:ext cx="4434761" cy="338328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6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 smtClean="0"/>
              <a:t>Source Nam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46375" y="403229"/>
            <a:ext cx="8405820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ull Quot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7276" y="1666619"/>
            <a:ext cx="5559510" cy="4354712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10578" indent="-228159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06289" indent="-253497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9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Tx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r>
              <a:rPr lang="en-US" dirty="0" smtClean="0"/>
              <a:t>This is an example of a bullet</a:t>
            </a:r>
            <a:br>
              <a:rPr lang="en-US" dirty="0" smtClean="0"/>
            </a:br>
            <a:r>
              <a:rPr lang="en-US" dirty="0" smtClean="0"/>
              <a:t>slide with a pull quote</a:t>
            </a:r>
          </a:p>
          <a:p>
            <a:pPr lvl="1"/>
            <a:r>
              <a:rPr lang="en-US" dirty="0" smtClean="0"/>
              <a:t>This is where all the second level </a:t>
            </a:r>
            <a:br>
              <a:rPr lang="en-US" dirty="0" smtClean="0"/>
            </a:br>
            <a:r>
              <a:rPr lang="en-US" dirty="0" smtClean="0"/>
              <a:t>information goes</a:t>
            </a:r>
          </a:p>
          <a:p>
            <a:pPr lvl="1"/>
            <a:r>
              <a:rPr lang="en-US" dirty="0" smtClean="0"/>
              <a:t>This is another bullet point</a:t>
            </a:r>
          </a:p>
          <a:p>
            <a:r>
              <a:rPr lang="en-US" dirty="0" smtClean="0"/>
              <a:t>First level bullets are 16 points</a:t>
            </a:r>
            <a:br>
              <a:rPr lang="en-US" dirty="0" smtClean="0"/>
            </a:br>
            <a:r>
              <a:rPr lang="en-US" dirty="0" smtClean="0"/>
              <a:t>and use a bullet point</a:t>
            </a:r>
          </a:p>
          <a:p>
            <a:pPr lvl="1"/>
            <a:r>
              <a:rPr lang="en-US" dirty="0" smtClean="0"/>
              <a:t>Second level bullets are 14 points in size</a:t>
            </a:r>
          </a:p>
          <a:p>
            <a:pPr lvl="1"/>
            <a:r>
              <a:rPr lang="en-US" dirty="0" smtClean="0"/>
              <a:t>It’s important to keep consistency 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048" y="403341"/>
            <a:ext cx="5340096" cy="838200"/>
          </a:xfrm>
          <a:prstGeom prst="rect">
            <a:avLst/>
          </a:prstGeom>
        </p:spPr>
        <p:txBody>
          <a:bodyPr vert="horz" lIns="82116" tIns="45631" rIns="82116" bIns="45631" rtlCol="0" anchor="t" anchorCtr="0">
            <a:noAutofit/>
          </a:bodyPr>
          <a:lstStyle>
            <a:lvl1pPr algn="l" defTabSz="91269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300" b="0" i="0" kern="1200" spc="-100" baseline="0" dirty="0" smtClean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Left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335386" y="1600200"/>
            <a:ext cx="5340096" cy="4526280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3801" indent="-2281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 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</a:t>
            </a:r>
          </a:p>
          <a:p>
            <a:pPr lvl="0"/>
            <a:r>
              <a:rPr lang="en-US" dirty="0" smtClean="0"/>
              <a:t>Use Cisco highlight color, bold, or both when emphasizing words, </a:t>
            </a:r>
            <a:br>
              <a:rPr lang="en-US" dirty="0" smtClean="0"/>
            </a:br>
            <a:r>
              <a:rPr lang="en-US" dirty="0" smtClean="0"/>
              <a:t>do not italicize; use yellow on the </a:t>
            </a:r>
            <a:br>
              <a:rPr lang="en-US" dirty="0" smtClean="0"/>
            </a:br>
            <a:r>
              <a:rPr lang="en-US" dirty="0" smtClean="0"/>
              <a:t>black template and red for the white templat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6425185" y="1600200"/>
            <a:ext cx="5340096" cy="4526280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0" indent="0">
              <a:buClr>
                <a:schemeClr val="tx2"/>
              </a:buClr>
              <a:buSzPct val="80000"/>
              <a:buFont typeface="Wingdings" panose="05000000000000000000" pitchFamily="2" charset="2"/>
              <a:buNone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633801" indent="-22818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</a:lstStyle>
          <a:p>
            <a:pPr lvl="0"/>
            <a:r>
              <a:rPr lang="en-US" dirty="0" smtClean="0"/>
              <a:t>Body copy uses sentence capital letters only, size 16, left aligned</a:t>
            </a:r>
          </a:p>
          <a:p>
            <a:pPr lvl="1"/>
            <a:r>
              <a:rPr lang="en-US" dirty="0" smtClean="0"/>
              <a:t>Sub-bullets are size 14</a:t>
            </a:r>
            <a:br>
              <a:rPr lang="en-US" dirty="0" smtClean="0"/>
            </a:br>
            <a:r>
              <a:rPr lang="en-US" dirty="0" smtClean="0"/>
              <a:t>and indented</a:t>
            </a:r>
          </a:p>
          <a:p>
            <a:pPr lvl="1"/>
            <a:r>
              <a:rPr lang="en-US" dirty="0" smtClean="0"/>
              <a:t>Hyperlink: www.cisco.com  </a:t>
            </a:r>
          </a:p>
          <a:p>
            <a:pPr lvl="0"/>
            <a:r>
              <a:rPr lang="en-US" dirty="0" smtClean="0"/>
              <a:t>Use Cisco highlight color, bold, or both when emphasizing words, do not italicize; use yellow on the black template and red for the white templat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429906" y="403341"/>
            <a:ext cx="5340096" cy="841248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0" marR="0" indent="0" algn="l" defTabSz="9126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300" b="0" i="0" kern="1200" spc="-100" baseline="0" dirty="0">
                <a:solidFill>
                  <a:srgbClr val="00A2BF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marL="0" marR="0" lvl="0" indent="0" algn="l" defTabSz="91269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wo Column</a:t>
            </a:r>
            <a:br>
              <a:rPr lang="en-US" dirty="0" smtClean="0"/>
            </a:br>
            <a:r>
              <a:rPr lang="en-US" dirty="0" smtClean="0"/>
              <a:t>Title Right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34100" y="812859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5"/>
          <p:cNvSpPr>
            <a:spLocks noChangeArrowheads="1"/>
          </p:cNvSpPr>
          <p:nvPr userDrawn="1"/>
        </p:nvSpPr>
        <p:spPr bwMode="ltGray">
          <a:xfrm>
            <a:off x="10495821" y="6675004"/>
            <a:ext cx="938380" cy="20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Cisco Confidential</a:t>
            </a:r>
          </a:p>
        </p:txBody>
      </p:sp>
      <p:sp>
        <p:nvSpPr>
          <p:cNvPr id="23" name="Rectangle 7"/>
          <p:cNvSpPr>
            <a:spLocks noChangeArrowheads="1"/>
          </p:cNvSpPr>
          <p:nvPr userDrawn="1"/>
        </p:nvSpPr>
        <p:spPr bwMode="ltGray">
          <a:xfrm>
            <a:off x="11554131" y="6670712"/>
            <a:ext cx="287695" cy="206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pPr algn="r" defTabSz="8128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  <p:sp>
        <p:nvSpPr>
          <p:cNvPr id="24" name="Rectangle 4"/>
          <p:cNvSpPr>
            <a:spLocks noChangeArrowheads="1"/>
          </p:cNvSpPr>
          <p:nvPr userDrawn="1"/>
        </p:nvSpPr>
        <p:spPr bwMode="ltGray">
          <a:xfrm>
            <a:off x="389449" y="6676549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44" tIns="40971" rIns="81944" bIns="40971" anchor="b" anchorCtr="0">
            <a:spAutoFit/>
          </a:bodyPr>
          <a:lstStyle/>
          <a:p>
            <a:pPr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6323" y="404085"/>
            <a:ext cx="8453128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New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38353" y="1918764"/>
            <a:ext cx="5489928" cy="3020519"/>
          </a:xfrm>
        </p:spPr>
        <p:txBody>
          <a:bodyPr vert="horz" lIns="82120" tIns="45633" rIns="82120" bIns="45633" rtlCol="0" anchor="ctr" anchorCtr="0">
            <a:noAutofit/>
          </a:bodyPr>
          <a:lstStyle>
            <a:lvl1pPr marL="0" indent="0" algn="l" defTabSz="91272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000" b="0" kern="1200" spc="0" baseline="0" dirty="0">
                <a:gradFill>
                  <a:gsLst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elling Shared Experiences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563360" y="872691"/>
            <a:ext cx="5193792" cy="5120640"/>
          </a:xfrm>
          <a:prstGeom prst="rect">
            <a:avLst/>
          </a:prstGeom>
        </p:spPr>
        <p:txBody>
          <a:bodyPr lIns="121669" tIns="60835" rIns="121669" bIns="60835" anchor="ctr" anchorCtr="0">
            <a:noAutofit/>
          </a:bodyPr>
          <a:lstStyle>
            <a:lvl1pPr marL="0" indent="0">
              <a:buFontTx/>
              <a:buNone/>
              <a:defRPr sz="2100" baseline="0">
                <a:solidFill>
                  <a:schemeClr val="tx2"/>
                </a:solidFill>
                <a:latin typeface="+mn-lt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Tell your story her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134100" y="812859"/>
            <a:ext cx="0" cy="5313679"/>
          </a:xfrm>
          <a:prstGeom prst="line">
            <a:avLst/>
          </a:prstGeom>
          <a:ln w="38100" cap="flat" cmpd="sng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73121" y="1254339"/>
            <a:ext cx="10891026" cy="3838231"/>
          </a:xfrm>
          <a:prstGeom prst="rect">
            <a:avLst/>
          </a:prstGeom>
        </p:spPr>
        <p:txBody>
          <a:bodyPr>
            <a:noAutofit/>
          </a:bodyPr>
          <a:lstStyle>
            <a:lvl1pPr marL="536566" indent="-536566" algn="l">
              <a:lnSpc>
                <a:spcPct val="90000"/>
              </a:lnSpc>
              <a:defRPr sz="8000" b="0" i="1" spc="0" baseline="0">
                <a:gradFill flip="none" rotWithShape="1">
                  <a:gsLst>
                    <a:gs pos="0">
                      <a:srgbClr val="272749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“Quote goes here.”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965351" y="5820244"/>
            <a:ext cx="9948334" cy="276999"/>
          </a:xfrm>
          <a:prstGeom prst="rect">
            <a:avLst/>
          </a:prstGeom>
        </p:spPr>
        <p:txBody>
          <a:bodyPr wrap="square" lIns="121669" tIns="60835" rIns="121669" bIns="60835" anchor="b" anchorCtr="0">
            <a:noAutofit/>
          </a:bodyPr>
          <a:lstStyle>
            <a:lvl1pPr marL="0" indent="0" algn="l" defTabSz="803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1254339"/>
            <a:ext cx="11068958" cy="3838231"/>
          </a:xfrm>
          <a:prstGeom prst="rect">
            <a:avLst/>
          </a:prstGeom>
        </p:spPr>
        <p:txBody>
          <a:bodyPr anchor="t" anchorCtr="1">
            <a:noAutofit/>
          </a:bodyPr>
          <a:lstStyle>
            <a:lvl1pPr algn="ctr">
              <a:lnSpc>
                <a:spcPct val="90000"/>
              </a:lnSpc>
              <a:defRPr sz="30700" b="0" i="1" spc="0" baseline="0">
                <a:gradFill flip="none" rotWithShape="1">
                  <a:gsLst>
                    <a:gs pos="0">
                      <a:schemeClr val="tx2"/>
                    </a:gs>
                    <a:gs pos="100000">
                      <a:srgbClr val="39BBB9"/>
                    </a:gs>
                    <a:gs pos="84000">
                      <a:srgbClr val="39BBB9"/>
                    </a:gs>
                    <a:gs pos="29000">
                      <a:srgbClr val="272749"/>
                    </a:gs>
                  </a:gsLst>
                  <a:lin ang="0" scaled="1"/>
                  <a:tileRect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70%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3" y="5820244"/>
            <a:ext cx="9948334" cy="276999"/>
          </a:xfrm>
          <a:prstGeom prst="rect">
            <a:avLst/>
          </a:prstGeom>
        </p:spPr>
        <p:txBody>
          <a:bodyPr wrap="square" lIns="121669" tIns="60835" rIns="121669" bIns="60835" anchor="b" anchorCtr="0">
            <a:noAutofit/>
          </a:bodyPr>
          <a:lstStyle>
            <a:lvl1pPr marL="0" indent="0" algn="l" defTabSz="803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687" y="1128221"/>
            <a:ext cx="4566652" cy="856247"/>
          </a:xfrm>
          <a:prstGeom prst="rect">
            <a:avLst/>
          </a:prstGeom>
        </p:spPr>
      </p:pic>
      <p:sp>
        <p:nvSpPr>
          <p:cNvPr id="14" name="Footer Placeholder 4"/>
          <p:cNvSpPr txBox="1">
            <a:spLocks/>
          </p:cNvSpPr>
          <p:nvPr userDrawn="1"/>
        </p:nvSpPr>
        <p:spPr>
          <a:xfrm>
            <a:off x="209551" y="6667503"/>
            <a:ext cx="229362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bg1">
                    <a:lumMod val="50000"/>
                  </a:schemeClr>
                </a:solidFill>
                <a:latin typeface="CiscoSans ExtraLight" panose="020B03030202010203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is-I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en-US" dirty="0" smtClean="0">
                <a:solidFill>
                  <a:srgbClr val="11111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sco and/or its affiliates. All rights reserved.</a:t>
            </a:r>
            <a:endParaRPr lang="en-US" dirty="0">
              <a:solidFill>
                <a:srgbClr val="11111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696473" y="6667503"/>
            <a:ext cx="2286000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2829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27274" y="940738"/>
            <a:ext cx="11068958" cy="3248691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ct val="90000"/>
              </a:lnSpc>
              <a:defRPr sz="6000" b="0" i="0" spc="0" baseline="0">
                <a:gradFill>
                  <a:gsLst>
                    <a:gs pos="29000">
                      <a:srgbClr val="233754"/>
                    </a:gs>
                    <a:gs pos="0">
                      <a:schemeClr val="tx2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tatement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5491" y="404085"/>
            <a:ext cx="845396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8664" y="1600255"/>
            <a:ext cx="11546635" cy="4525433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380245" marR="0" indent="-380245" algn="ctr" defTabSz="6084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marL="0" marR="0" lvl="0" indent="0" algn="l" defTabSz="60840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077" y="403229"/>
            <a:ext cx="842183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Table Title Goes Here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2" hasCustomPrompt="1"/>
          </p:nvPr>
        </p:nvSpPr>
        <p:spPr>
          <a:xfrm>
            <a:off x="493184" y="1583270"/>
            <a:ext cx="11267016" cy="4057651"/>
          </a:xfrm>
          <a:prstGeom prst="rect">
            <a:avLst/>
          </a:prstGeom>
        </p:spPr>
        <p:txBody>
          <a:bodyPr lIns="121669" tIns="60835" rIns="121669" bIns="60835">
            <a:noAutofit/>
          </a:bodyPr>
          <a:lstStyle>
            <a:lvl1pPr marL="0" indent="0" algn="ctr">
              <a:buNone/>
              <a:defRPr sz="270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Table</a:t>
            </a:r>
            <a:endParaRPr lang="en-GB" dirty="0"/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32623" y="5820244"/>
            <a:ext cx="9948334" cy="276999"/>
          </a:xfrm>
          <a:prstGeom prst="rect">
            <a:avLst/>
          </a:prstGeom>
        </p:spPr>
        <p:txBody>
          <a:bodyPr wrap="square" lIns="121669" tIns="60835" rIns="121669" bIns="60835" anchor="b" anchorCtr="0">
            <a:noAutofit/>
          </a:bodyPr>
          <a:lstStyle>
            <a:lvl1pPr algn="l" defTabSz="803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7639" y="5820244"/>
            <a:ext cx="9948334" cy="276999"/>
          </a:xfrm>
          <a:prstGeom prst="rect">
            <a:avLst/>
          </a:prstGeom>
        </p:spPr>
        <p:txBody>
          <a:bodyPr wrap="square" lIns="121669" tIns="60835" rIns="121669" bIns="60835" anchor="b" anchorCtr="0">
            <a:noAutofit/>
          </a:bodyPr>
          <a:lstStyle>
            <a:lvl1pPr algn="l" defTabSz="803359">
              <a:lnSpc>
                <a:spcPct val="100000"/>
              </a:lnSpc>
              <a:spcBef>
                <a:spcPct val="50000"/>
              </a:spcBef>
              <a:buNone/>
              <a:defRPr sz="21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r>
              <a:rPr lang="en-US" dirty="0" smtClean="0"/>
              <a:t>Source information is set at 16 points.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46134" y="403229"/>
            <a:ext cx="839029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Chart Title Goes Here</a:t>
            </a:r>
            <a:endParaRPr lang="en-US" dirty="0"/>
          </a:p>
        </p:txBody>
      </p:sp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93184" y="1583270"/>
            <a:ext cx="11267016" cy="4057651"/>
          </a:xfrm>
          <a:prstGeom prst="rect">
            <a:avLst/>
          </a:prstGeom>
        </p:spPr>
        <p:txBody>
          <a:bodyPr vert="horz" lIns="121669" tIns="60835" rIns="121669" bIns="60835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6130" y="403229"/>
            <a:ext cx="8453374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669" tIns="60835" rIns="121669" bIns="6083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 hasCustomPrompt="1"/>
          </p:nvPr>
        </p:nvSpPr>
        <p:spPr>
          <a:xfrm>
            <a:off x="6381478" y="1559096"/>
            <a:ext cx="5355167" cy="4292600"/>
          </a:xfrm>
          <a:prstGeom prst="rect">
            <a:avLst/>
          </a:prstGeom>
        </p:spPr>
        <p:txBody>
          <a:bodyPr vert="horz" lIns="121669" tIns="60835" rIns="121669" bIns="60835">
            <a:noAutofit/>
          </a:bodyPr>
          <a:lstStyle>
            <a:lvl1pPr marL="0" indent="0" algn="ctr">
              <a:buNone/>
              <a:defRPr sz="27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Chart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/>
    </p:bldLst>
  </p:timing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44620" y="404085"/>
            <a:ext cx="8391752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340473" y="1559096"/>
            <a:ext cx="5687483" cy="4294544"/>
          </a:xfrm>
          <a:prstGeom prst="rect">
            <a:avLst/>
          </a:prstGeom>
        </p:spPr>
        <p:txBody>
          <a:bodyPr lIns="121669" tIns="60835" rIns="121669" bIns="60835" anchor="ctr" anchorCtr="0">
            <a:no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Simple text goes here and can wrap to accommodate more lines of information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6383088" y="1559096"/>
            <a:ext cx="5353556" cy="4295015"/>
          </a:xfrm>
          <a:prstGeom prst="rect">
            <a:avLst/>
          </a:prstGeom>
        </p:spPr>
        <p:txBody>
          <a:bodyPr vert="horz" lIns="121669" tIns="60835" rIns="121669" bIns="60835">
            <a:noAutofit/>
          </a:bodyPr>
          <a:lstStyle>
            <a:lvl1pPr marL="0" indent="0" algn="ctr">
              <a:buNone/>
              <a:defRPr sz="2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/>
    </p:bldLst>
  </p:timing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465" y="0"/>
            <a:ext cx="12192000" cy="6858000"/>
          </a:xfrm>
          <a:prstGeom prst="rect">
            <a:avLst/>
          </a:prstGeom>
        </p:spPr>
        <p:txBody>
          <a:bodyPr vert="horz" lIns="121669" tIns="60835" rIns="121669" bIns="6083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735" y="320842"/>
            <a:ext cx="11262708" cy="5877827"/>
          </a:xfrm>
          <a:prstGeom prst="rect">
            <a:avLst/>
          </a:prstGeom>
        </p:spPr>
        <p:txBody>
          <a:bodyPr vert="horz" lIns="121669" tIns="60835" rIns="121669" bIns="60835"/>
          <a:lstStyle>
            <a:lvl1pPr marL="0" indent="0" algn="ctr">
              <a:buNone/>
              <a:defRPr sz="2000" baseline="0">
                <a:latin typeface="+mn-lt"/>
                <a:cs typeface="CiscoSans Extra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5"/>
          <p:cNvSpPr>
            <a:spLocks noChangeArrowheads="1"/>
          </p:cNvSpPr>
          <p:nvPr userDrawn="1"/>
        </p:nvSpPr>
        <p:spPr bwMode="ltGray">
          <a:xfrm>
            <a:off x="10495821" y="6423152"/>
            <a:ext cx="938380" cy="20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231F20"/>
                </a:solidFill>
                <a:latin typeface="CiscoSansTT Light"/>
                <a:ea typeface=""/>
                <a:cs typeface="CiscoSans Thin"/>
              </a:rPr>
              <a:t>Cisco Confidential</a:t>
            </a: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11554131" y="6418860"/>
            <a:ext cx="287695" cy="206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ea typeface=""/>
                <a:cs typeface="CiscoSans Thin"/>
              </a:rPr>
              <a:pPr algn="r" defTabSz="8128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ea typeface=""/>
              <a:cs typeface="CiscoSans Thin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389449" y="6424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44" tIns="40971" rIns="81944" bIns="40971" anchor="b" anchorCtr="0">
            <a:spAutoFit/>
          </a:bodyPr>
          <a:lstStyle/>
          <a:p>
            <a:pPr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31F20"/>
                </a:solidFill>
                <a:latin typeface="CiscoSansTT Light"/>
                <a:ea typeface="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231F20"/>
              </a:solidFill>
              <a:latin typeface="CiscoSansTT Light"/>
              <a:ea typeface=""/>
              <a:cs typeface="CiscoSans Thin"/>
            </a:endParaRPr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10495821" y="6675004"/>
            <a:ext cx="938380" cy="20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11554131" y="6670712"/>
            <a:ext cx="287695" cy="206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pPr algn="r" defTabSz="8128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49" y="6676549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44" tIns="40971" rIns="81944" bIns="40971" anchor="b" anchorCtr="0">
            <a:spAutoFit/>
          </a:bodyPr>
          <a:lstStyle/>
          <a:p>
            <a:pPr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_green">
    <p:bg>
      <p:bgPr>
        <a:gradFill>
          <a:gsLst>
            <a:gs pos="0">
              <a:srgbClr val="272749"/>
            </a:gs>
            <a:gs pos="100000">
              <a:srgbClr val="32BEBD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5"/>
          <p:cNvGrpSpPr>
            <a:grpSpLocks/>
          </p:cNvGrpSpPr>
          <p:nvPr userDrawn="1"/>
        </p:nvGrpSpPr>
        <p:grpSpPr bwMode="auto">
          <a:xfrm>
            <a:off x="5263915" y="5451798"/>
            <a:ext cx="1654560" cy="879663"/>
            <a:chOff x="384" y="331"/>
            <a:chExt cx="912" cy="485"/>
          </a:xfrm>
        </p:grpSpPr>
        <p:sp>
          <p:nvSpPr>
            <p:cNvPr id="51" name="AutoShape 6"/>
            <p:cNvSpPr>
              <a:spLocks noChangeAspect="1" noChangeArrowheads="1" noTextEdit="1"/>
            </p:cNvSpPr>
            <p:nvPr/>
          </p:nvSpPr>
          <p:spPr bwMode="invGray">
            <a:xfrm>
              <a:off x="384" y="331"/>
              <a:ext cx="912" cy="4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2" name="Rectangle 7"/>
            <p:cNvSpPr>
              <a:spLocks noChangeArrowheads="1"/>
            </p:cNvSpPr>
            <p:nvPr/>
          </p:nvSpPr>
          <p:spPr bwMode="invGray">
            <a:xfrm>
              <a:off x="640" y="652"/>
              <a:ext cx="42" cy="15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invGray">
            <a:xfrm>
              <a:off x="882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4" name="Freeform 9"/>
            <p:cNvSpPr>
              <a:spLocks/>
            </p:cNvSpPr>
            <p:nvPr/>
          </p:nvSpPr>
          <p:spPr bwMode="invGray">
            <a:xfrm>
              <a:off x="467" y="648"/>
              <a:ext cx="120" cy="166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5" name="Freeform 10"/>
            <p:cNvSpPr>
              <a:spLocks noEditPoints="1"/>
            </p:cNvSpPr>
            <p:nvPr/>
          </p:nvSpPr>
          <p:spPr bwMode="invGray">
            <a:xfrm>
              <a:off x="1046" y="648"/>
              <a:ext cx="165" cy="166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6" name="Freeform 11"/>
            <p:cNvSpPr>
              <a:spLocks/>
            </p:cNvSpPr>
            <p:nvPr/>
          </p:nvSpPr>
          <p:spPr bwMode="invGray">
            <a:xfrm>
              <a:off x="735" y="648"/>
              <a:ext cx="108" cy="166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7" name="Freeform 12"/>
            <p:cNvSpPr>
              <a:spLocks/>
            </p:cNvSpPr>
            <p:nvPr/>
          </p:nvSpPr>
          <p:spPr bwMode="invGray">
            <a:xfrm>
              <a:off x="384" y="462"/>
              <a:ext cx="39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8" name="Freeform 13"/>
            <p:cNvSpPr>
              <a:spLocks/>
            </p:cNvSpPr>
            <p:nvPr/>
          </p:nvSpPr>
          <p:spPr bwMode="invGray">
            <a:xfrm>
              <a:off x="494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invGray">
            <a:xfrm>
              <a:off x="601" y="333"/>
              <a:ext cx="39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invGray">
            <a:xfrm>
              <a:off x="711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invGray">
            <a:xfrm>
              <a:off x="818" y="462"/>
              <a:ext cx="42" cy="8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2" name="Freeform 17"/>
            <p:cNvSpPr>
              <a:spLocks/>
            </p:cNvSpPr>
            <p:nvPr/>
          </p:nvSpPr>
          <p:spPr bwMode="invGray">
            <a:xfrm>
              <a:off x="928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invGray">
            <a:xfrm>
              <a:off x="1037" y="333"/>
              <a:ext cx="40" cy="249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invGray">
            <a:xfrm>
              <a:off x="1145" y="407"/>
              <a:ext cx="39" cy="13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invGray">
            <a:xfrm>
              <a:off x="1254" y="462"/>
              <a:ext cx="40" cy="8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2690" eaLnBrk="0" hangingPunct="0">
                <a:lnSpc>
                  <a:spcPct val="90000"/>
                </a:lnSpc>
                <a:defRPr/>
              </a:pPr>
              <a:endParaRPr lang="en-US" sz="2400" smtClean="0">
                <a:solidFill>
                  <a:srgbClr val="FFFFFF"/>
                </a:solidFill>
                <a:ea typeface=""/>
                <a:cs typeface=""/>
              </a:endParaRPr>
            </a:p>
          </p:txBody>
        </p:sp>
      </p:grpSp>
      <p:pic>
        <p:nvPicPr>
          <p:cNvPr id="18" name="Picture 17" descr="Together w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96328" y="2339843"/>
            <a:ext cx="11265370" cy="1133577"/>
          </a:xfrm>
          <a:prstGeom prst="rect">
            <a:avLst/>
          </a:prstGeom>
          <a:effectLst>
            <a:outerShdw blurRad="12700" dist="25400" dir="2700000">
              <a:srgbClr val="000000">
                <a:alpha val="60000"/>
              </a:srgbClr>
            </a:outerShdw>
          </a:effectLst>
        </p:spPr>
      </p:pic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797051"/>
            <a:ext cx="11036459" cy="422428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374496" indent="-298327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7062" indent="-287743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6550" indent="-228510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4472" indent="-228510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2979" indent="-22427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262511"/>
      </p:ext>
    </p:extLst>
  </p:cSld>
  <p:clrMapOvr>
    <a:masterClrMapping/>
  </p:clrMapOvr>
  <p:transition spd="med">
    <p:fade/>
  </p:transition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bg>
      <p:bgPr>
        <a:gradFill>
          <a:gsLst>
            <a:gs pos="34000">
              <a:srgbClr val="272749"/>
            </a:gs>
            <a:gs pos="93000">
              <a:srgbClr val="EE402F"/>
            </a:gs>
            <a:gs pos="0">
              <a:srgbClr val="272749"/>
            </a:gs>
            <a:gs pos="100000">
              <a:srgbClr val="F3752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192" y="2811836"/>
            <a:ext cx="11068958" cy="859640"/>
          </a:xfrm>
          <a:prstGeom prst="rect">
            <a:avLst/>
          </a:prstGeom>
        </p:spPr>
        <p:txBody>
          <a:bodyPr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Presentation Title Goes Here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6567" y="4828072"/>
            <a:ext cx="10816168" cy="384175"/>
          </a:xfrm>
          <a:prstGeom prst="rect">
            <a:avLst/>
          </a:prstGeom>
        </p:spPr>
        <p:txBody>
          <a:bodyPr lIns="121685" tIns="60843" rIns="121685" bIns="60843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456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8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9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4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eaker Name</a:t>
            </a:r>
            <a:endParaRPr lang="en-US" dirty="0"/>
          </a:p>
        </p:txBody>
      </p:sp>
      <p:sp>
        <p:nvSpPr>
          <p:cNvPr id="25" name="Text Placeholder 38"/>
          <p:cNvSpPr>
            <a:spLocks noGrp="1"/>
          </p:cNvSpPr>
          <p:nvPr>
            <p:ph type="body" sz="quarter" idx="10" hasCustomPrompt="1"/>
          </p:nvPr>
        </p:nvSpPr>
        <p:spPr>
          <a:xfrm>
            <a:off x="335795" y="5164958"/>
            <a:ext cx="10816867" cy="384175"/>
          </a:xfrm>
          <a:prstGeom prst="rect">
            <a:avLst/>
          </a:prstGeom>
        </p:spPr>
        <p:txBody>
          <a:bodyPr lIns="121685" tIns="60843" rIns="121685" bIns="6084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Speaker Title</a:t>
            </a:r>
            <a:endParaRPr lang="en-US" dirty="0"/>
          </a:p>
        </p:txBody>
      </p:sp>
      <p:sp>
        <p:nvSpPr>
          <p:cNvPr id="26" name="Text Placeholder 40"/>
          <p:cNvSpPr>
            <a:spLocks noGrp="1"/>
          </p:cNvSpPr>
          <p:nvPr>
            <p:ph type="body" sz="quarter" idx="11" hasCustomPrompt="1"/>
          </p:nvPr>
        </p:nvSpPr>
        <p:spPr>
          <a:xfrm>
            <a:off x="335795" y="5938279"/>
            <a:ext cx="10816867" cy="384175"/>
          </a:xfrm>
          <a:prstGeom prst="rect">
            <a:avLst/>
          </a:prstGeom>
        </p:spPr>
        <p:txBody>
          <a:bodyPr lIns="121685" tIns="60843" rIns="121685" bIns="60843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36762" y="3496671"/>
            <a:ext cx="11070167" cy="398668"/>
          </a:xfrm>
          <a:prstGeom prst="rect">
            <a:avLst/>
          </a:prstGeom>
        </p:spPr>
        <p:txBody>
          <a:bodyPr lIns="121685" tIns="60843" rIns="121685" bIns="60843"/>
          <a:lstStyle>
            <a:lvl1pPr marL="0" indent="0">
              <a:buFont typeface="Arial" panose="020B0604020202020204" pitchFamily="34" charset="0"/>
              <a:buNone/>
              <a:defRPr sz="2400" baseline="0">
                <a:solidFill>
                  <a:schemeClr val="bg1"/>
                </a:solidFill>
                <a:latin typeface="+mj-lt"/>
              </a:defRPr>
            </a:lvl1pPr>
            <a:lvl2pPr marL="405744" indent="0">
              <a:buNone/>
              <a:defRPr/>
            </a:lvl2pPr>
            <a:lvl3pPr marL="568928" indent="0">
              <a:buNone/>
              <a:defRPr/>
            </a:lvl3pPr>
            <a:lvl4pPr marL="687825" indent="0">
              <a:buNone/>
              <a:defRPr/>
            </a:lvl4pPr>
            <a:lvl5pPr marL="800321" indent="0">
              <a:buNone/>
              <a:defRPr/>
            </a:lvl5pPr>
          </a:lstStyle>
          <a:p>
            <a:pPr lvl="0"/>
            <a:r>
              <a:rPr lang="en-GB" dirty="0" smtClean="0"/>
              <a:t>Subhead goes here</a:t>
            </a:r>
            <a:endParaRPr lang="en-GB" dirty="0"/>
          </a:p>
        </p:txBody>
      </p:sp>
      <p:grpSp>
        <p:nvGrpSpPr>
          <p:cNvPr id="28" name="Group 67"/>
          <p:cNvGrpSpPr/>
          <p:nvPr userDrawn="1"/>
        </p:nvGrpSpPr>
        <p:grpSpPr>
          <a:xfrm>
            <a:off x="380270" y="410502"/>
            <a:ext cx="1150319" cy="613107"/>
            <a:chOff x="609606" y="528528"/>
            <a:chExt cx="1444732" cy="763787"/>
          </a:xfrm>
          <a:solidFill>
            <a:schemeClr val="bg1"/>
          </a:solidFill>
        </p:grpSpPr>
        <p:sp>
          <p:nvSpPr>
            <p:cNvPr id="32" name="Rectangle 31"/>
            <p:cNvSpPr>
              <a:spLocks noChangeArrowheads="1"/>
            </p:cNvSpPr>
            <p:nvPr/>
          </p:nvSpPr>
          <p:spPr bwMode="black">
            <a:xfrm>
              <a:off x="1016583" y="1035671"/>
              <a:ext cx="65914" cy="24972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black">
            <a:xfrm>
              <a:off x="1400565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black">
            <a:xfrm>
              <a:off x="740666" y="1028755"/>
              <a:ext cx="190842" cy="26356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7" name="Freeform 46"/>
            <p:cNvSpPr>
              <a:spLocks noEditPoints="1"/>
            </p:cNvSpPr>
            <p:nvPr/>
          </p:nvSpPr>
          <p:spPr bwMode="black">
            <a:xfrm>
              <a:off x="1660386" y="1028755"/>
              <a:ext cx="262121" cy="26356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black">
            <a:xfrm>
              <a:off x="1167569" y="1028755"/>
              <a:ext cx="170915" cy="26356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black">
            <a:xfrm>
              <a:off x="609606" y="732922"/>
              <a:ext cx="62081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black">
            <a:xfrm>
              <a:off x="783587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black">
            <a:xfrm>
              <a:off x="954502" y="528528"/>
              <a:ext cx="62080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black">
            <a:xfrm>
              <a:off x="1128481" y="646860"/>
              <a:ext cx="62081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black">
            <a:xfrm>
              <a:off x="1298630" y="732922"/>
              <a:ext cx="65914" cy="128323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black">
            <a:xfrm>
              <a:off x="1472609" y="646860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black">
            <a:xfrm>
              <a:off x="1646588" y="528528"/>
              <a:ext cx="62847" cy="394956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black">
            <a:xfrm>
              <a:off x="1817502" y="646864"/>
              <a:ext cx="62847" cy="214383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black">
            <a:xfrm>
              <a:off x="1991491" y="732927"/>
              <a:ext cx="62847" cy="128323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FFFF"/>
                </a:solidFill>
                <a:latin typeface="CiscoSansTT ExtraLight"/>
                <a:ea typeface=""/>
                <a:cs typeface=""/>
              </a:endParaRPr>
            </a:p>
          </p:txBody>
        </p:sp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27274" y="750146"/>
            <a:ext cx="11068958" cy="342659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0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ltGray">
          <a:xfrm>
            <a:off x="10495797" y="6328140"/>
            <a:ext cx="938404" cy="205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56" tIns="40977" rIns="81956" bIns="40977" anchor="b">
            <a:spAutoFit/>
          </a:bodyPr>
          <a:lstStyle/>
          <a:p>
            <a:pPr algn="r" defTabSz="81296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Cisco Confidential</a:t>
            </a:r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11547674" y="6323874"/>
            <a:ext cx="294152" cy="2060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56" tIns="40977" rIns="81956" bIns="40977" anchor="b">
            <a:spAutoFit/>
          </a:bodyPr>
          <a:lstStyle/>
          <a:p>
            <a:pPr algn="r" defTabSz="812960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pPr algn="r" defTabSz="81296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38944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56" tIns="40977" rIns="81956" bIns="40977" anchor="b" anchorCtr="0">
            <a:spAutoFit/>
          </a:bodyPr>
          <a:lstStyle/>
          <a:p>
            <a:pPr defTabSz="812960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" y="6743700"/>
            <a:ext cx="12192000" cy="0"/>
          </a:xfrm>
          <a:prstGeom prst="line">
            <a:avLst/>
          </a:prstGeom>
          <a:ln w="177800">
            <a:gradFill>
              <a:gsLst>
                <a:gs pos="34000">
                  <a:schemeClr val="tx2"/>
                </a:gs>
                <a:gs pos="93000">
                  <a:schemeClr val="accent5"/>
                </a:gs>
                <a:gs pos="0">
                  <a:schemeClr val="tx2"/>
                </a:gs>
                <a:gs pos="100000">
                  <a:schemeClr val="accent4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-red 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 userDrawn="1"/>
        </p:nvSpPr>
        <p:spPr>
          <a:xfrm>
            <a:off x="834843" y="3066736"/>
            <a:ext cx="3050193" cy="861538"/>
          </a:xfrm>
          <a:prstGeom prst="rect">
            <a:avLst/>
          </a:prstGeom>
          <a:noFill/>
        </p:spPr>
        <p:txBody>
          <a:bodyPr wrap="none" lIns="121685" tIns="60843" rIns="121685" bIns="60843" rtlCol="0">
            <a:spAutoFit/>
          </a:bodyPr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 smtClean="0">
                <a:solidFill>
                  <a:srgbClr val="FFFFFF"/>
                </a:solidFill>
                <a:latin typeface="CiscoSansTT ExtraLight"/>
                <a:ea typeface=""/>
                <a:cs typeface=""/>
              </a:rPr>
              <a:t>Thank you.</a:t>
            </a:r>
            <a:endParaRPr lang="en-US" sz="4800" dirty="0">
              <a:solidFill>
                <a:srgbClr val="FFFFFF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black">
          <a:xfrm>
            <a:off x="8381656" y="3801619"/>
            <a:ext cx="155488" cy="58910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22" name="Freeform 21"/>
          <p:cNvSpPr>
            <a:spLocks/>
          </p:cNvSpPr>
          <p:nvPr userDrawn="1"/>
        </p:nvSpPr>
        <p:spPr bwMode="black">
          <a:xfrm>
            <a:off x="9287460" y="378691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1" y="80"/>
              </a:cxn>
              <a:cxn ang="0">
                <a:pos x="0" y="40"/>
              </a:cxn>
              <a:cxn ang="0">
                <a:pos x="41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8" y="23"/>
                  <a:pt x="51" y="20"/>
                  <a:pt x="42" y="20"/>
                </a:cubicBezTo>
                <a:cubicBezTo>
                  <a:pt x="30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1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1" y="0"/>
                </a:cubicBezTo>
                <a:cubicBezTo>
                  <a:pt x="50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23" name="Freeform 22"/>
          <p:cNvSpPr>
            <a:spLocks/>
          </p:cNvSpPr>
          <p:nvPr userDrawn="1"/>
        </p:nvSpPr>
        <p:spPr bwMode="black">
          <a:xfrm>
            <a:off x="7730778" y="3786915"/>
            <a:ext cx="450189" cy="621729"/>
          </a:xfrm>
          <a:custGeom>
            <a:avLst/>
            <a:gdLst/>
            <a:ahLst/>
            <a:cxnLst>
              <a:cxn ang="0">
                <a:pos x="58" y="24"/>
              </a:cxn>
              <a:cxn ang="0">
                <a:pos x="42" y="20"/>
              </a:cxn>
              <a:cxn ang="0">
                <a:pos x="21" y="40"/>
              </a:cxn>
              <a:cxn ang="0">
                <a:pos x="42" y="60"/>
              </a:cxn>
              <a:cxn ang="0">
                <a:pos x="58" y="56"/>
              </a:cxn>
              <a:cxn ang="0">
                <a:pos x="58" y="77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58" y="3"/>
              </a:cxn>
              <a:cxn ang="0">
                <a:pos x="58" y="24"/>
              </a:cxn>
            </a:cxnLst>
            <a:rect l="0" t="0" r="r" b="b"/>
            <a:pathLst>
              <a:path w="58" h="80">
                <a:moveTo>
                  <a:pt x="58" y="24"/>
                </a:moveTo>
                <a:cubicBezTo>
                  <a:pt x="57" y="23"/>
                  <a:pt x="51" y="20"/>
                  <a:pt x="42" y="20"/>
                </a:cubicBezTo>
                <a:cubicBezTo>
                  <a:pt x="29" y="20"/>
                  <a:pt x="21" y="28"/>
                  <a:pt x="21" y="40"/>
                </a:cubicBezTo>
                <a:cubicBezTo>
                  <a:pt x="21" y="51"/>
                  <a:pt x="29" y="60"/>
                  <a:pt x="42" y="60"/>
                </a:cubicBezTo>
                <a:cubicBezTo>
                  <a:pt x="51" y="60"/>
                  <a:pt x="57" y="57"/>
                  <a:pt x="58" y="56"/>
                </a:cubicBezTo>
                <a:cubicBezTo>
                  <a:pt x="58" y="77"/>
                  <a:pt x="58" y="77"/>
                  <a:pt x="58" y="77"/>
                </a:cubicBezTo>
                <a:cubicBezTo>
                  <a:pt x="56" y="78"/>
                  <a:pt x="49" y="80"/>
                  <a:pt x="40" y="80"/>
                </a:cubicBezTo>
                <a:cubicBezTo>
                  <a:pt x="19" y="80"/>
                  <a:pt x="0" y="65"/>
                  <a:pt x="0" y="40"/>
                </a:cubicBezTo>
                <a:cubicBezTo>
                  <a:pt x="0" y="17"/>
                  <a:pt x="17" y="0"/>
                  <a:pt x="40" y="0"/>
                </a:cubicBezTo>
                <a:cubicBezTo>
                  <a:pt x="49" y="0"/>
                  <a:pt x="56" y="3"/>
                  <a:pt x="58" y="3"/>
                </a:cubicBezTo>
                <a:lnTo>
                  <a:pt x="58" y="24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0" name="Freeform 39"/>
          <p:cNvSpPr>
            <a:spLocks noEditPoints="1"/>
          </p:cNvSpPr>
          <p:nvPr userDrawn="1"/>
        </p:nvSpPr>
        <p:spPr bwMode="black">
          <a:xfrm>
            <a:off x="9900368" y="3786915"/>
            <a:ext cx="618333" cy="621729"/>
          </a:xfrm>
          <a:custGeom>
            <a:avLst/>
            <a:gdLst/>
            <a:ahLst/>
            <a:cxnLst>
              <a:cxn ang="0">
                <a:pos x="80" y="40"/>
              </a:cxn>
              <a:cxn ang="0">
                <a:pos x="40" y="80"/>
              </a:cxn>
              <a:cxn ang="0">
                <a:pos x="0" y="40"/>
              </a:cxn>
              <a:cxn ang="0">
                <a:pos x="40" y="0"/>
              </a:cxn>
              <a:cxn ang="0">
                <a:pos x="80" y="40"/>
              </a:cxn>
              <a:cxn ang="0">
                <a:pos x="40" y="20"/>
              </a:cxn>
              <a:cxn ang="0">
                <a:pos x="20" y="40"/>
              </a:cxn>
              <a:cxn ang="0">
                <a:pos x="40" y="60"/>
              </a:cxn>
              <a:cxn ang="0">
                <a:pos x="60" y="40"/>
              </a:cxn>
              <a:cxn ang="0">
                <a:pos x="40" y="20"/>
              </a:cxn>
            </a:cxnLst>
            <a:rect l="0" t="0" r="r" b="b"/>
            <a:pathLst>
              <a:path w="80" h="80">
                <a:moveTo>
                  <a:pt x="80" y="40"/>
                </a:moveTo>
                <a:cubicBezTo>
                  <a:pt x="80" y="62"/>
                  <a:pt x="64" y="80"/>
                  <a:pt x="40" y="80"/>
                </a:cubicBezTo>
                <a:cubicBezTo>
                  <a:pt x="16" y="80"/>
                  <a:pt x="0" y="62"/>
                  <a:pt x="0" y="40"/>
                </a:cubicBezTo>
                <a:cubicBezTo>
                  <a:pt x="0" y="18"/>
                  <a:pt x="16" y="0"/>
                  <a:pt x="40" y="0"/>
                </a:cubicBezTo>
                <a:cubicBezTo>
                  <a:pt x="64" y="0"/>
                  <a:pt x="80" y="18"/>
                  <a:pt x="80" y="40"/>
                </a:cubicBezTo>
                <a:moveTo>
                  <a:pt x="40" y="20"/>
                </a:moveTo>
                <a:cubicBezTo>
                  <a:pt x="29" y="20"/>
                  <a:pt x="20" y="29"/>
                  <a:pt x="20" y="40"/>
                </a:cubicBezTo>
                <a:cubicBezTo>
                  <a:pt x="20" y="51"/>
                  <a:pt x="29" y="60"/>
                  <a:pt x="40" y="60"/>
                </a:cubicBezTo>
                <a:cubicBezTo>
                  <a:pt x="51" y="60"/>
                  <a:pt x="60" y="51"/>
                  <a:pt x="60" y="40"/>
                </a:cubicBezTo>
                <a:cubicBezTo>
                  <a:pt x="60" y="29"/>
                  <a:pt x="51" y="20"/>
                  <a:pt x="40" y="20"/>
                </a:cubicBezTo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1" name="Freeform 40"/>
          <p:cNvSpPr>
            <a:spLocks/>
          </p:cNvSpPr>
          <p:nvPr userDrawn="1"/>
        </p:nvSpPr>
        <p:spPr bwMode="black">
          <a:xfrm>
            <a:off x="8737828" y="3786915"/>
            <a:ext cx="403183" cy="621729"/>
          </a:xfrm>
          <a:custGeom>
            <a:avLst/>
            <a:gdLst/>
            <a:ahLst/>
            <a:cxnLst>
              <a:cxn ang="0">
                <a:pos x="47" y="19"/>
              </a:cxn>
              <a:cxn ang="0">
                <a:pos x="32" y="17"/>
              </a:cxn>
              <a:cxn ang="0">
                <a:pos x="20" y="23"/>
              </a:cxn>
              <a:cxn ang="0">
                <a:pos x="29" y="30"/>
              </a:cxn>
              <a:cxn ang="0">
                <a:pos x="34" y="32"/>
              </a:cxn>
              <a:cxn ang="0">
                <a:pos x="52" y="54"/>
              </a:cxn>
              <a:cxn ang="0">
                <a:pos x="21" y="80"/>
              </a:cxn>
              <a:cxn ang="0">
                <a:pos x="0" y="77"/>
              </a:cxn>
              <a:cxn ang="0">
                <a:pos x="0" y="60"/>
              </a:cxn>
              <a:cxn ang="0">
                <a:pos x="18" y="63"/>
              </a:cxn>
              <a:cxn ang="0">
                <a:pos x="32" y="56"/>
              </a:cxn>
              <a:cxn ang="0">
                <a:pos x="23" y="48"/>
              </a:cxn>
              <a:cxn ang="0">
                <a:pos x="19" y="47"/>
              </a:cxn>
              <a:cxn ang="0">
                <a:pos x="0" y="24"/>
              </a:cxn>
              <a:cxn ang="0">
                <a:pos x="28" y="0"/>
              </a:cxn>
              <a:cxn ang="0">
                <a:pos x="47" y="3"/>
              </a:cxn>
              <a:cxn ang="0">
                <a:pos x="47" y="19"/>
              </a:cxn>
            </a:cxnLst>
            <a:rect l="0" t="0" r="r" b="b"/>
            <a:pathLst>
              <a:path w="52" h="80">
                <a:moveTo>
                  <a:pt x="47" y="19"/>
                </a:moveTo>
                <a:cubicBezTo>
                  <a:pt x="47" y="19"/>
                  <a:pt x="38" y="17"/>
                  <a:pt x="32" y="17"/>
                </a:cubicBezTo>
                <a:cubicBezTo>
                  <a:pt x="24" y="17"/>
                  <a:pt x="20" y="19"/>
                  <a:pt x="20" y="23"/>
                </a:cubicBezTo>
                <a:cubicBezTo>
                  <a:pt x="20" y="28"/>
                  <a:pt x="26" y="29"/>
                  <a:pt x="29" y="30"/>
                </a:cubicBezTo>
                <a:cubicBezTo>
                  <a:pt x="34" y="32"/>
                  <a:pt x="34" y="32"/>
                  <a:pt x="34" y="32"/>
                </a:cubicBezTo>
                <a:cubicBezTo>
                  <a:pt x="47" y="36"/>
                  <a:pt x="52" y="45"/>
                  <a:pt x="52" y="54"/>
                </a:cubicBezTo>
                <a:cubicBezTo>
                  <a:pt x="52" y="73"/>
                  <a:pt x="35" y="80"/>
                  <a:pt x="21" y="80"/>
                </a:cubicBezTo>
                <a:cubicBezTo>
                  <a:pt x="10" y="80"/>
                  <a:pt x="1" y="78"/>
                  <a:pt x="0" y="77"/>
                </a:cubicBezTo>
                <a:cubicBezTo>
                  <a:pt x="0" y="60"/>
                  <a:pt x="0" y="60"/>
                  <a:pt x="0" y="60"/>
                </a:cubicBezTo>
                <a:cubicBezTo>
                  <a:pt x="2" y="60"/>
                  <a:pt x="10" y="63"/>
                  <a:pt x="18" y="63"/>
                </a:cubicBezTo>
                <a:cubicBezTo>
                  <a:pt x="28" y="63"/>
                  <a:pt x="32" y="60"/>
                  <a:pt x="32" y="56"/>
                </a:cubicBezTo>
                <a:cubicBezTo>
                  <a:pt x="32" y="52"/>
                  <a:pt x="28" y="49"/>
                  <a:pt x="23" y="48"/>
                </a:cubicBezTo>
                <a:cubicBezTo>
                  <a:pt x="22" y="48"/>
                  <a:pt x="21" y="47"/>
                  <a:pt x="19" y="47"/>
                </a:cubicBezTo>
                <a:cubicBezTo>
                  <a:pt x="9" y="43"/>
                  <a:pt x="0" y="37"/>
                  <a:pt x="0" y="24"/>
                </a:cubicBezTo>
                <a:cubicBezTo>
                  <a:pt x="0" y="10"/>
                  <a:pt x="10" y="0"/>
                  <a:pt x="28" y="0"/>
                </a:cubicBezTo>
                <a:cubicBezTo>
                  <a:pt x="37" y="0"/>
                  <a:pt x="46" y="3"/>
                  <a:pt x="47" y="3"/>
                </a:cubicBezTo>
                <a:lnTo>
                  <a:pt x="47" y="1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2" name="Freeform 41"/>
          <p:cNvSpPr>
            <a:spLocks/>
          </p:cNvSpPr>
          <p:nvPr userDrawn="1"/>
        </p:nvSpPr>
        <p:spPr bwMode="black">
          <a:xfrm>
            <a:off x="7421665" y="2966681"/>
            <a:ext cx="146447" cy="302709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10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3" name="Freeform 42"/>
          <p:cNvSpPr>
            <a:spLocks/>
          </p:cNvSpPr>
          <p:nvPr userDrawn="1"/>
        </p:nvSpPr>
        <p:spPr bwMode="black">
          <a:xfrm>
            <a:off x="7832077" y="2763722"/>
            <a:ext cx="146447" cy="505721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4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4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4" name="Freeform 43"/>
          <p:cNvSpPr>
            <a:spLocks/>
          </p:cNvSpPr>
          <p:nvPr userDrawn="1"/>
        </p:nvSpPr>
        <p:spPr bwMode="black">
          <a:xfrm>
            <a:off x="8235263" y="2484578"/>
            <a:ext cx="146447" cy="931689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111"/>
              </a:cxn>
              <a:cxn ang="0">
                <a:pos x="10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5" y="120"/>
                  <a:pt x="10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5" name="Freeform 44"/>
          <p:cNvSpPr>
            <a:spLocks/>
          </p:cNvSpPr>
          <p:nvPr userDrawn="1"/>
        </p:nvSpPr>
        <p:spPr bwMode="black">
          <a:xfrm>
            <a:off x="8645676" y="2763670"/>
            <a:ext cx="146447" cy="505723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56"/>
              </a:cxn>
              <a:cxn ang="0">
                <a:pos x="9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9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6" name="Freeform 45"/>
          <p:cNvSpPr>
            <a:spLocks/>
          </p:cNvSpPr>
          <p:nvPr userDrawn="1"/>
        </p:nvSpPr>
        <p:spPr bwMode="black">
          <a:xfrm>
            <a:off x="9046996" y="2966683"/>
            <a:ext cx="155488" cy="302708"/>
          </a:xfrm>
          <a:custGeom>
            <a:avLst/>
            <a:gdLst/>
            <a:ahLst/>
            <a:cxnLst>
              <a:cxn ang="0">
                <a:pos x="20" y="10"/>
              </a:cxn>
              <a:cxn ang="0">
                <a:pos x="10" y="0"/>
              </a:cxn>
              <a:cxn ang="0">
                <a:pos x="0" y="10"/>
              </a:cxn>
              <a:cxn ang="0">
                <a:pos x="0" y="30"/>
              </a:cxn>
              <a:cxn ang="0">
                <a:pos x="10" y="39"/>
              </a:cxn>
              <a:cxn ang="0">
                <a:pos x="20" y="30"/>
              </a:cxn>
              <a:cxn ang="0">
                <a:pos x="20" y="10"/>
              </a:cxn>
            </a:cxnLst>
            <a:rect l="0" t="0" r="r" b="b"/>
            <a:pathLst>
              <a:path w="20" h="39">
                <a:moveTo>
                  <a:pt x="20" y="10"/>
                </a:moveTo>
                <a:cubicBezTo>
                  <a:pt x="20" y="4"/>
                  <a:pt x="15" y="0"/>
                  <a:pt x="10" y="0"/>
                </a:cubicBezTo>
                <a:cubicBezTo>
                  <a:pt x="5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5" y="39"/>
                  <a:pt x="10" y="39"/>
                </a:cubicBezTo>
                <a:cubicBezTo>
                  <a:pt x="15" y="39"/>
                  <a:pt x="20" y="35"/>
                  <a:pt x="20" y="30"/>
                </a:cubicBezTo>
                <a:lnTo>
                  <a:pt x="20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7" name="Freeform 46"/>
          <p:cNvSpPr>
            <a:spLocks/>
          </p:cNvSpPr>
          <p:nvPr userDrawn="1"/>
        </p:nvSpPr>
        <p:spPr bwMode="black">
          <a:xfrm>
            <a:off x="9457414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4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8" name="Freeform 47"/>
          <p:cNvSpPr>
            <a:spLocks/>
          </p:cNvSpPr>
          <p:nvPr userDrawn="1"/>
        </p:nvSpPr>
        <p:spPr bwMode="black">
          <a:xfrm>
            <a:off x="9867830" y="2484524"/>
            <a:ext cx="148255" cy="931688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9" y="0"/>
              </a:cxn>
              <a:cxn ang="0">
                <a:pos x="0" y="9"/>
              </a:cxn>
              <a:cxn ang="0">
                <a:pos x="0" y="111"/>
              </a:cxn>
              <a:cxn ang="0">
                <a:pos x="9" y="120"/>
              </a:cxn>
              <a:cxn ang="0">
                <a:pos x="19" y="111"/>
              </a:cxn>
              <a:cxn ang="0">
                <a:pos x="19" y="9"/>
              </a:cxn>
            </a:cxnLst>
            <a:rect l="0" t="0" r="r" b="b"/>
            <a:pathLst>
              <a:path w="19" h="120">
                <a:moveTo>
                  <a:pt x="19" y="9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16"/>
                  <a:pt x="4" y="120"/>
                  <a:pt x="9" y="120"/>
                </a:cubicBezTo>
                <a:cubicBezTo>
                  <a:pt x="15" y="120"/>
                  <a:pt x="19" y="116"/>
                  <a:pt x="19" y="111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49" name="Freeform 48"/>
          <p:cNvSpPr>
            <a:spLocks/>
          </p:cNvSpPr>
          <p:nvPr userDrawn="1"/>
        </p:nvSpPr>
        <p:spPr bwMode="black">
          <a:xfrm>
            <a:off x="10271010" y="2763668"/>
            <a:ext cx="148255" cy="505720"/>
          </a:xfrm>
          <a:custGeom>
            <a:avLst/>
            <a:gdLst/>
            <a:ahLst/>
            <a:cxnLst>
              <a:cxn ang="0">
                <a:pos x="19" y="9"/>
              </a:cxn>
              <a:cxn ang="0">
                <a:pos x="10" y="0"/>
              </a:cxn>
              <a:cxn ang="0">
                <a:pos x="0" y="9"/>
              </a:cxn>
              <a:cxn ang="0">
                <a:pos x="0" y="56"/>
              </a:cxn>
              <a:cxn ang="0">
                <a:pos x="10" y="65"/>
              </a:cxn>
              <a:cxn ang="0">
                <a:pos x="19" y="56"/>
              </a:cxn>
              <a:cxn ang="0">
                <a:pos x="19" y="9"/>
              </a:cxn>
            </a:cxnLst>
            <a:rect l="0" t="0" r="r" b="b"/>
            <a:pathLst>
              <a:path w="19" h="65">
                <a:moveTo>
                  <a:pt x="19" y="9"/>
                </a:moveTo>
                <a:cubicBezTo>
                  <a:pt x="19" y="4"/>
                  <a:pt x="15" y="0"/>
                  <a:pt x="10" y="0"/>
                </a:cubicBezTo>
                <a:cubicBezTo>
                  <a:pt x="5" y="0"/>
                  <a:pt x="0" y="4"/>
                  <a:pt x="0" y="9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61"/>
                  <a:pt x="5" y="65"/>
                  <a:pt x="10" y="65"/>
                </a:cubicBezTo>
                <a:cubicBezTo>
                  <a:pt x="15" y="65"/>
                  <a:pt x="19" y="61"/>
                  <a:pt x="19" y="56"/>
                </a:cubicBezTo>
                <a:lnTo>
                  <a:pt x="19" y="9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  <p:sp>
        <p:nvSpPr>
          <p:cNvPr id="50" name="Freeform 49"/>
          <p:cNvSpPr>
            <a:spLocks/>
          </p:cNvSpPr>
          <p:nvPr userDrawn="1"/>
        </p:nvSpPr>
        <p:spPr bwMode="black">
          <a:xfrm>
            <a:off x="10681424" y="2966683"/>
            <a:ext cx="148255" cy="302708"/>
          </a:xfrm>
          <a:custGeom>
            <a:avLst/>
            <a:gdLst/>
            <a:ahLst/>
            <a:cxnLst>
              <a:cxn ang="0">
                <a:pos x="19" y="10"/>
              </a:cxn>
              <a:cxn ang="0">
                <a:pos x="9" y="0"/>
              </a:cxn>
              <a:cxn ang="0">
                <a:pos x="0" y="10"/>
              </a:cxn>
              <a:cxn ang="0">
                <a:pos x="0" y="30"/>
              </a:cxn>
              <a:cxn ang="0">
                <a:pos x="9" y="39"/>
              </a:cxn>
              <a:cxn ang="0">
                <a:pos x="19" y="30"/>
              </a:cxn>
              <a:cxn ang="0">
                <a:pos x="19" y="10"/>
              </a:cxn>
            </a:cxnLst>
            <a:rect l="0" t="0" r="r" b="b"/>
            <a:pathLst>
              <a:path w="19" h="39">
                <a:moveTo>
                  <a:pt x="19" y="10"/>
                </a:moveTo>
                <a:cubicBezTo>
                  <a:pt x="19" y="4"/>
                  <a:pt x="15" y="0"/>
                  <a:pt x="9" y="0"/>
                </a:cubicBezTo>
                <a:cubicBezTo>
                  <a:pt x="4" y="0"/>
                  <a:pt x="0" y="4"/>
                  <a:pt x="0" y="10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35"/>
                  <a:pt x="4" y="39"/>
                  <a:pt x="9" y="39"/>
                </a:cubicBezTo>
                <a:cubicBezTo>
                  <a:pt x="15" y="39"/>
                  <a:pt x="19" y="35"/>
                  <a:pt x="19" y="30"/>
                </a:cubicBezTo>
                <a:lnTo>
                  <a:pt x="19" y="10"/>
                </a:ln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21685" tIns="60843" rIns="121685" bIns="6084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96D6"/>
              </a:solidFill>
              <a:latin typeface="CiscoSansTT ExtraLight"/>
              <a:ea typeface=""/>
              <a:cs typeface=""/>
            </a:endParaRPr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7037E-7 L -4.72222E-6 0.09143 " pathEditMode="relative" rAng="0" ptsTypes="AA">
                                      <p:cBhvr>
                                        <p:cTn id="37" dur="7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7037E-6 L 5E-6 0.11157 " pathEditMode="relative" rAng="0" ptsTypes="AA">
                                      <p:cBhvr>
                                        <p:cTn id="39" dur="700" spd="-100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81481E-6 L 4.72222E-6 0.09143 " pathEditMode="relative" rAng="0" ptsTypes="AA">
                                      <p:cBhvr>
                                        <p:cTn id="41" dur="7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3.7037E-6 L -2.77778E-6 0.11157 " pathEditMode="relative" rAng="0" ptsTypes="AA">
                                      <p:cBhvr>
                                        <p:cTn id="43" dur="700" spd="-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6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4.81481E-6 L 5.55556E-7 0.09143 " pathEditMode="relative" rAng="0" ptsTypes="AA">
                                      <p:cBhvr>
                                        <p:cTn id="45" dur="700" spd="-100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6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33333E-6 L 4.72222E-6 -0.10764 " pathEditMode="relative" rAng="0" ptsTypes="AA">
                                      <p:cBhvr>
                                        <p:cTn id="47" dur="700" spd="-100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3.33333E-6 L 4.44444E-6 -0.10764 " pathEditMode="relative" rAng="0" ptsTypes="AA">
                                      <p:cBhvr>
                                        <p:cTn id="49" dur="7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3.33333E-6 L -2.22222E-6 -0.10764 " pathEditMode="relative" rAng="0" ptsTypes="AA">
                                      <p:cBhvr>
                                        <p:cTn id="51" dur="7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3.33333E-6 L 1.11111E-6 -0.10764 " pathEditMode="relative" rAng="0" ptsTypes="AA">
                                      <p:cBhvr>
                                        <p:cTn id="53" dur="700" spd="-100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2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7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7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</p:bldLst>
  </p:timing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567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70567" y="1437260"/>
            <a:ext cx="11350752" cy="4531783"/>
          </a:xfrm>
          <a:prstGeom prst="rect">
            <a:avLst/>
          </a:prstGeom>
        </p:spPr>
        <p:txBody>
          <a:bodyPr lIns="121733" tIns="60867" rIns="121733" bIns="60867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12945" y="6228662"/>
            <a:ext cx="479555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algn="r">
              <a:defRPr lang="en-US" sz="8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fld id="{96A97DD0-5BE7-4856-A2A9-C42C6688E607}" type="slidenum">
              <a:rPr lang="uk-UA" smtClean="0"/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uk-UA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8" y="1797051"/>
            <a:ext cx="11127318" cy="4224280"/>
          </a:xfrm>
          <a:prstGeom prst="rect">
            <a:avLst/>
          </a:prstGeom>
        </p:spPr>
        <p:txBody>
          <a:bodyPr lIns="121760" tIns="60880" rIns="121760" bIns="60880">
            <a:noAutofit/>
          </a:bodyPr>
          <a:lstStyle>
            <a:lvl1pPr marL="374169" indent="-298085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4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676487" indent="-287504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995702" indent="-228317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1213437" indent="-22831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441754" indent="-22408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12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65" tIns="60883" rIns="121765" bIns="608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lIns="121787" tIns="60893" rIns="121787" bIns="6089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fld id="{E77158E9-3396-C748-8F7C-44ACAB08FD8D}" type="datetimeFigureOut">
              <a:rPr lang="en-US" sz="2400" smtClean="0">
                <a:solidFill>
                  <a:srgbClr val="000000"/>
                </a:solidFill>
                <a:latin typeface="CiscoSansTT Light"/>
                <a:ea typeface=""/>
                <a:cs typeface=""/>
              </a:rPr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t>1/18/2017</a:t>
            </a:fld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lIns="121787" tIns="60893" rIns="121787" bIns="6089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 lIns="121787" tIns="60893" rIns="121787" bIns="60893"/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</a:pPr>
            <a:fld id="{3ED64B8F-91F4-F640-901C-3F6FDDD31608}" type="slidenum">
              <a:rPr lang="en-US" sz="2400" smtClean="0">
                <a:solidFill>
                  <a:srgbClr val="000000"/>
                </a:solidFill>
                <a:latin typeface="CiscoSansTT Light"/>
                <a:ea typeface=""/>
                <a:cs typeface=""/>
              </a:rPr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2400">
              <a:solidFill>
                <a:srgbClr val="000000"/>
              </a:solidFill>
              <a:latin typeface="CiscoSansTT Light"/>
              <a:ea typeface=""/>
              <a:cs typeface=""/>
            </a:endParaRPr>
          </a:p>
        </p:txBody>
      </p:sp>
    </p:spTree>
    <p:extLst/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034272" y="6613447"/>
            <a:ext cx="2286000" cy="228600"/>
          </a:xfrm>
          <a:prstGeom prst="rect">
            <a:avLst/>
          </a:prstGeom>
        </p:spPr>
        <p:txBody>
          <a:bodyPr vert="horz" lIns="91407" tIns="45703" rIns="91407" bIns="45703" rtlCol="0" anchor="ctr"/>
          <a:lstStyle>
            <a:lvl1pPr marL="0" marR="0" indent="0" algn="r" defTabSz="91403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tx1">
                    <a:tint val="75000"/>
                  </a:schemeClr>
                </a:solidFill>
                <a:latin typeface="CiscoSans ExtraLight" panose="020B0303020201020303" pitchFamily="34" charset="0"/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  <a:ea typeface=""/>
                <a:cs typeface=""/>
              </a:rPr>
              <a:t>Cisco Confidential</a:t>
            </a:r>
            <a:endParaRPr lang="en-US" dirty="0">
              <a:solidFill>
                <a:prstClr val="black">
                  <a:tint val="75000"/>
                </a:prstClr>
              </a:solidFill>
              <a:ea typeface=""/>
              <a:cs typeface=""/>
            </a:endParaRPr>
          </a:p>
        </p:txBody>
      </p:sp>
    </p:spTree>
    <p:extLst/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8"/>
            <a:ext cx="11350752" cy="45317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SDC5-graphic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6322" y="404085"/>
            <a:ext cx="11546635" cy="97170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300" b="0" i="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Graphic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45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  <a:sym typeface="Arial" pitchFamily="34" charset="0"/>
              </a:rPr>
              <a:pPr defTabSz="684559">
                <a:defRPr/>
              </a:pPr>
              <a:t>‹#›</a:t>
            </a:fld>
            <a:endParaRPr lang="uk-UA" kern="0" dirty="0">
              <a:solidFill>
                <a:srgbClr val="595959"/>
              </a:solidFill>
              <a:sym typeface="Arial" pitchFamily="34" charset="0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559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21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4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black">
          <a:xfrm>
            <a:off x="4806391" y="6603938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94" y="598504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invGray">
          <a:xfrm>
            <a:off x="3657655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pic>
        <p:nvPicPr>
          <p:cNvPr id="19" name="Picture 18" descr="CISCO-Blue-PMS [Converted].pdf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877" b="28877"/>
          <a:stretch/>
        </p:blipFill>
        <p:spPr>
          <a:xfrm>
            <a:off x="1977511" y="1689102"/>
            <a:ext cx="8236981" cy="3479803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wipe dir="r"/>
  </p:transition>
  <p:hf hdr="0" ftr="0" dt="0"/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0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4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6344185"/>
      </p:ext>
    </p:extLst>
  </p:cSld>
  <p:clrMapOvr>
    <a:masterClrMapping/>
  </p:clrMapOvr>
  <p:transition spd="med">
    <p:fade/>
  </p:transition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1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2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3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4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5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6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243397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446758"/>
            <a:ext cx="11204984" cy="4954044"/>
          </a:xfrm>
        </p:spPr>
        <p:txBody>
          <a:bodyPr lIns="121685" tIns="60843" rIns="121685" bIns="60843"/>
          <a:lstStyle>
            <a:lvl1pPr>
              <a:spcBef>
                <a:spcPts val="8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67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600" y="432000"/>
            <a:ext cx="1266128" cy="780288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6003" y="5057613"/>
            <a:ext cx="11061895" cy="384175"/>
          </a:xfrm>
          <a:prstGeom prst="rect">
            <a:avLst/>
          </a:prstGeom>
        </p:spPr>
        <p:txBody>
          <a:bodyPr lIns="121845" tIns="60922" rIns="121845" bIns="60922" anchor="b" anchorCtr="0">
            <a:noAutofit/>
          </a:bodyPr>
          <a:lstStyle>
            <a:lvl1pPr marL="0" indent="0" algn="l">
              <a:buNone/>
              <a:defRPr sz="19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456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6003" y="5377609"/>
            <a:ext cx="11061895" cy="384175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6003" y="5697605"/>
            <a:ext cx="11061895" cy="384175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 algn="l">
              <a:buFontTx/>
              <a:buNone/>
              <a:defRPr lang="en-US" sz="19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31" y="4281951"/>
            <a:ext cx="11070167" cy="398668"/>
          </a:xfrm>
          <a:prstGeom prst="rect">
            <a:avLst/>
          </a:prstGeom>
        </p:spPr>
        <p:txBody>
          <a:bodyPr lIns="121845" tIns="60922" rIns="121845" bIns="60922"/>
          <a:lstStyle>
            <a:lvl1pPr marL="0" indent="0">
              <a:buFont typeface="Arial" panose="020B0604020202020204" pitchFamily="34" charset="0"/>
              <a:buNone/>
              <a:defRPr sz="2900" baseline="0">
                <a:solidFill>
                  <a:srgbClr val="FFFFFE"/>
                </a:solidFill>
                <a:latin typeface="+mj-lt"/>
              </a:defRPr>
            </a:lvl1pPr>
            <a:lvl2pPr marL="406207" indent="0">
              <a:buNone/>
              <a:defRPr/>
            </a:lvl2pPr>
            <a:lvl3pPr marL="569626" indent="0">
              <a:buNone/>
              <a:defRPr/>
            </a:lvl3pPr>
            <a:lvl4pPr marL="688635" indent="0">
              <a:buNone/>
              <a:defRPr/>
            </a:lvl4pPr>
            <a:lvl5pPr marL="801288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9" y="3519969"/>
            <a:ext cx="11120203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9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9879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8944" y="1446758"/>
            <a:ext cx="5239006" cy="4954044"/>
          </a:xfrm>
        </p:spPr>
        <p:txBody>
          <a:bodyPr rIns="121685"/>
          <a:lstStyle>
            <a:lvl1pPr>
              <a:spcBef>
                <a:spcPts val="1600"/>
              </a:spcBef>
              <a:buClr>
                <a:srgbClr val="168ACB"/>
              </a:buClr>
              <a:defRPr sz="24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21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9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6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6228521" y="1446759"/>
            <a:ext cx="4911771" cy="5016500"/>
          </a:xfrm>
        </p:spPr>
        <p:txBody>
          <a:bodyPr rIns="121685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7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8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9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0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1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065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728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08"/>
            <a:ext cx="511213" cy="366183"/>
          </a:xfrm>
          <a:prstGeom prst="rect">
            <a:avLst/>
          </a:prstGeom>
        </p:spPr>
        <p:txBody>
          <a:bodyPr vert="horz" lIns="121781" tIns="60891" rIns="121781" bIns="60891" rtlCol="0" anchor="ctr"/>
          <a:lstStyle>
            <a:lvl1pPr marL="0" algn="ctr" defTabSz="610127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68"/>
            <a:ext cx="11350752" cy="45317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1929"/>
            <a:ext cx="11350752" cy="102057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0" y="1437216"/>
            <a:ext cx="5425440" cy="457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6331712" y="1437259"/>
            <a:ext cx="5425440" cy="45656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uk-UA" kern="0" dirty="0">
              <a:solidFill>
                <a:srgbClr val="595959"/>
              </a:solidFill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6" tIns="45702" rIns="91396" bIns="45702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12192000" cy="17780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96" tIns="45702" rIns="91396" bIns="45702" anchor="ctr"/>
          <a:lstStyle/>
          <a:p>
            <a:pPr defTabSz="609339"/>
            <a:endParaRPr lang="en-US" sz="1900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6568" y="4279415"/>
            <a:ext cx="6246489" cy="384175"/>
          </a:xfrm>
          <a:prstGeom prst="rect">
            <a:avLst/>
          </a:prstGeom>
        </p:spPr>
        <p:txBody>
          <a:bodyPr vert="horz" lIns="91396" tIns="45702" rIns="91396" bIns="45702" rtlCol="0">
            <a:noAutofit/>
          </a:bodyPr>
          <a:lstStyle>
            <a:lvl1pPr marL="0" indent="0" algn="l" defTabSz="913944" rtl="0" eaLnBrk="1" latinLnBrk="0" hangingPunct="1">
              <a:lnSpc>
                <a:spcPct val="95000"/>
              </a:lnSpc>
              <a:spcBef>
                <a:spcPts val="144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24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6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2714" y="3282704"/>
            <a:ext cx="6283409" cy="1022351"/>
          </a:xfrm>
        </p:spPr>
        <p:txBody>
          <a:bodyPr lIns="82253" tIns="45702" rIns="82253" bIns="45702" rtlCol="0" anchor="b">
            <a:noAutofit/>
          </a:bodyPr>
          <a:lstStyle>
            <a:lvl1pPr marL="0" indent="0" algn="l" defTabSz="9139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69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7387183" y="1917705"/>
            <a:ext cx="3568700" cy="2889251"/>
          </a:xfrm>
          <a:prstGeom prst="rect">
            <a:avLst/>
          </a:prstGeom>
        </p:spPr>
        <p:txBody>
          <a:bodyPr lIns="121845" tIns="60922" rIns="121845" bIns="60922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3015770"/>
      </p:ext>
    </p:extLst>
  </p:cSld>
  <p:clrMapOvr>
    <a:masterClrMapping/>
  </p:clrMapOvr>
  <p:transition spd="slow">
    <p:wipe/>
  </p:transition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Created dual column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512237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406403" y="1655252"/>
            <a:ext cx="5425440" cy="444076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400" y="10922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331712" y="1655235"/>
            <a:ext cx="5425440" cy="44577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684559">
              <a:defRPr/>
            </a:pPr>
            <a:fld id="{2F5CCB13-0A32-4557-88E9-079F0C330695}" type="slidenum">
              <a:rPr lang="uk-UA" kern="0" smtClean="0">
                <a:solidFill>
                  <a:srgbClr val="595959"/>
                </a:solidFill>
                <a:sym typeface="Arial" pitchFamily="34" charset="0"/>
              </a:rPr>
              <a:pPr defTabSz="684559">
                <a:defRPr/>
              </a:pPr>
              <a:t>‹#›</a:t>
            </a:fld>
            <a:endParaRPr lang="uk-UA" kern="0" dirty="0">
              <a:solidFill>
                <a:srgbClr val="595959"/>
              </a:solidFill>
              <a:sym typeface="Arial" pitchFamily="34" charset="0"/>
            </a:endParaRP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92608"/>
            <a:ext cx="11350752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>
            <a:lvl1pPr>
              <a:defRPr lang="en-US" baseline="0" dirty="0"/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467079"/>
            <a:ext cx="3499104" cy="4954044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 sz="2100">
                <a:solidFill>
                  <a:srgbClr val="000000"/>
                </a:solidFill>
              </a:defRPr>
            </a:lvl1pPr>
            <a:lvl2pPr>
              <a:spcBef>
                <a:spcPts val="533"/>
              </a:spcBef>
              <a:defRPr sz="1900">
                <a:solidFill>
                  <a:srgbClr val="000000"/>
                </a:solidFill>
              </a:defRPr>
            </a:lvl2pPr>
            <a:lvl3pPr>
              <a:spcBef>
                <a:spcPts val="267"/>
              </a:spcBef>
              <a:defRPr sz="1600">
                <a:solidFill>
                  <a:srgbClr val="000000"/>
                </a:solidFill>
              </a:defRPr>
            </a:lvl3pPr>
            <a:lvl4pPr>
              <a:spcBef>
                <a:spcPts val="267"/>
              </a:spcBef>
              <a:defRPr sz="1300">
                <a:solidFill>
                  <a:srgbClr val="000000"/>
                </a:solidFill>
              </a:defRPr>
            </a:lvl4pPr>
            <a:lvl5pPr>
              <a:spcBef>
                <a:spcPts val="900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8258048" y="1467095"/>
            <a:ext cx="3499104" cy="4957233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332226" y="1467079"/>
            <a:ext cx="3499104" cy="4965700"/>
          </a:xfrm>
        </p:spPr>
        <p:txBody>
          <a:bodyPr lIns="121685" tIns="60843" rIns="121685" bIns="60843"/>
          <a:lstStyle>
            <a:lvl1pPr>
              <a:defRPr sz="2100">
                <a:solidFill>
                  <a:srgbClr val="000000"/>
                </a:solidFill>
              </a:defRPr>
            </a:lvl1pPr>
            <a:lvl2pPr>
              <a:defRPr sz="1900">
                <a:solidFill>
                  <a:srgbClr val="000000"/>
                </a:solidFill>
              </a:defRPr>
            </a:lvl2pPr>
            <a:lvl3pPr>
              <a:defRPr sz="1600">
                <a:solidFill>
                  <a:srgbClr val="000000"/>
                </a:solidFill>
              </a:defRPr>
            </a:lvl3pPr>
            <a:lvl4pPr>
              <a:defRPr sz="130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 with Text 4 Heavy Graphics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white">
          <a:xfrm>
            <a:off x="1" y="0"/>
            <a:ext cx="12192000" cy="381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559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 smtClean="0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399" y="207436"/>
            <a:ext cx="11350752" cy="5799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06399" y="787400"/>
            <a:ext cx="11350752" cy="508000"/>
          </a:xfrm>
        </p:spPr>
        <p:txBody>
          <a:bodyPr/>
          <a:lstStyle>
            <a:lvl1pPr marL="2380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399" y="1437220"/>
            <a:ext cx="11350752" cy="4633383"/>
          </a:xfrm>
        </p:spPr>
        <p:txBody>
          <a:bodyPr/>
          <a:lstStyle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Travel\Dropbox\Cisco Live 2014\From Rick\JPGs 125dpi Images\125dpi Image-04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-3048"/>
            <a:ext cx="12192000" cy="686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808621" y="2504932"/>
            <a:ext cx="11042015" cy="1522736"/>
          </a:xfrm>
        </p:spPr>
        <p:txBody>
          <a:bodyPr anchor="ctr"/>
          <a:lstStyle>
            <a:lvl1pPr>
              <a:defRPr sz="43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Segue Slid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5746496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06401" y="291929"/>
            <a:ext cx="6502400" cy="1020576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1"/>
          </p:nvPr>
        </p:nvSpPr>
        <p:spPr>
          <a:xfrm>
            <a:off x="406401" y="1437216"/>
            <a:ext cx="6502400" cy="4023784"/>
          </a:xfrm>
        </p:spPr>
        <p:txBody>
          <a:bodyPr/>
          <a:lstStyle>
            <a:lvl1pPr>
              <a:buClr>
                <a:srgbClr val="0C65B7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0C65B7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0C65B7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0C65B7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4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black">
          <a:xfrm>
            <a:off x="4806391" y="6603938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Kirk Travel\Dropbox\Cisco Live 2014\From Rick\JPGs 125dpi Images\125dpi Image-0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-1082" y="0"/>
            <a:ext cx="1219417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46794" y="598504"/>
            <a:ext cx="950382" cy="503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5917" y="2846419"/>
            <a:ext cx="3325284" cy="114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 bwMode="invGray">
          <a:xfrm>
            <a:off x="3657655" y="1923472"/>
            <a:ext cx="4874382" cy="2576944"/>
            <a:chOff x="2743200" y="1442604"/>
            <a:chExt cx="3655787" cy="1932708"/>
          </a:xfrm>
          <a:solidFill>
            <a:schemeClr val="accent1"/>
          </a:solidFill>
        </p:grpSpPr>
        <p:sp>
          <p:nvSpPr>
            <p:cNvPr id="5" name="Rectangle 4"/>
            <p:cNvSpPr>
              <a:spLocks noChangeArrowheads="1"/>
            </p:cNvSpPr>
            <p:nvPr/>
          </p:nvSpPr>
          <p:spPr bwMode="invGray">
            <a:xfrm>
              <a:off x="3773026" y="2725892"/>
              <a:ext cx="166790" cy="6319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6" name="Freeform 5"/>
            <p:cNvSpPr>
              <a:spLocks/>
            </p:cNvSpPr>
            <p:nvPr/>
          </p:nvSpPr>
          <p:spPr bwMode="invGray">
            <a:xfrm>
              <a:off x="474467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1" y="80"/>
                </a:cxn>
                <a:cxn ang="0">
                  <a:pos x="0" y="40"/>
                </a:cxn>
                <a:cxn ang="0">
                  <a:pos x="41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8" y="23"/>
                    <a:pt x="51" y="20"/>
                    <a:pt x="42" y="20"/>
                  </a:cubicBezTo>
                  <a:cubicBezTo>
                    <a:pt x="30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1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1" y="0"/>
                  </a:cubicBezTo>
                  <a:cubicBezTo>
                    <a:pt x="50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invGray">
            <a:xfrm>
              <a:off x="3074840" y="2708392"/>
              <a:ext cx="482913" cy="666920"/>
            </a:xfrm>
            <a:custGeom>
              <a:avLst/>
              <a:gdLst/>
              <a:ahLst/>
              <a:cxnLst>
                <a:cxn ang="0">
                  <a:pos x="58" y="24"/>
                </a:cxn>
                <a:cxn ang="0">
                  <a:pos x="42" y="20"/>
                </a:cxn>
                <a:cxn ang="0">
                  <a:pos x="21" y="40"/>
                </a:cxn>
                <a:cxn ang="0">
                  <a:pos x="42" y="60"/>
                </a:cxn>
                <a:cxn ang="0">
                  <a:pos x="58" y="56"/>
                </a:cxn>
                <a:cxn ang="0">
                  <a:pos x="58" y="77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58" y="3"/>
                </a:cxn>
                <a:cxn ang="0">
                  <a:pos x="58" y="24"/>
                </a:cxn>
              </a:cxnLst>
              <a:rect l="0" t="0" r="r" b="b"/>
              <a:pathLst>
                <a:path w="58" h="80">
                  <a:moveTo>
                    <a:pt x="58" y="24"/>
                  </a:moveTo>
                  <a:cubicBezTo>
                    <a:pt x="57" y="23"/>
                    <a:pt x="51" y="20"/>
                    <a:pt x="42" y="20"/>
                  </a:cubicBezTo>
                  <a:cubicBezTo>
                    <a:pt x="29" y="20"/>
                    <a:pt x="21" y="28"/>
                    <a:pt x="21" y="40"/>
                  </a:cubicBezTo>
                  <a:cubicBezTo>
                    <a:pt x="21" y="51"/>
                    <a:pt x="29" y="60"/>
                    <a:pt x="42" y="60"/>
                  </a:cubicBezTo>
                  <a:cubicBezTo>
                    <a:pt x="51" y="60"/>
                    <a:pt x="57" y="57"/>
                    <a:pt x="58" y="56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6" y="78"/>
                    <a:pt x="49" y="80"/>
                    <a:pt x="40" y="80"/>
                  </a:cubicBezTo>
                  <a:cubicBezTo>
                    <a:pt x="19" y="80"/>
                    <a:pt x="0" y="65"/>
                    <a:pt x="0" y="40"/>
                  </a:cubicBezTo>
                  <a:cubicBezTo>
                    <a:pt x="0" y="17"/>
                    <a:pt x="17" y="0"/>
                    <a:pt x="40" y="0"/>
                  </a:cubicBezTo>
                  <a:cubicBezTo>
                    <a:pt x="49" y="0"/>
                    <a:pt x="56" y="3"/>
                    <a:pt x="58" y="3"/>
                  </a:cubicBezTo>
                  <a:lnTo>
                    <a:pt x="58" y="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invGray">
            <a:xfrm>
              <a:off x="5402130" y="2708392"/>
              <a:ext cx="663279" cy="666920"/>
            </a:xfrm>
            <a:custGeom>
              <a:avLst/>
              <a:gdLst/>
              <a:ahLst/>
              <a:cxnLst>
                <a:cxn ang="0">
                  <a:pos x="80" y="40"/>
                </a:cxn>
                <a:cxn ang="0">
                  <a:pos x="40" y="80"/>
                </a:cxn>
                <a:cxn ang="0">
                  <a:pos x="0" y="40"/>
                </a:cxn>
                <a:cxn ang="0">
                  <a:pos x="40" y="0"/>
                </a:cxn>
                <a:cxn ang="0">
                  <a:pos x="80" y="40"/>
                </a:cxn>
                <a:cxn ang="0">
                  <a:pos x="40" y="20"/>
                </a:cxn>
                <a:cxn ang="0">
                  <a:pos x="20" y="40"/>
                </a:cxn>
                <a:cxn ang="0">
                  <a:pos x="40" y="60"/>
                </a:cxn>
                <a:cxn ang="0">
                  <a:pos x="60" y="40"/>
                </a:cxn>
                <a:cxn ang="0">
                  <a:pos x="40" y="20"/>
                </a:cxn>
              </a:cxnLst>
              <a:rect l="0" t="0" r="r" b="b"/>
              <a:pathLst>
                <a:path w="80" h="80">
                  <a:moveTo>
                    <a:pt x="80" y="40"/>
                  </a:moveTo>
                  <a:cubicBezTo>
                    <a:pt x="80" y="62"/>
                    <a:pt x="64" y="80"/>
                    <a:pt x="40" y="80"/>
                  </a:cubicBezTo>
                  <a:cubicBezTo>
                    <a:pt x="16" y="80"/>
                    <a:pt x="0" y="62"/>
                    <a:pt x="0" y="40"/>
                  </a:cubicBezTo>
                  <a:cubicBezTo>
                    <a:pt x="0" y="18"/>
                    <a:pt x="16" y="0"/>
                    <a:pt x="40" y="0"/>
                  </a:cubicBezTo>
                  <a:cubicBezTo>
                    <a:pt x="64" y="0"/>
                    <a:pt x="80" y="18"/>
                    <a:pt x="80" y="40"/>
                  </a:cubicBezTo>
                  <a:moveTo>
                    <a:pt x="40" y="20"/>
                  </a:moveTo>
                  <a:cubicBezTo>
                    <a:pt x="29" y="20"/>
                    <a:pt x="20" y="29"/>
                    <a:pt x="20" y="40"/>
                  </a:cubicBezTo>
                  <a:cubicBezTo>
                    <a:pt x="20" y="51"/>
                    <a:pt x="29" y="60"/>
                    <a:pt x="40" y="60"/>
                  </a:cubicBezTo>
                  <a:cubicBezTo>
                    <a:pt x="51" y="60"/>
                    <a:pt x="60" y="51"/>
                    <a:pt x="60" y="40"/>
                  </a:cubicBezTo>
                  <a:cubicBezTo>
                    <a:pt x="60" y="29"/>
                    <a:pt x="51" y="20"/>
                    <a:pt x="40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invGray">
            <a:xfrm>
              <a:off x="4155090" y="2708392"/>
              <a:ext cx="432490" cy="666920"/>
            </a:xfrm>
            <a:custGeom>
              <a:avLst/>
              <a:gdLst/>
              <a:ahLst/>
              <a:cxnLst>
                <a:cxn ang="0">
                  <a:pos x="47" y="19"/>
                </a:cxn>
                <a:cxn ang="0">
                  <a:pos x="32" y="17"/>
                </a:cxn>
                <a:cxn ang="0">
                  <a:pos x="20" y="23"/>
                </a:cxn>
                <a:cxn ang="0">
                  <a:pos x="29" y="30"/>
                </a:cxn>
                <a:cxn ang="0">
                  <a:pos x="34" y="32"/>
                </a:cxn>
                <a:cxn ang="0">
                  <a:pos x="52" y="54"/>
                </a:cxn>
                <a:cxn ang="0">
                  <a:pos x="21" y="80"/>
                </a:cxn>
                <a:cxn ang="0">
                  <a:pos x="0" y="77"/>
                </a:cxn>
                <a:cxn ang="0">
                  <a:pos x="0" y="60"/>
                </a:cxn>
                <a:cxn ang="0">
                  <a:pos x="18" y="63"/>
                </a:cxn>
                <a:cxn ang="0">
                  <a:pos x="32" y="56"/>
                </a:cxn>
                <a:cxn ang="0">
                  <a:pos x="23" y="48"/>
                </a:cxn>
                <a:cxn ang="0">
                  <a:pos x="19" y="47"/>
                </a:cxn>
                <a:cxn ang="0">
                  <a:pos x="0" y="24"/>
                </a:cxn>
                <a:cxn ang="0">
                  <a:pos x="28" y="0"/>
                </a:cxn>
                <a:cxn ang="0">
                  <a:pos x="47" y="3"/>
                </a:cxn>
                <a:cxn ang="0">
                  <a:pos x="47" y="19"/>
                </a:cxn>
              </a:cxnLst>
              <a:rect l="0" t="0" r="r" b="b"/>
              <a:pathLst>
                <a:path w="52" h="80">
                  <a:moveTo>
                    <a:pt x="47" y="19"/>
                  </a:moveTo>
                  <a:cubicBezTo>
                    <a:pt x="47" y="19"/>
                    <a:pt x="38" y="17"/>
                    <a:pt x="32" y="17"/>
                  </a:cubicBezTo>
                  <a:cubicBezTo>
                    <a:pt x="24" y="17"/>
                    <a:pt x="20" y="19"/>
                    <a:pt x="20" y="23"/>
                  </a:cubicBezTo>
                  <a:cubicBezTo>
                    <a:pt x="20" y="28"/>
                    <a:pt x="26" y="29"/>
                    <a:pt x="29" y="30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47" y="36"/>
                    <a:pt x="52" y="45"/>
                    <a:pt x="52" y="54"/>
                  </a:cubicBezTo>
                  <a:cubicBezTo>
                    <a:pt x="52" y="73"/>
                    <a:pt x="35" y="80"/>
                    <a:pt x="21" y="80"/>
                  </a:cubicBezTo>
                  <a:cubicBezTo>
                    <a:pt x="10" y="80"/>
                    <a:pt x="1" y="78"/>
                    <a:pt x="0" y="77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2" y="60"/>
                    <a:pt x="10" y="63"/>
                    <a:pt x="18" y="63"/>
                  </a:cubicBezTo>
                  <a:cubicBezTo>
                    <a:pt x="28" y="63"/>
                    <a:pt x="32" y="60"/>
                    <a:pt x="32" y="56"/>
                  </a:cubicBezTo>
                  <a:cubicBezTo>
                    <a:pt x="32" y="52"/>
                    <a:pt x="28" y="49"/>
                    <a:pt x="23" y="48"/>
                  </a:cubicBezTo>
                  <a:cubicBezTo>
                    <a:pt x="22" y="48"/>
                    <a:pt x="21" y="47"/>
                    <a:pt x="19" y="47"/>
                  </a:cubicBezTo>
                  <a:cubicBezTo>
                    <a:pt x="9" y="43"/>
                    <a:pt x="0" y="37"/>
                    <a:pt x="0" y="24"/>
                  </a:cubicBezTo>
                  <a:cubicBezTo>
                    <a:pt x="0" y="10"/>
                    <a:pt x="10" y="0"/>
                    <a:pt x="28" y="0"/>
                  </a:cubicBezTo>
                  <a:cubicBezTo>
                    <a:pt x="37" y="0"/>
                    <a:pt x="46" y="3"/>
                    <a:pt x="47" y="3"/>
                  </a:cubicBezTo>
                  <a:lnTo>
                    <a:pt x="4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invGray">
            <a:xfrm>
              <a:off x="2743200" y="1959807"/>
              <a:ext cx="157091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10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invGray">
            <a:xfrm>
              <a:off x="3183445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4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4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invGray">
            <a:xfrm>
              <a:off x="3615935" y="1442604"/>
              <a:ext cx="157091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10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5" y="120"/>
                    <a:pt x="10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invGray">
            <a:xfrm>
              <a:off x="4056180" y="1742036"/>
              <a:ext cx="157091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9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9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invGray">
            <a:xfrm>
              <a:off x="4486729" y="1959807"/>
              <a:ext cx="166790" cy="324711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10" y="39"/>
                </a:cxn>
                <a:cxn ang="0">
                  <a:pos x="20" y="30"/>
                </a:cxn>
                <a:cxn ang="0">
                  <a:pos x="20" y="10"/>
                </a:cxn>
              </a:cxnLst>
              <a:rect l="0" t="0" r="r" b="b"/>
              <a:pathLst>
                <a:path w="20" h="39">
                  <a:moveTo>
                    <a:pt x="20" y="10"/>
                  </a:moveTo>
                  <a:cubicBezTo>
                    <a:pt x="20" y="4"/>
                    <a:pt x="15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5" y="39"/>
                    <a:pt x="10" y="39"/>
                  </a:cubicBezTo>
                  <a:cubicBezTo>
                    <a:pt x="15" y="39"/>
                    <a:pt x="20" y="35"/>
                    <a:pt x="20" y="30"/>
                  </a:cubicBezTo>
                  <a:lnTo>
                    <a:pt x="20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invGray">
            <a:xfrm>
              <a:off x="4926975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4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invGray">
            <a:xfrm>
              <a:off x="5367223" y="1442604"/>
              <a:ext cx="159032" cy="999410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9" y="0"/>
                </a:cxn>
                <a:cxn ang="0">
                  <a:pos x="0" y="9"/>
                </a:cxn>
                <a:cxn ang="0">
                  <a:pos x="0" y="111"/>
                </a:cxn>
                <a:cxn ang="0">
                  <a:pos x="9" y="120"/>
                </a:cxn>
                <a:cxn ang="0">
                  <a:pos x="19" y="111"/>
                </a:cxn>
                <a:cxn ang="0">
                  <a:pos x="19" y="9"/>
                </a:cxn>
              </a:cxnLst>
              <a:rect l="0" t="0" r="r" b="b"/>
              <a:pathLst>
                <a:path w="19" h="120">
                  <a:moveTo>
                    <a:pt x="19" y="9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20"/>
                    <a:pt x="9" y="120"/>
                  </a:cubicBezTo>
                  <a:cubicBezTo>
                    <a:pt x="15" y="120"/>
                    <a:pt x="19" y="116"/>
                    <a:pt x="19" y="111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invGray">
            <a:xfrm>
              <a:off x="5799710" y="1742036"/>
              <a:ext cx="159032" cy="542482"/>
            </a:xfrm>
            <a:custGeom>
              <a:avLst/>
              <a:gdLst/>
              <a:ahLst/>
              <a:cxnLst>
                <a:cxn ang="0">
                  <a:pos x="19" y="9"/>
                </a:cxn>
                <a:cxn ang="0">
                  <a:pos x="10" y="0"/>
                </a:cxn>
                <a:cxn ang="0">
                  <a:pos x="0" y="9"/>
                </a:cxn>
                <a:cxn ang="0">
                  <a:pos x="0" y="56"/>
                </a:cxn>
                <a:cxn ang="0">
                  <a:pos x="10" y="65"/>
                </a:cxn>
                <a:cxn ang="0">
                  <a:pos x="19" y="56"/>
                </a:cxn>
                <a:cxn ang="0">
                  <a:pos x="19" y="9"/>
                </a:cxn>
              </a:cxnLst>
              <a:rect l="0" t="0" r="r" b="b"/>
              <a:pathLst>
                <a:path w="19" h="65">
                  <a:moveTo>
                    <a:pt x="19" y="9"/>
                  </a:moveTo>
                  <a:cubicBezTo>
                    <a:pt x="19" y="4"/>
                    <a:pt x="15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1"/>
                    <a:pt x="5" y="65"/>
                    <a:pt x="10" y="65"/>
                  </a:cubicBezTo>
                  <a:cubicBezTo>
                    <a:pt x="15" y="65"/>
                    <a:pt x="19" y="61"/>
                    <a:pt x="19" y="56"/>
                  </a:cubicBezTo>
                  <a:lnTo>
                    <a:pt x="19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invGray">
            <a:xfrm>
              <a:off x="6239955" y="1959807"/>
              <a:ext cx="159032" cy="324711"/>
            </a:xfrm>
            <a:custGeom>
              <a:avLst/>
              <a:gdLst/>
              <a:ahLst/>
              <a:cxnLst>
                <a:cxn ang="0">
                  <a:pos x="19" y="10"/>
                </a:cxn>
                <a:cxn ang="0">
                  <a:pos x="9" y="0"/>
                </a:cxn>
                <a:cxn ang="0">
                  <a:pos x="0" y="10"/>
                </a:cxn>
                <a:cxn ang="0">
                  <a:pos x="0" y="30"/>
                </a:cxn>
                <a:cxn ang="0">
                  <a:pos x="9" y="39"/>
                </a:cxn>
                <a:cxn ang="0">
                  <a:pos x="19" y="30"/>
                </a:cxn>
                <a:cxn ang="0">
                  <a:pos x="19" y="10"/>
                </a:cxn>
              </a:cxnLst>
              <a:rect l="0" t="0" r="r" b="b"/>
              <a:pathLst>
                <a:path w="19" h="39">
                  <a:moveTo>
                    <a:pt x="19" y="10"/>
                  </a:moveTo>
                  <a:cubicBezTo>
                    <a:pt x="19" y="4"/>
                    <a:pt x="15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5"/>
                    <a:pt x="4" y="39"/>
                    <a:pt x="9" y="39"/>
                  </a:cubicBezTo>
                  <a:cubicBezTo>
                    <a:pt x="15" y="39"/>
                    <a:pt x="19" y="35"/>
                    <a:pt x="19" y="30"/>
                  </a:cubicBezTo>
                  <a:lnTo>
                    <a:pt x="19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216960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FF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pic>
        <p:nvPicPr>
          <p:cNvPr id="19" name="Picture 18" descr="CISCO-Blue-PMS [Converted].pdf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8877" b="28877"/>
          <a:stretch/>
        </p:blipFill>
        <p:spPr>
          <a:xfrm>
            <a:off x="1977511" y="1689102"/>
            <a:ext cx="8236981" cy="3479803"/>
          </a:xfrm>
          <a:prstGeom prst="rect">
            <a:avLst/>
          </a:prstGeom>
        </p:spPr>
      </p:pic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>
    <p:wipe dir="r"/>
  </p:transition>
  <p:hf hdr="0" ftr="0" dt="0"/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0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1_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Kirk Mossing\Desktop\CURRENT JOBS\Cisco Live\Template\star full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3"/>
            <a:ext cx="12200466" cy="1572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128" y="55192"/>
            <a:ext cx="11217517" cy="102057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128" y="1767435"/>
            <a:ext cx="11217517" cy="4606041"/>
          </a:xfrm>
        </p:spPr>
        <p:txBody>
          <a:bodyPr lIns="121685" tIns="60843" rIns="121685" bIns="60843"/>
          <a:lstStyle>
            <a:lvl1pPr>
              <a:spcBef>
                <a:spcPts val="1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9956" y="1043178"/>
            <a:ext cx="11204448" cy="41833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685" tIns="60843" rIns="121685" bIns="60843"/>
          <a:lstStyle>
            <a:lvl1pPr marL="2381" indent="0">
              <a:buFontTx/>
              <a:buNone/>
              <a:defRPr lang="en-US" sz="2400" kern="1200" smtClean="0">
                <a:solidFill>
                  <a:schemeClr val="bg1"/>
                </a:solidFill>
                <a:latin typeface="Arial" pitchFamily="34" charset="0"/>
                <a:ea typeface="Apple LiGothic Medium" pitchFamily="2" charset="-120"/>
                <a:cs typeface="Arial" pitchFamily="34" charset="0"/>
              </a:defRPr>
            </a:lvl1pPr>
            <a:lvl2pPr marL="84360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2pPr>
            <a:lvl3pPr marL="47179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3pPr>
            <a:lvl4pPr marL="814076" indent="0">
              <a:buFontTx/>
              <a:buNone/>
              <a:defRPr lang="en-US" sz="2400" kern="1200" smtClean="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4pPr>
            <a:lvl5pPr marL="1279945" indent="0">
              <a:buFontTx/>
              <a:buNone/>
              <a:defRPr lang="en-US" sz="2400" kern="1200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711330" y="6605685"/>
            <a:ext cx="489137" cy="252317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pPr defTabSz="684559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pPr defTabSz="68455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010313" y="0"/>
            <a:ext cx="5181689" cy="228600"/>
          </a:xfrm>
        </p:spPr>
        <p:txBody>
          <a:bodyPr/>
          <a:lstStyle>
            <a:lvl1pPr algn="r">
              <a:buNone/>
              <a:defRPr sz="13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slideLayout" Target="../slideLayouts/slideLayout362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52.xml"/><Relationship Id="rId21" Type="http://schemas.openxmlformats.org/officeDocument/2006/relationships/image" Target="../media/image25.png"/><Relationship Id="rId7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1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351.xml"/><Relationship Id="rId16" Type="http://schemas.openxmlformats.org/officeDocument/2006/relationships/theme" Target="../theme/theme1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5" Type="http://schemas.openxmlformats.org/officeDocument/2006/relationships/slideLayout" Target="../slideLayouts/slideLayout364.xml"/><Relationship Id="rId10" Type="http://schemas.openxmlformats.org/officeDocument/2006/relationships/slideLayout" Target="../slideLayouts/slideLayout359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slideLayout" Target="../slideLayouts/slideLayout36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18" Type="http://schemas.openxmlformats.org/officeDocument/2006/relationships/slideLayout" Target="../slideLayouts/slideLayout382.xml"/><Relationship Id="rId26" Type="http://schemas.openxmlformats.org/officeDocument/2006/relationships/slideLayout" Target="../slideLayouts/slideLayout390.xml"/><Relationship Id="rId39" Type="http://schemas.openxmlformats.org/officeDocument/2006/relationships/slideLayout" Target="../slideLayouts/slideLayout403.xml"/><Relationship Id="rId3" Type="http://schemas.openxmlformats.org/officeDocument/2006/relationships/slideLayout" Target="../slideLayouts/slideLayout367.xml"/><Relationship Id="rId21" Type="http://schemas.openxmlformats.org/officeDocument/2006/relationships/slideLayout" Target="../slideLayouts/slideLayout385.xml"/><Relationship Id="rId34" Type="http://schemas.openxmlformats.org/officeDocument/2006/relationships/slideLayout" Target="../slideLayouts/slideLayout398.xml"/><Relationship Id="rId42" Type="http://schemas.openxmlformats.org/officeDocument/2006/relationships/image" Target="../media/image8.png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17" Type="http://schemas.openxmlformats.org/officeDocument/2006/relationships/slideLayout" Target="../slideLayouts/slideLayout381.xml"/><Relationship Id="rId25" Type="http://schemas.openxmlformats.org/officeDocument/2006/relationships/slideLayout" Target="../slideLayouts/slideLayout389.xml"/><Relationship Id="rId33" Type="http://schemas.openxmlformats.org/officeDocument/2006/relationships/slideLayout" Target="../slideLayouts/slideLayout397.xml"/><Relationship Id="rId38" Type="http://schemas.openxmlformats.org/officeDocument/2006/relationships/slideLayout" Target="../slideLayouts/slideLayout402.xml"/><Relationship Id="rId2" Type="http://schemas.openxmlformats.org/officeDocument/2006/relationships/slideLayout" Target="../slideLayouts/slideLayout366.xml"/><Relationship Id="rId16" Type="http://schemas.openxmlformats.org/officeDocument/2006/relationships/slideLayout" Target="../slideLayouts/slideLayout380.xml"/><Relationship Id="rId20" Type="http://schemas.openxmlformats.org/officeDocument/2006/relationships/slideLayout" Target="../slideLayouts/slideLayout384.xml"/><Relationship Id="rId29" Type="http://schemas.openxmlformats.org/officeDocument/2006/relationships/slideLayout" Target="../slideLayouts/slideLayout393.xml"/><Relationship Id="rId41" Type="http://schemas.openxmlformats.org/officeDocument/2006/relationships/theme" Target="../theme/theme11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24" Type="http://schemas.openxmlformats.org/officeDocument/2006/relationships/slideLayout" Target="../slideLayouts/slideLayout388.xml"/><Relationship Id="rId32" Type="http://schemas.openxmlformats.org/officeDocument/2006/relationships/slideLayout" Target="../slideLayouts/slideLayout396.xml"/><Relationship Id="rId37" Type="http://schemas.openxmlformats.org/officeDocument/2006/relationships/slideLayout" Target="../slideLayouts/slideLayout401.xml"/><Relationship Id="rId40" Type="http://schemas.openxmlformats.org/officeDocument/2006/relationships/slideLayout" Target="../slideLayouts/slideLayout404.xml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23" Type="http://schemas.openxmlformats.org/officeDocument/2006/relationships/slideLayout" Target="../slideLayouts/slideLayout387.xml"/><Relationship Id="rId28" Type="http://schemas.openxmlformats.org/officeDocument/2006/relationships/slideLayout" Target="../slideLayouts/slideLayout392.xml"/><Relationship Id="rId36" Type="http://schemas.openxmlformats.org/officeDocument/2006/relationships/slideLayout" Target="../slideLayouts/slideLayout400.xml"/><Relationship Id="rId10" Type="http://schemas.openxmlformats.org/officeDocument/2006/relationships/slideLayout" Target="../slideLayouts/slideLayout374.xml"/><Relationship Id="rId19" Type="http://schemas.openxmlformats.org/officeDocument/2006/relationships/slideLayout" Target="../slideLayouts/slideLayout383.xml"/><Relationship Id="rId31" Type="http://schemas.openxmlformats.org/officeDocument/2006/relationships/slideLayout" Target="../slideLayouts/slideLayout395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Relationship Id="rId22" Type="http://schemas.openxmlformats.org/officeDocument/2006/relationships/slideLayout" Target="../slideLayouts/slideLayout386.xml"/><Relationship Id="rId27" Type="http://schemas.openxmlformats.org/officeDocument/2006/relationships/slideLayout" Target="../slideLayouts/slideLayout391.xml"/><Relationship Id="rId30" Type="http://schemas.openxmlformats.org/officeDocument/2006/relationships/slideLayout" Target="../slideLayouts/slideLayout394.xml"/><Relationship Id="rId35" Type="http://schemas.openxmlformats.org/officeDocument/2006/relationships/slideLayout" Target="../slideLayouts/slideLayout39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2.xml"/><Relationship Id="rId13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22.xml"/><Relationship Id="rId26" Type="http://schemas.openxmlformats.org/officeDocument/2006/relationships/slideLayout" Target="../slideLayouts/slideLayout430.xml"/><Relationship Id="rId3" Type="http://schemas.openxmlformats.org/officeDocument/2006/relationships/slideLayout" Target="../slideLayouts/slideLayout407.xml"/><Relationship Id="rId21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21.xml"/><Relationship Id="rId25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406.xml"/><Relationship Id="rId16" Type="http://schemas.openxmlformats.org/officeDocument/2006/relationships/slideLayout" Target="../slideLayouts/slideLayout420.xml"/><Relationship Id="rId20" Type="http://schemas.openxmlformats.org/officeDocument/2006/relationships/slideLayout" Target="../slideLayouts/slideLayout424.xml"/><Relationship Id="rId29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15.xml"/><Relationship Id="rId24" Type="http://schemas.openxmlformats.org/officeDocument/2006/relationships/slideLayout" Target="../slideLayouts/slideLayout428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409.xml"/><Relationship Id="rId15" Type="http://schemas.openxmlformats.org/officeDocument/2006/relationships/slideLayout" Target="../slideLayouts/slideLayout419.xml"/><Relationship Id="rId23" Type="http://schemas.openxmlformats.org/officeDocument/2006/relationships/slideLayout" Target="../slideLayouts/slideLayout427.xml"/><Relationship Id="rId28" Type="http://schemas.openxmlformats.org/officeDocument/2006/relationships/slideLayout" Target="../slideLayouts/slideLayout432.xml"/><Relationship Id="rId10" Type="http://schemas.openxmlformats.org/officeDocument/2006/relationships/slideLayout" Target="../slideLayouts/slideLayout414.xml"/><Relationship Id="rId19" Type="http://schemas.openxmlformats.org/officeDocument/2006/relationships/slideLayout" Target="../slideLayouts/slideLayout423.xml"/><Relationship Id="rId31" Type="http://schemas.openxmlformats.org/officeDocument/2006/relationships/slideLayout" Target="../slideLayouts/slideLayout435.xml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4" Type="http://schemas.openxmlformats.org/officeDocument/2006/relationships/slideLayout" Target="../slideLayouts/slideLayout418.xml"/><Relationship Id="rId22" Type="http://schemas.openxmlformats.org/officeDocument/2006/relationships/slideLayout" Target="../slideLayouts/slideLayout426.xml"/><Relationship Id="rId27" Type="http://schemas.openxmlformats.org/officeDocument/2006/relationships/slideLayout" Target="../slideLayouts/slideLayout431.xml"/><Relationship Id="rId30" Type="http://schemas.openxmlformats.org/officeDocument/2006/relationships/slideLayout" Target="../slideLayouts/slideLayout4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3.xml"/><Relationship Id="rId13" Type="http://schemas.openxmlformats.org/officeDocument/2006/relationships/slideLayout" Target="../slideLayouts/slideLayout448.xml"/><Relationship Id="rId18" Type="http://schemas.openxmlformats.org/officeDocument/2006/relationships/slideLayout" Target="../slideLayouts/slideLayout453.xml"/><Relationship Id="rId26" Type="http://schemas.openxmlformats.org/officeDocument/2006/relationships/slideLayout" Target="../slideLayouts/slideLayout461.xml"/><Relationship Id="rId39" Type="http://schemas.openxmlformats.org/officeDocument/2006/relationships/tags" Target="../tags/tag7.xml"/><Relationship Id="rId3" Type="http://schemas.openxmlformats.org/officeDocument/2006/relationships/slideLayout" Target="../slideLayouts/slideLayout438.xml"/><Relationship Id="rId21" Type="http://schemas.openxmlformats.org/officeDocument/2006/relationships/slideLayout" Target="../slideLayouts/slideLayout456.xml"/><Relationship Id="rId34" Type="http://schemas.openxmlformats.org/officeDocument/2006/relationships/slideLayout" Target="../slideLayouts/slideLayout469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42.xml"/><Relationship Id="rId12" Type="http://schemas.openxmlformats.org/officeDocument/2006/relationships/slideLayout" Target="../slideLayouts/slideLayout447.xml"/><Relationship Id="rId17" Type="http://schemas.openxmlformats.org/officeDocument/2006/relationships/slideLayout" Target="../slideLayouts/slideLayout452.xml"/><Relationship Id="rId25" Type="http://schemas.openxmlformats.org/officeDocument/2006/relationships/slideLayout" Target="../slideLayouts/slideLayout460.xml"/><Relationship Id="rId33" Type="http://schemas.openxmlformats.org/officeDocument/2006/relationships/slideLayout" Target="../slideLayouts/slideLayout468.xml"/><Relationship Id="rId38" Type="http://schemas.openxmlformats.org/officeDocument/2006/relationships/vmlDrawing" Target="../drawings/vmlDrawing5.vml"/><Relationship Id="rId2" Type="http://schemas.openxmlformats.org/officeDocument/2006/relationships/slideLayout" Target="../slideLayouts/slideLayout437.xml"/><Relationship Id="rId16" Type="http://schemas.openxmlformats.org/officeDocument/2006/relationships/slideLayout" Target="../slideLayouts/slideLayout451.xml"/><Relationship Id="rId20" Type="http://schemas.openxmlformats.org/officeDocument/2006/relationships/slideLayout" Target="../slideLayouts/slideLayout455.xml"/><Relationship Id="rId29" Type="http://schemas.openxmlformats.org/officeDocument/2006/relationships/slideLayout" Target="../slideLayouts/slideLayout464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36.xml"/><Relationship Id="rId6" Type="http://schemas.openxmlformats.org/officeDocument/2006/relationships/slideLayout" Target="../slideLayouts/slideLayout441.xml"/><Relationship Id="rId11" Type="http://schemas.openxmlformats.org/officeDocument/2006/relationships/slideLayout" Target="../slideLayouts/slideLayout446.xml"/><Relationship Id="rId24" Type="http://schemas.openxmlformats.org/officeDocument/2006/relationships/slideLayout" Target="../slideLayouts/slideLayout459.xml"/><Relationship Id="rId32" Type="http://schemas.openxmlformats.org/officeDocument/2006/relationships/slideLayout" Target="../slideLayouts/slideLayout467.xml"/><Relationship Id="rId37" Type="http://schemas.openxmlformats.org/officeDocument/2006/relationships/theme" Target="../theme/theme13.xml"/><Relationship Id="rId40" Type="http://schemas.openxmlformats.org/officeDocument/2006/relationships/oleObject" Target="../embeddings/oleObject5.bin"/><Relationship Id="rId5" Type="http://schemas.openxmlformats.org/officeDocument/2006/relationships/slideLayout" Target="../slideLayouts/slideLayout440.xml"/><Relationship Id="rId15" Type="http://schemas.openxmlformats.org/officeDocument/2006/relationships/slideLayout" Target="../slideLayouts/slideLayout450.xml"/><Relationship Id="rId23" Type="http://schemas.openxmlformats.org/officeDocument/2006/relationships/slideLayout" Target="../slideLayouts/slideLayout458.xml"/><Relationship Id="rId28" Type="http://schemas.openxmlformats.org/officeDocument/2006/relationships/slideLayout" Target="../slideLayouts/slideLayout463.xml"/><Relationship Id="rId36" Type="http://schemas.openxmlformats.org/officeDocument/2006/relationships/slideLayout" Target="../slideLayouts/slideLayout471.xml"/><Relationship Id="rId10" Type="http://schemas.openxmlformats.org/officeDocument/2006/relationships/slideLayout" Target="../slideLayouts/slideLayout445.xml"/><Relationship Id="rId19" Type="http://schemas.openxmlformats.org/officeDocument/2006/relationships/slideLayout" Target="../slideLayouts/slideLayout454.xml"/><Relationship Id="rId31" Type="http://schemas.openxmlformats.org/officeDocument/2006/relationships/slideLayout" Target="../slideLayouts/slideLayout466.xml"/><Relationship Id="rId4" Type="http://schemas.openxmlformats.org/officeDocument/2006/relationships/slideLayout" Target="../slideLayouts/slideLayout439.xml"/><Relationship Id="rId9" Type="http://schemas.openxmlformats.org/officeDocument/2006/relationships/slideLayout" Target="../slideLayouts/slideLayout444.xml"/><Relationship Id="rId14" Type="http://schemas.openxmlformats.org/officeDocument/2006/relationships/slideLayout" Target="../slideLayouts/slideLayout449.xml"/><Relationship Id="rId22" Type="http://schemas.openxmlformats.org/officeDocument/2006/relationships/slideLayout" Target="../slideLayouts/slideLayout457.xml"/><Relationship Id="rId27" Type="http://schemas.openxmlformats.org/officeDocument/2006/relationships/slideLayout" Target="../slideLayouts/slideLayout462.xml"/><Relationship Id="rId30" Type="http://schemas.openxmlformats.org/officeDocument/2006/relationships/slideLayout" Target="../slideLayouts/slideLayout465.xml"/><Relationship Id="rId35" Type="http://schemas.openxmlformats.org/officeDocument/2006/relationships/slideLayout" Target="../slideLayouts/slideLayout47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9.xml"/><Relationship Id="rId13" Type="http://schemas.openxmlformats.org/officeDocument/2006/relationships/slideLayout" Target="../slideLayouts/slideLayout484.xml"/><Relationship Id="rId18" Type="http://schemas.openxmlformats.org/officeDocument/2006/relationships/slideLayout" Target="../slideLayouts/slideLayout489.xml"/><Relationship Id="rId26" Type="http://schemas.openxmlformats.org/officeDocument/2006/relationships/slideLayout" Target="../slideLayouts/slideLayout497.xml"/><Relationship Id="rId39" Type="http://schemas.openxmlformats.org/officeDocument/2006/relationships/tags" Target="../tags/tag8.xml"/><Relationship Id="rId3" Type="http://schemas.openxmlformats.org/officeDocument/2006/relationships/slideLayout" Target="../slideLayouts/slideLayout474.xml"/><Relationship Id="rId21" Type="http://schemas.openxmlformats.org/officeDocument/2006/relationships/slideLayout" Target="../slideLayouts/slideLayout492.xml"/><Relationship Id="rId34" Type="http://schemas.openxmlformats.org/officeDocument/2006/relationships/slideLayout" Target="../slideLayouts/slideLayout505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478.xml"/><Relationship Id="rId12" Type="http://schemas.openxmlformats.org/officeDocument/2006/relationships/slideLayout" Target="../slideLayouts/slideLayout483.xml"/><Relationship Id="rId17" Type="http://schemas.openxmlformats.org/officeDocument/2006/relationships/slideLayout" Target="../slideLayouts/slideLayout488.xml"/><Relationship Id="rId25" Type="http://schemas.openxmlformats.org/officeDocument/2006/relationships/slideLayout" Target="../slideLayouts/slideLayout496.xml"/><Relationship Id="rId33" Type="http://schemas.openxmlformats.org/officeDocument/2006/relationships/slideLayout" Target="../slideLayouts/slideLayout504.xml"/><Relationship Id="rId38" Type="http://schemas.openxmlformats.org/officeDocument/2006/relationships/vmlDrawing" Target="../drawings/vmlDrawing6.vml"/><Relationship Id="rId2" Type="http://schemas.openxmlformats.org/officeDocument/2006/relationships/slideLayout" Target="../slideLayouts/slideLayout473.xml"/><Relationship Id="rId16" Type="http://schemas.openxmlformats.org/officeDocument/2006/relationships/slideLayout" Target="../slideLayouts/slideLayout487.xml"/><Relationship Id="rId20" Type="http://schemas.openxmlformats.org/officeDocument/2006/relationships/slideLayout" Target="../slideLayouts/slideLayout491.xml"/><Relationship Id="rId29" Type="http://schemas.openxmlformats.org/officeDocument/2006/relationships/slideLayout" Target="../slideLayouts/slideLayout50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472.xml"/><Relationship Id="rId6" Type="http://schemas.openxmlformats.org/officeDocument/2006/relationships/slideLayout" Target="../slideLayouts/slideLayout477.xml"/><Relationship Id="rId11" Type="http://schemas.openxmlformats.org/officeDocument/2006/relationships/slideLayout" Target="../slideLayouts/slideLayout482.xml"/><Relationship Id="rId24" Type="http://schemas.openxmlformats.org/officeDocument/2006/relationships/slideLayout" Target="../slideLayouts/slideLayout495.xml"/><Relationship Id="rId32" Type="http://schemas.openxmlformats.org/officeDocument/2006/relationships/slideLayout" Target="../slideLayouts/slideLayout503.xml"/><Relationship Id="rId37" Type="http://schemas.openxmlformats.org/officeDocument/2006/relationships/theme" Target="../theme/theme14.xml"/><Relationship Id="rId40" Type="http://schemas.openxmlformats.org/officeDocument/2006/relationships/oleObject" Target="../embeddings/oleObject6.bin"/><Relationship Id="rId5" Type="http://schemas.openxmlformats.org/officeDocument/2006/relationships/slideLayout" Target="../slideLayouts/slideLayout476.xml"/><Relationship Id="rId15" Type="http://schemas.openxmlformats.org/officeDocument/2006/relationships/slideLayout" Target="../slideLayouts/slideLayout486.xml"/><Relationship Id="rId23" Type="http://schemas.openxmlformats.org/officeDocument/2006/relationships/slideLayout" Target="../slideLayouts/slideLayout494.xml"/><Relationship Id="rId28" Type="http://schemas.openxmlformats.org/officeDocument/2006/relationships/slideLayout" Target="../slideLayouts/slideLayout499.xml"/><Relationship Id="rId36" Type="http://schemas.openxmlformats.org/officeDocument/2006/relationships/slideLayout" Target="../slideLayouts/slideLayout507.xml"/><Relationship Id="rId10" Type="http://schemas.openxmlformats.org/officeDocument/2006/relationships/slideLayout" Target="../slideLayouts/slideLayout481.xml"/><Relationship Id="rId19" Type="http://schemas.openxmlformats.org/officeDocument/2006/relationships/slideLayout" Target="../slideLayouts/slideLayout490.xml"/><Relationship Id="rId31" Type="http://schemas.openxmlformats.org/officeDocument/2006/relationships/slideLayout" Target="../slideLayouts/slideLayout502.xml"/><Relationship Id="rId4" Type="http://schemas.openxmlformats.org/officeDocument/2006/relationships/slideLayout" Target="../slideLayouts/slideLayout475.xml"/><Relationship Id="rId9" Type="http://schemas.openxmlformats.org/officeDocument/2006/relationships/slideLayout" Target="../slideLayouts/slideLayout480.xml"/><Relationship Id="rId14" Type="http://schemas.openxmlformats.org/officeDocument/2006/relationships/slideLayout" Target="../slideLayouts/slideLayout485.xml"/><Relationship Id="rId22" Type="http://schemas.openxmlformats.org/officeDocument/2006/relationships/slideLayout" Target="../slideLayouts/slideLayout493.xml"/><Relationship Id="rId27" Type="http://schemas.openxmlformats.org/officeDocument/2006/relationships/slideLayout" Target="../slideLayouts/slideLayout498.xml"/><Relationship Id="rId30" Type="http://schemas.openxmlformats.org/officeDocument/2006/relationships/slideLayout" Target="../slideLayouts/slideLayout501.xml"/><Relationship Id="rId35" Type="http://schemas.openxmlformats.org/officeDocument/2006/relationships/slideLayout" Target="../slideLayouts/slideLayout50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5.xml"/><Relationship Id="rId13" Type="http://schemas.openxmlformats.org/officeDocument/2006/relationships/slideLayout" Target="../slideLayouts/slideLayout520.xml"/><Relationship Id="rId18" Type="http://schemas.openxmlformats.org/officeDocument/2006/relationships/slideLayout" Target="../slideLayouts/slideLayout525.xml"/><Relationship Id="rId26" Type="http://schemas.openxmlformats.org/officeDocument/2006/relationships/slideLayout" Target="../slideLayouts/slideLayout533.xml"/><Relationship Id="rId39" Type="http://schemas.openxmlformats.org/officeDocument/2006/relationships/tags" Target="../tags/tag9.xml"/><Relationship Id="rId3" Type="http://schemas.openxmlformats.org/officeDocument/2006/relationships/slideLayout" Target="../slideLayouts/slideLayout510.xml"/><Relationship Id="rId21" Type="http://schemas.openxmlformats.org/officeDocument/2006/relationships/slideLayout" Target="../slideLayouts/slideLayout528.xml"/><Relationship Id="rId34" Type="http://schemas.openxmlformats.org/officeDocument/2006/relationships/slideLayout" Target="../slideLayouts/slideLayout541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14.xml"/><Relationship Id="rId12" Type="http://schemas.openxmlformats.org/officeDocument/2006/relationships/slideLayout" Target="../slideLayouts/slideLayout519.xml"/><Relationship Id="rId17" Type="http://schemas.openxmlformats.org/officeDocument/2006/relationships/slideLayout" Target="../slideLayouts/slideLayout524.xml"/><Relationship Id="rId25" Type="http://schemas.openxmlformats.org/officeDocument/2006/relationships/slideLayout" Target="../slideLayouts/slideLayout532.xml"/><Relationship Id="rId33" Type="http://schemas.openxmlformats.org/officeDocument/2006/relationships/slideLayout" Target="../slideLayouts/slideLayout540.xml"/><Relationship Id="rId38" Type="http://schemas.openxmlformats.org/officeDocument/2006/relationships/vmlDrawing" Target="../drawings/vmlDrawing7.vml"/><Relationship Id="rId2" Type="http://schemas.openxmlformats.org/officeDocument/2006/relationships/slideLayout" Target="../slideLayouts/slideLayout509.xml"/><Relationship Id="rId16" Type="http://schemas.openxmlformats.org/officeDocument/2006/relationships/slideLayout" Target="../slideLayouts/slideLayout523.xml"/><Relationship Id="rId20" Type="http://schemas.openxmlformats.org/officeDocument/2006/relationships/slideLayout" Target="../slideLayouts/slideLayout527.xml"/><Relationship Id="rId29" Type="http://schemas.openxmlformats.org/officeDocument/2006/relationships/slideLayout" Target="../slideLayouts/slideLayout53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08.xml"/><Relationship Id="rId6" Type="http://schemas.openxmlformats.org/officeDocument/2006/relationships/slideLayout" Target="../slideLayouts/slideLayout513.xml"/><Relationship Id="rId11" Type="http://schemas.openxmlformats.org/officeDocument/2006/relationships/slideLayout" Target="../slideLayouts/slideLayout518.xml"/><Relationship Id="rId24" Type="http://schemas.openxmlformats.org/officeDocument/2006/relationships/slideLayout" Target="../slideLayouts/slideLayout531.xml"/><Relationship Id="rId32" Type="http://schemas.openxmlformats.org/officeDocument/2006/relationships/slideLayout" Target="../slideLayouts/slideLayout539.xml"/><Relationship Id="rId37" Type="http://schemas.openxmlformats.org/officeDocument/2006/relationships/theme" Target="../theme/theme15.x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512.xml"/><Relationship Id="rId15" Type="http://schemas.openxmlformats.org/officeDocument/2006/relationships/slideLayout" Target="../slideLayouts/slideLayout522.xml"/><Relationship Id="rId23" Type="http://schemas.openxmlformats.org/officeDocument/2006/relationships/slideLayout" Target="../slideLayouts/slideLayout530.xml"/><Relationship Id="rId28" Type="http://schemas.openxmlformats.org/officeDocument/2006/relationships/slideLayout" Target="../slideLayouts/slideLayout535.xml"/><Relationship Id="rId36" Type="http://schemas.openxmlformats.org/officeDocument/2006/relationships/slideLayout" Target="../slideLayouts/slideLayout543.xml"/><Relationship Id="rId10" Type="http://schemas.openxmlformats.org/officeDocument/2006/relationships/slideLayout" Target="../slideLayouts/slideLayout517.xml"/><Relationship Id="rId19" Type="http://schemas.openxmlformats.org/officeDocument/2006/relationships/slideLayout" Target="../slideLayouts/slideLayout526.xml"/><Relationship Id="rId31" Type="http://schemas.openxmlformats.org/officeDocument/2006/relationships/slideLayout" Target="../slideLayouts/slideLayout538.xml"/><Relationship Id="rId4" Type="http://schemas.openxmlformats.org/officeDocument/2006/relationships/slideLayout" Target="../slideLayouts/slideLayout511.xml"/><Relationship Id="rId9" Type="http://schemas.openxmlformats.org/officeDocument/2006/relationships/slideLayout" Target="../slideLayouts/slideLayout516.xml"/><Relationship Id="rId14" Type="http://schemas.openxmlformats.org/officeDocument/2006/relationships/slideLayout" Target="../slideLayouts/slideLayout521.xml"/><Relationship Id="rId22" Type="http://schemas.openxmlformats.org/officeDocument/2006/relationships/slideLayout" Target="../slideLayouts/slideLayout529.xml"/><Relationship Id="rId27" Type="http://schemas.openxmlformats.org/officeDocument/2006/relationships/slideLayout" Target="../slideLayouts/slideLayout534.xml"/><Relationship Id="rId30" Type="http://schemas.openxmlformats.org/officeDocument/2006/relationships/slideLayout" Target="../slideLayouts/slideLayout537.xml"/><Relationship Id="rId35" Type="http://schemas.openxmlformats.org/officeDocument/2006/relationships/slideLayout" Target="../slideLayouts/slideLayout54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1.xml"/><Relationship Id="rId13" Type="http://schemas.openxmlformats.org/officeDocument/2006/relationships/slideLayout" Target="../slideLayouts/slideLayout556.xml"/><Relationship Id="rId18" Type="http://schemas.openxmlformats.org/officeDocument/2006/relationships/slideLayout" Target="../slideLayouts/slideLayout561.xml"/><Relationship Id="rId26" Type="http://schemas.openxmlformats.org/officeDocument/2006/relationships/slideLayout" Target="../slideLayouts/slideLayout569.xml"/><Relationship Id="rId39" Type="http://schemas.openxmlformats.org/officeDocument/2006/relationships/slideLayout" Target="../slideLayouts/slideLayout582.xml"/><Relationship Id="rId3" Type="http://schemas.openxmlformats.org/officeDocument/2006/relationships/slideLayout" Target="../slideLayouts/slideLayout546.xml"/><Relationship Id="rId21" Type="http://schemas.openxmlformats.org/officeDocument/2006/relationships/slideLayout" Target="../slideLayouts/slideLayout564.xml"/><Relationship Id="rId34" Type="http://schemas.openxmlformats.org/officeDocument/2006/relationships/slideLayout" Target="../slideLayouts/slideLayout577.xml"/><Relationship Id="rId42" Type="http://schemas.openxmlformats.org/officeDocument/2006/relationships/image" Target="../media/image8.png"/><Relationship Id="rId7" Type="http://schemas.openxmlformats.org/officeDocument/2006/relationships/slideLayout" Target="../slideLayouts/slideLayout550.xml"/><Relationship Id="rId12" Type="http://schemas.openxmlformats.org/officeDocument/2006/relationships/slideLayout" Target="../slideLayouts/slideLayout555.xml"/><Relationship Id="rId17" Type="http://schemas.openxmlformats.org/officeDocument/2006/relationships/slideLayout" Target="../slideLayouts/slideLayout560.xml"/><Relationship Id="rId25" Type="http://schemas.openxmlformats.org/officeDocument/2006/relationships/slideLayout" Target="../slideLayouts/slideLayout568.xml"/><Relationship Id="rId33" Type="http://schemas.openxmlformats.org/officeDocument/2006/relationships/slideLayout" Target="../slideLayouts/slideLayout576.xml"/><Relationship Id="rId38" Type="http://schemas.openxmlformats.org/officeDocument/2006/relationships/slideLayout" Target="../slideLayouts/slideLayout581.xml"/><Relationship Id="rId2" Type="http://schemas.openxmlformats.org/officeDocument/2006/relationships/slideLayout" Target="../slideLayouts/slideLayout545.xml"/><Relationship Id="rId16" Type="http://schemas.openxmlformats.org/officeDocument/2006/relationships/slideLayout" Target="../slideLayouts/slideLayout559.xml"/><Relationship Id="rId20" Type="http://schemas.openxmlformats.org/officeDocument/2006/relationships/slideLayout" Target="../slideLayouts/slideLayout563.xml"/><Relationship Id="rId29" Type="http://schemas.openxmlformats.org/officeDocument/2006/relationships/slideLayout" Target="../slideLayouts/slideLayout572.xml"/><Relationship Id="rId41" Type="http://schemas.openxmlformats.org/officeDocument/2006/relationships/theme" Target="../theme/theme16.xml"/><Relationship Id="rId1" Type="http://schemas.openxmlformats.org/officeDocument/2006/relationships/slideLayout" Target="../slideLayouts/slideLayout544.xml"/><Relationship Id="rId6" Type="http://schemas.openxmlformats.org/officeDocument/2006/relationships/slideLayout" Target="../slideLayouts/slideLayout549.xml"/><Relationship Id="rId11" Type="http://schemas.openxmlformats.org/officeDocument/2006/relationships/slideLayout" Target="../slideLayouts/slideLayout554.xml"/><Relationship Id="rId24" Type="http://schemas.openxmlformats.org/officeDocument/2006/relationships/slideLayout" Target="../slideLayouts/slideLayout567.xml"/><Relationship Id="rId32" Type="http://schemas.openxmlformats.org/officeDocument/2006/relationships/slideLayout" Target="../slideLayouts/slideLayout575.xml"/><Relationship Id="rId37" Type="http://schemas.openxmlformats.org/officeDocument/2006/relationships/slideLayout" Target="../slideLayouts/slideLayout580.xml"/><Relationship Id="rId40" Type="http://schemas.openxmlformats.org/officeDocument/2006/relationships/slideLayout" Target="../slideLayouts/slideLayout583.xml"/><Relationship Id="rId5" Type="http://schemas.openxmlformats.org/officeDocument/2006/relationships/slideLayout" Target="../slideLayouts/slideLayout548.xml"/><Relationship Id="rId15" Type="http://schemas.openxmlformats.org/officeDocument/2006/relationships/slideLayout" Target="../slideLayouts/slideLayout558.xml"/><Relationship Id="rId23" Type="http://schemas.openxmlformats.org/officeDocument/2006/relationships/slideLayout" Target="../slideLayouts/slideLayout566.xml"/><Relationship Id="rId28" Type="http://schemas.openxmlformats.org/officeDocument/2006/relationships/slideLayout" Target="../slideLayouts/slideLayout571.xml"/><Relationship Id="rId36" Type="http://schemas.openxmlformats.org/officeDocument/2006/relationships/slideLayout" Target="../slideLayouts/slideLayout579.xml"/><Relationship Id="rId10" Type="http://schemas.openxmlformats.org/officeDocument/2006/relationships/slideLayout" Target="../slideLayouts/slideLayout553.xml"/><Relationship Id="rId19" Type="http://schemas.openxmlformats.org/officeDocument/2006/relationships/slideLayout" Target="../slideLayouts/slideLayout562.xml"/><Relationship Id="rId31" Type="http://schemas.openxmlformats.org/officeDocument/2006/relationships/slideLayout" Target="../slideLayouts/slideLayout574.xml"/><Relationship Id="rId4" Type="http://schemas.openxmlformats.org/officeDocument/2006/relationships/slideLayout" Target="../slideLayouts/slideLayout547.xml"/><Relationship Id="rId9" Type="http://schemas.openxmlformats.org/officeDocument/2006/relationships/slideLayout" Target="../slideLayouts/slideLayout552.xml"/><Relationship Id="rId14" Type="http://schemas.openxmlformats.org/officeDocument/2006/relationships/slideLayout" Target="../slideLayouts/slideLayout557.xml"/><Relationship Id="rId22" Type="http://schemas.openxmlformats.org/officeDocument/2006/relationships/slideLayout" Target="../slideLayouts/slideLayout565.xml"/><Relationship Id="rId27" Type="http://schemas.openxmlformats.org/officeDocument/2006/relationships/slideLayout" Target="../slideLayouts/slideLayout570.xml"/><Relationship Id="rId30" Type="http://schemas.openxmlformats.org/officeDocument/2006/relationships/slideLayout" Target="../slideLayouts/slideLayout573.xml"/><Relationship Id="rId35" Type="http://schemas.openxmlformats.org/officeDocument/2006/relationships/slideLayout" Target="../slideLayouts/slideLayout5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1.xml"/><Relationship Id="rId13" Type="http://schemas.openxmlformats.org/officeDocument/2006/relationships/slideLayout" Target="../slideLayouts/slideLayout596.xml"/><Relationship Id="rId18" Type="http://schemas.openxmlformats.org/officeDocument/2006/relationships/slideLayout" Target="../slideLayouts/slideLayout601.xml"/><Relationship Id="rId26" Type="http://schemas.openxmlformats.org/officeDocument/2006/relationships/slideLayout" Target="../slideLayouts/slideLayout609.xml"/><Relationship Id="rId39" Type="http://schemas.openxmlformats.org/officeDocument/2006/relationships/tags" Target="../tags/tag10.xml"/><Relationship Id="rId3" Type="http://schemas.openxmlformats.org/officeDocument/2006/relationships/slideLayout" Target="../slideLayouts/slideLayout586.xml"/><Relationship Id="rId21" Type="http://schemas.openxmlformats.org/officeDocument/2006/relationships/slideLayout" Target="../slideLayouts/slideLayout604.xml"/><Relationship Id="rId34" Type="http://schemas.openxmlformats.org/officeDocument/2006/relationships/slideLayout" Target="../slideLayouts/slideLayout617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590.xml"/><Relationship Id="rId12" Type="http://schemas.openxmlformats.org/officeDocument/2006/relationships/slideLayout" Target="../slideLayouts/slideLayout595.xml"/><Relationship Id="rId17" Type="http://schemas.openxmlformats.org/officeDocument/2006/relationships/slideLayout" Target="../slideLayouts/slideLayout600.xml"/><Relationship Id="rId25" Type="http://schemas.openxmlformats.org/officeDocument/2006/relationships/slideLayout" Target="../slideLayouts/slideLayout608.xml"/><Relationship Id="rId33" Type="http://schemas.openxmlformats.org/officeDocument/2006/relationships/slideLayout" Target="../slideLayouts/slideLayout616.xml"/><Relationship Id="rId38" Type="http://schemas.openxmlformats.org/officeDocument/2006/relationships/vmlDrawing" Target="../drawings/vmlDrawing8.vml"/><Relationship Id="rId2" Type="http://schemas.openxmlformats.org/officeDocument/2006/relationships/slideLayout" Target="../slideLayouts/slideLayout585.xml"/><Relationship Id="rId16" Type="http://schemas.openxmlformats.org/officeDocument/2006/relationships/slideLayout" Target="../slideLayouts/slideLayout599.xml"/><Relationship Id="rId20" Type="http://schemas.openxmlformats.org/officeDocument/2006/relationships/slideLayout" Target="../slideLayouts/slideLayout603.xml"/><Relationship Id="rId29" Type="http://schemas.openxmlformats.org/officeDocument/2006/relationships/slideLayout" Target="../slideLayouts/slideLayout612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584.xml"/><Relationship Id="rId6" Type="http://schemas.openxmlformats.org/officeDocument/2006/relationships/slideLayout" Target="../slideLayouts/slideLayout589.xml"/><Relationship Id="rId11" Type="http://schemas.openxmlformats.org/officeDocument/2006/relationships/slideLayout" Target="../slideLayouts/slideLayout594.xml"/><Relationship Id="rId24" Type="http://schemas.openxmlformats.org/officeDocument/2006/relationships/slideLayout" Target="../slideLayouts/slideLayout607.xml"/><Relationship Id="rId32" Type="http://schemas.openxmlformats.org/officeDocument/2006/relationships/slideLayout" Target="../slideLayouts/slideLayout615.xml"/><Relationship Id="rId37" Type="http://schemas.openxmlformats.org/officeDocument/2006/relationships/theme" Target="../theme/theme17.xml"/><Relationship Id="rId40" Type="http://schemas.openxmlformats.org/officeDocument/2006/relationships/oleObject" Target="../embeddings/oleObject8.bin"/><Relationship Id="rId5" Type="http://schemas.openxmlformats.org/officeDocument/2006/relationships/slideLayout" Target="../slideLayouts/slideLayout588.xml"/><Relationship Id="rId15" Type="http://schemas.openxmlformats.org/officeDocument/2006/relationships/slideLayout" Target="../slideLayouts/slideLayout598.xml"/><Relationship Id="rId23" Type="http://schemas.openxmlformats.org/officeDocument/2006/relationships/slideLayout" Target="../slideLayouts/slideLayout606.xml"/><Relationship Id="rId28" Type="http://schemas.openxmlformats.org/officeDocument/2006/relationships/slideLayout" Target="../slideLayouts/slideLayout611.xml"/><Relationship Id="rId36" Type="http://schemas.openxmlformats.org/officeDocument/2006/relationships/slideLayout" Target="../slideLayouts/slideLayout619.xml"/><Relationship Id="rId10" Type="http://schemas.openxmlformats.org/officeDocument/2006/relationships/slideLayout" Target="../slideLayouts/slideLayout593.xml"/><Relationship Id="rId19" Type="http://schemas.openxmlformats.org/officeDocument/2006/relationships/slideLayout" Target="../slideLayouts/slideLayout602.xml"/><Relationship Id="rId31" Type="http://schemas.openxmlformats.org/officeDocument/2006/relationships/slideLayout" Target="../slideLayouts/slideLayout614.xml"/><Relationship Id="rId4" Type="http://schemas.openxmlformats.org/officeDocument/2006/relationships/slideLayout" Target="../slideLayouts/slideLayout587.xml"/><Relationship Id="rId9" Type="http://schemas.openxmlformats.org/officeDocument/2006/relationships/slideLayout" Target="../slideLayouts/slideLayout592.xml"/><Relationship Id="rId14" Type="http://schemas.openxmlformats.org/officeDocument/2006/relationships/slideLayout" Target="../slideLayouts/slideLayout597.xml"/><Relationship Id="rId22" Type="http://schemas.openxmlformats.org/officeDocument/2006/relationships/slideLayout" Target="../slideLayouts/slideLayout605.xml"/><Relationship Id="rId27" Type="http://schemas.openxmlformats.org/officeDocument/2006/relationships/slideLayout" Target="../slideLayouts/slideLayout610.xml"/><Relationship Id="rId30" Type="http://schemas.openxmlformats.org/officeDocument/2006/relationships/slideLayout" Target="../slideLayouts/slideLayout613.xml"/><Relationship Id="rId35" Type="http://schemas.openxmlformats.org/officeDocument/2006/relationships/slideLayout" Target="../slideLayouts/slideLayout61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7.xml"/><Relationship Id="rId13" Type="http://schemas.openxmlformats.org/officeDocument/2006/relationships/slideLayout" Target="../slideLayouts/slideLayout632.xml"/><Relationship Id="rId18" Type="http://schemas.openxmlformats.org/officeDocument/2006/relationships/slideLayout" Target="../slideLayouts/slideLayout637.xml"/><Relationship Id="rId26" Type="http://schemas.openxmlformats.org/officeDocument/2006/relationships/slideLayout" Target="../slideLayouts/slideLayout645.xml"/><Relationship Id="rId39" Type="http://schemas.openxmlformats.org/officeDocument/2006/relationships/slideLayout" Target="../slideLayouts/slideLayout658.xml"/><Relationship Id="rId3" Type="http://schemas.openxmlformats.org/officeDocument/2006/relationships/slideLayout" Target="../slideLayouts/slideLayout622.xml"/><Relationship Id="rId21" Type="http://schemas.openxmlformats.org/officeDocument/2006/relationships/slideLayout" Target="../slideLayouts/slideLayout640.xml"/><Relationship Id="rId34" Type="http://schemas.openxmlformats.org/officeDocument/2006/relationships/slideLayout" Target="../slideLayouts/slideLayout653.xml"/><Relationship Id="rId42" Type="http://schemas.openxmlformats.org/officeDocument/2006/relationships/tags" Target="../tags/tag11.xml"/><Relationship Id="rId7" Type="http://schemas.openxmlformats.org/officeDocument/2006/relationships/slideLayout" Target="../slideLayouts/slideLayout626.xml"/><Relationship Id="rId12" Type="http://schemas.openxmlformats.org/officeDocument/2006/relationships/slideLayout" Target="../slideLayouts/slideLayout631.xml"/><Relationship Id="rId17" Type="http://schemas.openxmlformats.org/officeDocument/2006/relationships/slideLayout" Target="../slideLayouts/slideLayout636.xml"/><Relationship Id="rId25" Type="http://schemas.openxmlformats.org/officeDocument/2006/relationships/slideLayout" Target="../slideLayouts/slideLayout644.xml"/><Relationship Id="rId33" Type="http://schemas.openxmlformats.org/officeDocument/2006/relationships/slideLayout" Target="../slideLayouts/slideLayout652.xml"/><Relationship Id="rId38" Type="http://schemas.openxmlformats.org/officeDocument/2006/relationships/slideLayout" Target="../slideLayouts/slideLayout657.xml"/><Relationship Id="rId2" Type="http://schemas.openxmlformats.org/officeDocument/2006/relationships/slideLayout" Target="../slideLayouts/slideLayout621.xml"/><Relationship Id="rId16" Type="http://schemas.openxmlformats.org/officeDocument/2006/relationships/slideLayout" Target="../slideLayouts/slideLayout635.xml"/><Relationship Id="rId20" Type="http://schemas.openxmlformats.org/officeDocument/2006/relationships/slideLayout" Target="../slideLayouts/slideLayout639.xml"/><Relationship Id="rId29" Type="http://schemas.openxmlformats.org/officeDocument/2006/relationships/slideLayout" Target="../slideLayouts/slideLayout648.xml"/><Relationship Id="rId41" Type="http://schemas.openxmlformats.org/officeDocument/2006/relationships/vmlDrawing" Target="../drawings/vmlDrawing9.vml"/><Relationship Id="rId1" Type="http://schemas.openxmlformats.org/officeDocument/2006/relationships/slideLayout" Target="../slideLayouts/slideLayout620.xml"/><Relationship Id="rId6" Type="http://schemas.openxmlformats.org/officeDocument/2006/relationships/slideLayout" Target="../slideLayouts/slideLayout625.xml"/><Relationship Id="rId11" Type="http://schemas.openxmlformats.org/officeDocument/2006/relationships/slideLayout" Target="../slideLayouts/slideLayout630.xml"/><Relationship Id="rId24" Type="http://schemas.openxmlformats.org/officeDocument/2006/relationships/slideLayout" Target="../slideLayouts/slideLayout643.xml"/><Relationship Id="rId32" Type="http://schemas.openxmlformats.org/officeDocument/2006/relationships/slideLayout" Target="../slideLayouts/slideLayout651.xml"/><Relationship Id="rId37" Type="http://schemas.openxmlformats.org/officeDocument/2006/relationships/slideLayout" Target="../slideLayouts/slideLayout656.xml"/><Relationship Id="rId40" Type="http://schemas.openxmlformats.org/officeDocument/2006/relationships/theme" Target="../theme/theme18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624.xml"/><Relationship Id="rId15" Type="http://schemas.openxmlformats.org/officeDocument/2006/relationships/slideLayout" Target="../slideLayouts/slideLayout634.xml"/><Relationship Id="rId23" Type="http://schemas.openxmlformats.org/officeDocument/2006/relationships/slideLayout" Target="../slideLayouts/slideLayout642.xml"/><Relationship Id="rId28" Type="http://schemas.openxmlformats.org/officeDocument/2006/relationships/slideLayout" Target="../slideLayouts/slideLayout647.xml"/><Relationship Id="rId36" Type="http://schemas.openxmlformats.org/officeDocument/2006/relationships/slideLayout" Target="../slideLayouts/slideLayout655.xml"/><Relationship Id="rId10" Type="http://schemas.openxmlformats.org/officeDocument/2006/relationships/slideLayout" Target="../slideLayouts/slideLayout629.xml"/><Relationship Id="rId19" Type="http://schemas.openxmlformats.org/officeDocument/2006/relationships/slideLayout" Target="../slideLayouts/slideLayout638.xml"/><Relationship Id="rId31" Type="http://schemas.openxmlformats.org/officeDocument/2006/relationships/slideLayout" Target="../slideLayouts/slideLayout650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623.xml"/><Relationship Id="rId9" Type="http://schemas.openxmlformats.org/officeDocument/2006/relationships/slideLayout" Target="../slideLayouts/slideLayout628.xml"/><Relationship Id="rId14" Type="http://schemas.openxmlformats.org/officeDocument/2006/relationships/slideLayout" Target="../slideLayouts/slideLayout633.xml"/><Relationship Id="rId22" Type="http://schemas.openxmlformats.org/officeDocument/2006/relationships/slideLayout" Target="../slideLayouts/slideLayout641.xml"/><Relationship Id="rId27" Type="http://schemas.openxmlformats.org/officeDocument/2006/relationships/slideLayout" Target="../slideLayouts/slideLayout646.xml"/><Relationship Id="rId30" Type="http://schemas.openxmlformats.org/officeDocument/2006/relationships/slideLayout" Target="../slideLayouts/slideLayout649.xml"/><Relationship Id="rId35" Type="http://schemas.openxmlformats.org/officeDocument/2006/relationships/slideLayout" Target="../slideLayouts/slideLayout654.xml"/><Relationship Id="rId43" Type="http://schemas.openxmlformats.org/officeDocument/2006/relationships/oleObject" Target="../embeddings/oleObject9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6.xml"/><Relationship Id="rId13" Type="http://schemas.openxmlformats.org/officeDocument/2006/relationships/slideLayout" Target="../slideLayouts/slideLayout671.xml"/><Relationship Id="rId18" Type="http://schemas.openxmlformats.org/officeDocument/2006/relationships/slideLayout" Target="../slideLayouts/slideLayout676.xml"/><Relationship Id="rId26" Type="http://schemas.openxmlformats.org/officeDocument/2006/relationships/slideLayout" Target="../slideLayouts/slideLayout684.xml"/><Relationship Id="rId3" Type="http://schemas.openxmlformats.org/officeDocument/2006/relationships/slideLayout" Target="../slideLayouts/slideLayout661.xml"/><Relationship Id="rId21" Type="http://schemas.openxmlformats.org/officeDocument/2006/relationships/slideLayout" Target="../slideLayouts/slideLayout679.xml"/><Relationship Id="rId7" Type="http://schemas.openxmlformats.org/officeDocument/2006/relationships/slideLayout" Target="../slideLayouts/slideLayout665.xml"/><Relationship Id="rId12" Type="http://schemas.openxmlformats.org/officeDocument/2006/relationships/slideLayout" Target="../slideLayouts/slideLayout670.xml"/><Relationship Id="rId17" Type="http://schemas.openxmlformats.org/officeDocument/2006/relationships/slideLayout" Target="../slideLayouts/slideLayout675.xml"/><Relationship Id="rId25" Type="http://schemas.openxmlformats.org/officeDocument/2006/relationships/slideLayout" Target="../slideLayouts/slideLayout683.xml"/><Relationship Id="rId2" Type="http://schemas.openxmlformats.org/officeDocument/2006/relationships/slideLayout" Target="../slideLayouts/slideLayout660.xml"/><Relationship Id="rId16" Type="http://schemas.openxmlformats.org/officeDocument/2006/relationships/slideLayout" Target="../slideLayouts/slideLayout674.xml"/><Relationship Id="rId20" Type="http://schemas.openxmlformats.org/officeDocument/2006/relationships/slideLayout" Target="../slideLayouts/slideLayout678.xml"/><Relationship Id="rId29" Type="http://schemas.openxmlformats.org/officeDocument/2006/relationships/slideLayout" Target="../slideLayouts/slideLayout687.xml"/><Relationship Id="rId1" Type="http://schemas.openxmlformats.org/officeDocument/2006/relationships/slideLayout" Target="../slideLayouts/slideLayout659.xml"/><Relationship Id="rId6" Type="http://schemas.openxmlformats.org/officeDocument/2006/relationships/slideLayout" Target="../slideLayouts/slideLayout664.xml"/><Relationship Id="rId11" Type="http://schemas.openxmlformats.org/officeDocument/2006/relationships/slideLayout" Target="../slideLayouts/slideLayout669.xml"/><Relationship Id="rId24" Type="http://schemas.openxmlformats.org/officeDocument/2006/relationships/slideLayout" Target="../slideLayouts/slideLayout682.xml"/><Relationship Id="rId32" Type="http://schemas.openxmlformats.org/officeDocument/2006/relationships/theme" Target="../theme/theme19.xml"/><Relationship Id="rId5" Type="http://schemas.openxmlformats.org/officeDocument/2006/relationships/slideLayout" Target="../slideLayouts/slideLayout663.xml"/><Relationship Id="rId15" Type="http://schemas.openxmlformats.org/officeDocument/2006/relationships/slideLayout" Target="../slideLayouts/slideLayout673.xml"/><Relationship Id="rId23" Type="http://schemas.openxmlformats.org/officeDocument/2006/relationships/slideLayout" Target="../slideLayouts/slideLayout681.xml"/><Relationship Id="rId28" Type="http://schemas.openxmlformats.org/officeDocument/2006/relationships/slideLayout" Target="../slideLayouts/slideLayout686.xml"/><Relationship Id="rId10" Type="http://schemas.openxmlformats.org/officeDocument/2006/relationships/slideLayout" Target="../slideLayouts/slideLayout668.xml"/><Relationship Id="rId19" Type="http://schemas.openxmlformats.org/officeDocument/2006/relationships/slideLayout" Target="../slideLayouts/slideLayout677.xml"/><Relationship Id="rId31" Type="http://schemas.openxmlformats.org/officeDocument/2006/relationships/slideLayout" Target="../slideLayouts/slideLayout689.xml"/><Relationship Id="rId4" Type="http://schemas.openxmlformats.org/officeDocument/2006/relationships/slideLayout" Target="../slideLayouts/slideLayout662.xml"/><Relationship Id="rId9" Type="http://schemas.openxmlformats.org/officeDocument/2006/relationships/slideLayout" Target="../slideLayouts/slideLayout667.xml"/><Relationship Id="rId14" Type="http://schemas.openxmlformats.org/officeDocument/2006/relationships/slideLayout" Target="../slideLayouts/slideLayout672.xml"/><Relationship Id="rId22" Type="http://schemas.openxmlformats.org/officeDocument/2006/relationships/slideLayout" Target="../slideLayouts/slideLayout680.xml"/><Relationship Id="rId27" Type="http://schemas.openxmlformats.org/officeDocument/2006/relationships/slideLayout" Target="../slideLayouts/slideLayout685.xml"/><Relationship Id="rId30" Type="http://schemas.openxmlformats.org/officeDocument/2006/relationships/slideLayout" Target="../slideLayouts/slideLayout68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0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8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2.xml"/><Relationship Id="rId18" Type="http://schemas.openxmlformats.org/officeDocument/2006/relationships/slideLayout" Target="../slideLayouts/slideLayout707.xml"/><Relationship Id="rId26" Type="http://schemas.openxmlformats.org/officeDocument/2006/relationships/slideLayout" Target="../slideLayouts/slideLayout715.xml"/><Relationship Id="rId39" Type="http://schemas.openxmlformats.org/officeDocument/2006/relationships/slideLayout" Target="../slideLayouts/slideLayout728.xml"/><Relationship Id="rId3" Type="http://schemas.openxmlformats.org/officeDocument/2006/relationships/slideLayout" Target="../slideLayouts/slideLayout692.xml"/><Relationship Id="rId21" Type="http://schemas.openxmlformats.org/officeDocument/2006/relationships/slideLayout" Target="../slideLayouts/slideLayout710.xml"/><Relationship Id="rId34" Type="http://schemas.openxmlformats.org/officeDocument/2006/relationships/slideLayout" Target="../slideLayouts/slideLayout723.xml"/><Relationship Id="rId42" Type="http://schemas.openxmlformats.org/officeDocument/2006/relationships/slideLayout" Target="../slideLayouts/slideLayout731.xml"/><Relationship Id="rId47" Type="http://schemas.openxmlformats.org/officeDocument/2006/relationships/slideLayout" Target="../slideLayouts/slideLayout736.xml"/><Relationship Id="rId50" Type="http://schemas.openxmlformats.org/officeDocument/2006/relationships/theme" Target="../theme/theme20.xml"/><Relationship Id="rId7" Type="http://schemas.openxmlformats.org/officeDocument/2006/relationships/slideLayout" Target="../slideLayouts/slideLayout696.xml"/><Relationship Id="rId12" Type="http://schemas.openxmlformats.org/officeDocument/2006/relationships/slideLayout" Target="../slideLayouts/slideLayout701.xml"/><Relationship Id="rId17" Type="http://schemas.openxmlformats.org/officeDocument/2006/relationships/slideLayout" Target="../slideLayouts/slideLayout706.xml"/><Relationship Id="rId25" Type="http://schemas.openxmlformats.org/officeDocument/2006/relationships/slideLayout" Target="../slideLayouts/slideLayout714.xml"/><Relationship Id="rId33" Type="http://schemas.openxmlformats.org/officeDocument/2006/relationships/slideLayout" Target="../slideLayouts/slideLayout722.xml"/><Relationship Id="rId38" Type="http://schemas.openxmlformats.org/officeDocument/2006/relationships/slideLayout" Target="../slideLayouts/slideLayout727.xml"/><Relationship Id="rId46" Type="http://schemas.openxmlformats.org/officeDocument/2006/relationships/slideLayout" Target="../slideLayouts/slideLayout735.xml"/><Relationship Id="rId2" Type="http://schemas.openxmlformats.org/officeDocument/2006/relationships/slideLayout" Target="../slideLayouts/slideLayout691.xml"/><Relationship Id="rId16" Type="http://schemas.openxmlformats.org/officeDocument/2006/relationships/slideLayout" Target="../slideLayouts/slideLayout705.xml"/><Relationship Id="rId20" Type="http://schemas.openxmlformats.org/officeDocument/2006/relationships/slideLayout" Target="../slideLayouts/slideLayout709.xml"/><Relationship Id="rId29" Type="http://schemas.openxmlformats.org/officeDocument/2006/relationships/slideLayout" Target="../slideLayouts/slideLayout718.xml"/><Relationship Id="rId41" Type="http://schemas.openxmlformats.org/officeDocument/2006/relationships/slideLayout" Target="../slideLayouts/slideLayout730.xml"/><Relationship Id="rId1" Type="http://schemas.openxmlformats.org/officeDocument/2006/relationships/slideLayout" Target="../slideLayouts/slideLayout690.xml"/><Relationship Id="rId6" Type="http://schemas.openxmlformats.org/officeDocument/2006/relationships/slideLayout" Target="../slideLayouts/slideLayout695.xml"/><Relationship Id="rId11" Type="http://schemas.openxmlformats.org/officeDocument/2006/relationships/slideLayout" Target="../slideLayouts/slideLayout700.xml"/><Relationship Id="rId24" Type="http://schemas.openxmlformats.org/officeDocument/2006/relationships/slideLayout" Target="../slideLayouts/slideLayout713.xml"/><Relationship Id="rId32" Type="http://schemas.openxmlformats.org/officeDocument/2006/relationships/slideLayout" Target="../slideLayouts/slideLayout721.xml"/><Relationship Id="rId37" Type="http://schemas.openxmlformats.org/officeDocument/2006/relationships/slideLayout" Target="../slideLayouts/slideLayout726.xml"/><Relationship Id="rId40" Type="http://schemas.openxmlformats.org/officeDocument/2006/relationships/slideLayout" Target="../slideLayouts/slideLayout729.xml"/><Relationship Id="rId45" Type="http://schemas.openxmlformats.org/officeDocument/2006/relationships/slideLayout" Target="../slideLayouts/slideLayout734.xml"/><Relationship Id="rId5" Type="http://schemas.openxmlformats.org/officeDocument/2006/relationships/slideLayout" Target="../slideLayouts/slideLayout694.xml"/><Relationship Id="rId15" Type="http://schemas.openxmlformats.org/officeDocument/2006/relationships/slideLayout" Target="../slideLayouts/slideLayout704.xml"/><Relationship Id="rId23" Type="http://schemas.openxmlformats.org/officeDocument/2006/relationships/slideLayout" Target="../slideLayouts/slideLayout712.xml"/><Relationship Id="rId28" Type="http://schemas.openxmlformats.org/officeDocument/2006/relationships/slideLayout" Target="../slideLayouts/slideLayout717.xml"/><Relationship Id="rId36" Type="http://schemas.openxmlformats.org/officeDocument/2006/relationships/slideLayout" Target="../slideLayouts/slideLayout725.xml"/><Relationship Id="rId49" Type="http://schemas.openxmlformats.org/officeDocument/2006/relationships/slideLayout" Target="../slideLayouts/slideLayout738.xml"/><Relationship Id="rId10" Type="http://schemas.openxmlformats.org/officeDocument/2006/relationships/slideLayout" Target="../slideLayouts/slideLayout699.xml"/><Relationship Id="rId19" Type="http://schemas.openxmlformats.org/officeDocument/2006/relationships/slideLayout" Target="../slideLayouts/slideLayout708.xml"/><Relationship Id="rId31" Type="http://schemas.openxmlformats.org/officeDocument/2006/relationships/slideLayout" Target="../slideLayouts/slideLayout720.xml"/><Relationship Id="rId44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693.xml"/><Relationship Id="rId9" Type="http://schemas.openxmlformats.org/officeDocument/2006/relationships/slideLayout" Target="../slideLayouts/slideLayout698.xml"/><Relationship Id="rId14" Type="http://schemas.openxmlformats.org/officeDocument/2006/relationships/slideLayout" Target="../slideLayouts/slideLayout703.xml"/><Relationship Id="rId22" Type="http://schemas.openxmlformats.org/officeDocument/2006/relationships/slideLayout" Target="../slideLayouts/slideLayout711.xml"/><Relationship Id="rId27" Type="http://schemas.openxmlformats.org/officeDocument/2006/relationships/slideLayout" Target="../slideLayouts/slideLayout716.xml"/><Relationship Id="rId30" Type="http://schemas.openxmlformats.org/officeDocument/2006/relationships/slideLayout" Target="../slideLayouts/slideLayout719.xml"/><Relationship Id="rId35" Type="http://schemas.openxmlformats.org/officeDocument/2006/relationships/slideLayout" Target="../slideLayouts/slideLayout724.xml"/><Relationship Id="rId43" Type="http://schemas.openxmlformats.org/officeDocument/2006/relationships/slideLayout" Target="../slideLayouts/slideLayout732.xml"/><Relationship Id="rId48" Type="http://schemas.openxmlformats.org/officeDocument/2006/relationships/slideLayout" Target="../slideLayouts/slideLayout737.xml"/><Relationship Id="rId8" Type="http://schemas.openxmlformats.org/officeDocument/2006/relationships/slideLayout" Target="../slideLayouts/slideLayout697.xml"/><Relationship Id="rId51" Type="http://schemas.openxmlformats.org/officeDocument/2006/relationships/image" Target="../media/image2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6.xml"/><Relationship Id="rId13" Type="http://schemas.openxmlformats.org/officeDocument/2006/relationships/slideLayout" Target="../slideLayouts/slideLayout751.xml"/><Relationship Id="rId18" Type="http://schemas.openxmlformats.org/officeDocument/2006/relationships/slideLayout" Target="../slideLayouts/slideLayout756.xml"/><Relationship Id="rId26" Type="http://schemas.openxmlformats.org/officeDocument/2006/relationships/slideLayout" Target="../slideLayouts/slideLayout764.xml"/><Relationship Id="rId3" Type="http://schemas.openxmlformats.org/officeDocument/2006/relationships/slideLayout" Target="../slideLayouts/slideLayout741.xml"/><Relationship Id="rId21" Type="http://schemas.openxmlformats.org/officeDocument/2006/relationships/slideLayout" Target="../slideLayouts/slideLayout759.xml"/><Relationship Id="rId7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50.xml"/><Relationship Id="rId17" Type="http://schemas.openxmlformats.org/officeDocument/2006/relationships/slideLayout" Target="../slideLayouts/slideLayout755.xml"/><Relationship Id="rId25" Type="http://schemas.openxmlformats.org/officeDocument/2006/relationships/slideLayout" Target="../slideLayouts/slideLayout763.xml"/><Relationship Id="rId2" Type="http://schemas.openxmlformats.org/officeDocument/2006/relationships/slideLayout" Target="../slideLayouts/slideLayout740.xml"/><Relationship Id="rId16" Type="http://schemas.openxmlformats.org/officeDocument/2006/relationships/slideLayout" Target="../slideLayouts/slideLayout754.xml"/><Relationship Id="rId20" Type="http://schemas.openxmlformats.org/officeDocument/2006/relationships/slideLayout" Target="../slideLayouts/slideLayout758.xml"/><Relationship Id="rId29" Type="http://schemas.openxmlformats.org/officeDocument/2006/relationships/slideLayout" Target="../slideLayouts/slideLayout767.xml"/><Relationship Id="rId1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4.xml"/><Relationship Id="rId11" Type="http://schemas.openxmlformats.org/officeDocument/2006/relationships/slideLayout" Target="../slideLayouts/slideLayout749.xml"/><Relationship Id="rId24" Type="http://schemas.openxmlformats.org/officeDocument/2006/relationships/slideLayout" Target="../slideLayouts/slideLayout762.xml"/><Relationship Id="rId32" Type="http://schemas.openxmlformats.org/officeDocument/2006/relationships/theme" Target="../theme/theme21.xml"/><Relationship Id="rId5" Type="http://schemas.openxmlformats.org/officeDocument/2006/relationships/slideLayout" Target="../slideLayouts/slideLayout743.xml"/><Relationship Id="rId15" Type="http://schemas.openxmlformats.org/officeDocument/2006/relationships/slideLayout" Target="../slideLayouts/slideLayout753.xml"/><Relationship Id="rId23" Type="http://schemas.openxmlformats.org/officeDocument/2006/relationships/slideLayout" Target="../slideLayouts/slideLayout761.xml"/><Relationship Id="rId28" Type="http://schemas.openxmlformats.org/officeDocument/2006/relationships/slideLayout" Target="../slideLayouts/slideLayout766.xml"/><Relationship Id="rId10" Type="http://schemas.openxmlformats.org/officeDocument/2006/relationships/slideLayout" Target="../slideLayouts/slideLayout748.xml"/><Relationship Id="rId19" Type="http://schemas.openxmlformats.org/officeDocument/2006/relationships/slideLayout" Target="../slideLayouts/slideLayout757.xml"/><Relationship Id="rId31" Type="http://schemas.openxmlformats.org/officeDocument/2006/relationships/slideLayout" Target="../slideLayouts/slideLayout769.xml"/><Relationship Id="rId4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7.xml"/><Relationship Id="rId14" Type="http://schemas.openxmlformats.org/officeDocument/2006/relationships/slideLayout" Target="../slideLayouts/slideLayout752.xml"/><Relationship Id="rId22" Type="http://schemas.openxmlformats.org/officeDocument/2006/relationships/slideLayout" Target="../slideLayouts/slideLayout760.xml"/><Relationship Id="rId27" Type="http://schemas.openxmlformats.org/officeDocument/2006/relationships/slideLayout" Target="../slideLayouts/slideLayout765.xml"/><Relationship Id="rId30" Type="http://schemas.openxmlformats.org/officeDocument/2006/relationships/slideLayout" Target="../slideLayouts/slideLayout768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7.xml"/><Relationship Id="rId13" Type="http://schemas.openxmlformats.org/officeDocument/2006/relationships/slideLayout" Target="../slideLayouts/slideLayout782.xml"/><Relationship Id="rId18" Type="http://schemas.openxmlformats.org/officeDocument/2006/relationships/slideLayout" Target="../slideLayouts/slideLayout787.xml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772.xml"/><Relationship Id="rId21" Type="http://schemas.openxmlformats.org/officeDocument/2006/relationships/slideLayout" Target="../slideLayouts/slideLayout790.xml"/><Relationship Id="rId7" Type="http://schemas.openxmlformats.org/officeDocument/2006/relationships/slideLayout" Target="../slideLayouts/slideLayout776.xml"/><Relationship Id="rId12" Type="http://schemas.openxmlformats.org/officeDocument/2006/relationships/slideLayout" Target="../slideLayouts/slideLayout781.xml"/><Relationship Id="rId17" Type="http://schemas.openxmlformats.org/officeDocument/2006/relationships/slideLayout" Target="../slideLayouts/slideLayout786.xml"/><Relationship Id="rId25" Type="http://schemas.openxmlformats.org/officeDocument/2006/relationships/theme" Target="../theme/theme22.xml"/><Relationship Id="rId2" Type="http://schemas.openxmlformats.org/officeDocument/2006/relationships/slideLayout" Target="../slideLayouts/slideLayout771.xml"/><Relationship Id="rId16" Type="http://schemas.openxmlformats.org/officeDocument/2006/relationships/slideLayout" Target="../slideLayouts/slideLayout785.xml"/><Relationship Id="rId20" Type="http://schemas.openxmlformats.org/officeDocument/2006/relationships/slideLayout" Target="../slideLayouts/slideLayout789.xml"/><Relationship Id="rId1" Type="http://schemas.openxmlformats.org/officeDocument/2006/relationships/slideLayout" Target="../slideLayouts/slideLayout770.xml"/><Relationship Id="rId6" Type="http://schemas.openxmlformats.org/officeDocument/2006/relationships/slideLayout" Target="../slideLayouts/slideLayout775.xml"/><Relationship Id="rId11" Type="http://schemas.openxmlformats.org/officeDocument/2006/relationships/slideLayout" Target="../slideLayouts/slideLayout780.xml"/><Relationship Id="rId24" Type="http://schemas.openxmlformats.org/officeDocument/2006/relationships/slideLayout" Target="../slideLayouts/slideLayout793.xml"/><Relationship Id="rId5" Type="http://schemas.openxmlformats.org/officeDocument/2006/relationships/slideLayout" Target="../slideLayouts/slideLayout774.xml"/><Relationship Id="rId15" Type="http://schemas.openxmlformats.org/officeDocument/2006/relationships/slideLayout" Target="../slideLayouts/slideLayout784.xml"/><Relationship Id="rId23" Type="http://schemas.openxmlformats.org/officeDocument/2006/relationships/slideLayout" Target="../slideLayouts/slideLayout792.xml"/><Relationship Id="rId10" Type="http://schemas.openxmlformats.org/officeDocument/2006/relationships/slideLayout" Target="../slideLayouts/slideLayout779.xml"/><Relationship Id="rId19" Type="http://schemas.openxmlformats.org/officeDocument/2006/relationships/slideLayout" Target="../slideLayouts/slideLayout788.xml"/><Relationship Id="rId4" Type="http://schemas.openxmlformats.org/officeDocument/2006/relationships/slideLayout" Target="../slideLayouts/slideLayout773.xml"/><Relationship Id="rId9" Type="http://schemas.openxmlformats.org/officeDocument/2006/relationships/slideLayout" Target="../slideLayouts/slideLayout778.xml"/><Relationship Id="rId14" Type="http://schemas.openxmlformats.org/officeDocument/2006/relationships/slideLayout" Target="../slideLayouts/slideLayout783.xml"/><Relationship Id="rId22" Type="http://schemas.openxmlformats.org/officeDocument/2006/relationships/slideLayout" Target="../slideLayouts/slideLayout791.xml"/><Relationship Id="rId27" Type="http://schemas.openxmlformats.org/officeDocument/2006/relationships/image" Target="../media/image3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1.xml"/><Relationship Id="rId13" Type="http://schemas.openxmlformats.org/officeDocument/2006/relationships/slideLayout" Target="../slideLayouts/slideLayout806.xml"/><Relationship Id="rId18" Type="http://schemas.openxmlformats.org/officeDocument/2006/relationships/slideLayout" Target="../slideLayouts/slideLayout811.xml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796.xml"/><Relationship Id="rId21" Type="http://schemas.openxmlformats.org/officeDocument/2006/relationships/slideLayout" Target="../slideLayouts/slideLayout814.xml"/><Relationship Id="rId7" Type="http://schemas.openxmlformats.org/officeDocument/2006/relationships/slideLayout" Target="../slideLayouts/slideLayout800.xml"/><Relationship Id="rId12" Type="http://schemas.openxmlformats.org/officeDocument/2006/relationships/slideLayout" Target="../slideLayouts/slideLayout805.xml"/><Relationship Id="rId17" Type="http://schemas.openxmlformats.org/officeDocument/2006/relationships/slideLayout" Target="../slideLayouts/slideLayout810.xml"/><Relationship Id="rId25" Type="http://schemas.openxmlformats.org/officeDocument/2006/relationships/theme" Target="../theme/theme23.xml"/><Relationship Id="rId2" Type="http://schemas.openxmlformats.org/officeDocument/2006/relationships/slideLayout" Target="../slideLayouts/slideLayout795.xml"/><Relationship Id="rId16" Type="http://schemas.openxmlformats.org/officeDocument/2006/relationships/slideLayout" Target="../slideLayouts/slideLayout809.xml"/><Relationship Id="rId20" Type="http://schemas.openxmlformats.org/officeDocument/2006/relationships/slideLayout" Target="../slideLayouts/slideLayout813.xml"/><Relationship Id="rId1" Type="http://schemas.openxmlformats.org/officeDocument/2006/relationships/slideLayout" Target="../slideLayouts/slideLayout794.xml"/><Relationship Id="rId6" Type="http://schemas.openxmlformats.org/officeDocument/2006/relationships/slideLayout" Target="../slideLayouts/slideLayout799.xml"/><Relationship Id="rId11" Type="http://schemas.openxmlformats.org/officeDocument/2006/relationships/slideLayout" Target="../slideLayouts/slideLayout804.xml"/><Relationship Id="rId24" Type="http://schemas.openxmlformats.org/officeDocument/2006/relationships/slideLayout" Target="../slideLayouts/slideLayout817.xml"/><Relationship Id="rId5" Type="http://schemas.openxmlformats.org/officeDocument/2006/relationships/slideLayout" Target="../slideLayouts/slideLayout798.xml"/><Relationship Id="rId15" Type="http://schemas.openxmlformats.org/officeDocument/2006/relationships/slideLayout" Target="../slideLayouts/slideLayout808.xml"/><Relationship Id="rId23" Type="http://schemas.openxmlformats.org/officeDocument/2006/relationships/slideLayout" Target="../slideLayouts/slideLayout816.xml"/><Relationship Id="rId10" Type="http://schemas.openxmlformats.org/officeDocument/2006/relationships/slideLayout" Target="../slideLayouts/slideLayout803.xml"/><Relationship Id="rId19" Type="http://schemas.openxmlformats.org/officeDocument/2006/relationships/slideLayout" Target="../slideLayouts/slideLayout812.xml"/><Relationship Id="rId4" Type="http://schemas.openxmlformats.org/officeDocument/2006/relationships/slideLayout" Target="../slideLayouts/slideLayout797.xml"/><Relationship Id="rId9" Type="http://schemas.openxmlformats.org/officeDocument/2006/relationships/slideLayout" Target="../slideLayouts/slideLayout802.xml"/><Relationship Id="rId14" Type="http://schemas.openxmlformats.org/officeDocument/2006/relationships/slideLayout" Target="../slideLayouts/slideLayout807.xml"/><Relationship Id="rId22" Type="http://schemas.openxmlformats.org/officeDocument/2006/relationships/slideLayout" Target="../slideLayouts/slideLayout815.xml"/><Relationship Id="rId27" Type="http://schemas.openxmlformats.org/officeDocument/2006/relationships/image" Target="../media/image31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5.xml"/><Relationship Id="rId13" Type="http://schemas.openxmlformats.org/officeDocument/2006/relationships/slideLayout" Target="../slideLayouts/slideLayout830.xml"/><Relationship Id="rId18" Type="http://schemas.openxmlformats.org/officeDocument/2006/relationships/slideLayout" Target="../slideLayouts/slideLayout835.xml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820.xml"/><Relationship Id="rId21" Type="http://schemas.openxmlformats.org/officeDocument/2006/relationships/slideLayout" Target="../slideLayouts/slideLayout838.xml"/><Relationship Id="rId7" Type="http://schemas.openxmlformats.org/officeDocument/2006/relationships/slideLayout" Target="../slideLayouts/slideLayout824.xml"/><Relationship Id="rId12" Type="http://schemas.openxmlformats.org/officeDocument/2006/relationships/slideLayout" Target="../slideLayouts/slideLayout829.xml"/><Relationship Id="rId17" Type="http://schemas.openxmlformats.org/officeDocument/2006/relationships/slideLayout" Target="../slideLayouts/slideLayout834.xml"/><Relationship Id="rId25" Type="http://schemas.openxmlformats.org/officeDocument/2006/relationships/theme" Target="../theme/theme24.xml"/><Relationship Id="rId2" Type="http://schemas.openxmlformats.org/officeDocument/2006/relationships/slideLayout" Target="../slideLayouts/slideLayout819.xml"/><Relationship Id="rId16" Type="http://schemas.openxmlformats.org/officeDocument/2006/relationships/slideLayout" Target="../slideLayouts/slideLayout833.xml"/><Relationship Id="rId20" Type="http://schemas.openxmlformats.org/officeDocument/2006/relationships/slideLayout" Target="../slideLayouts/slideLayout837.xml"/><Relationship Id="rId1" Type="http://schemas.openxmlformats.org/officeDocument/2006/relationships/slideLayout" Target="../slideLayouts/slideLayout818.xml"/><Relationship Id="rId6" Type="http://schemas.openxmlformats.org/officeDocument/2006/relationships/slideLayout" Target="../slideLayouts/slideLayout823.xml"/><Relationship Id="rId11" Type="http://schemas.openxmlformats.org/officeDocument/2006/relationships/slideLayout" Target="../slideLayouts/slideLayout828.xml"/><Relationship Id="rId24" Type="http://schemas.openxmlformats.org/officeDocument/2006/relationships/slideLayout" Target="../slideLayouts/slideLayout841.xml"/><Relationship Id="rId5" Type="http://schemas.openxmlformats.org/officeDocument/2006/relationships/slideLayout" Target="../slideLayouts/slideLayout822.xml"/><Relationship Id="rId15" Type="http://schemas.openxmlformats.org/officeDocument/2006/relationships/slideLayout" Target="../slideLayouts/slideLayout832.xml"/><Relationship Id="rId23" Type="http://schemas.openxmlformats.org/officeDocument/2006/relationships/slideLayout" Target="../slideLayouts/slideLayout840.xml"/><Relationship Id="rId10" Type="http://schemas.openxmlformats.org/officeDocument/2006/relationships/slideLayout" Target="../slideLayouts/slideLayout827.xml"/><Relationship Id="rId19" Type="http://schemas.openxmlformats.org/officeDocument/2006/relationships/slideLayout" Target="../slideLayouts/slideLayout836.xml"/><Relationship Id="rId4" Type="http://schemas.openxmlformats.org/officeDocument/2006/relationships/slideLayout" Target="../slideLayouts/slideLayout821.xml"/><Relationship Id="rId9" Type="http://schemas.openxmlformats.org/officeDocument/2006/relationships/slideLayout" Target="../slideLayouts/slideLayout826.xml"/><Relationship Id="rId14" Type="http://schemas.openxmlformats.org/officeDocument/2006/relationships/slideLayout" Target="../slideLayouts/slideLayout831.xml"/><Relationship Id="rId22" Type="http://schemas.openxmlformats.org/officeDocument/2006/relationships/slideLayout" Target="../slideLayouts/slideLayout839.xml"/><Relationship Id="rId27" Type="http://schemas.openxmlformats.org/officeDocument/2006/relationships/image" Target="../media/image3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9.xml"/><Relationship Id="rId13" Type="http://schemas.openxmlformats.org/officeDocument/2006/relationships/slideLayout" Target="../slideLayouts/slideLayout854.xml"/><Relationship Id="rId18" Type="http://schemas.openxmlformats.org/officeDocument/2006/relationships/slideLayout" Target="../slideLayouts/slideLayout859.xml"/><Relationship Id="rId26" Type="http://schemas.openxmlformats.org/officeDocument/2006/relationships/slideLayout" Target="../slideLayouts/slideLayout867.xml"/><Relationship Id="rId3" Type="http://schemas.openxmlformats.org/officeDocument/2006/relationships/slideLayout" Target="../slideLayouts/slideLayout844.xml"/><Relationship Id="rId21" Type="http://schemas.openxmlformats.org/officeDocument/2006/relationships/slideLayout" Target="../slideLayouts/slideLayout862.xml"/><Relationship Id="rId7" Type="http://schemas.openxmlformats.org/officeDocument/2006/relationships/slideLayout" Target="../slideLayouts/slideLayout848.xml"/><Relationship Id="rId12" Type="http://schemas.openxmlformats.org/officeDocument/2006/relationships/slideLayout" Target="../slideLayouts/slideLayout853.xml"/><Relationship Id="rId17" Type="http://schemas.openxmlformats.org/officeDocument/2006/relationships/slideLayout" Target="../slideLayouts/slideLayout858.xml"/><Relationship Id="rId25" Type="http://schemas.openxmlformats.org/officeDocument/2006/relationships/slideLayout" Target="../slideLayouts/slideLayout866.xml"/><Relationship Id="rId2" Type="http://schemas.openxmlformats.org/officeDocument/2006/relationships/slideLayout" Target="../slideLayouts/slideLayout843.xml"/><Relationship Id="rId16" Type="http://schemas.openxmlformats.org/officeDocument/2006/relationships/slideLayout" Target="../slideLayouts/slideLayout857.xml"/><Relationship Id="rId20" Type="http://schemas.openxmlformats.org/officeDocument/2006/relationships/slideLayout" Target="../slideLayouts/slideLayout861.xml"/><Relationship Id="rId29" Type="http://schemas.openxmlformats.org/officeDocument/2006/relationships/slideLayout" Target="../slideLayouts/slideLayout870.xml"/><Relationship Id="rId1" Type="http://schemas.openxmlformats.org/officeDocument/2006/relationships/slideLayout" Target="../slideLayouts/slideLayout842.xml"/><Relationship Id="rId6" Type="http://schemas.openxmlformats.org/officeDocument/2006/relationships/slideLayout" Target="../slideLayouts/slideLayout847.xml"/><Relationship Id="rId11" Type="http://schemas.openxmlformats.org/officeDocument/2006/relationships/slideLayout" Target="../slideLayouts/slideLayout852.xml"/><Relationship Id="rId24" Type="http://schemas.openxmlformats.org/officeDocument/2006/relationships/slideLayout" Target="../slideLayouts/slideLayout865.xml"/><Relationship Id="rId32" Type="http://schemas.openxmlformats.org/officeDocument/2006/relationships/theme" Target="../theme/theme25.xml"/><Relationship Id="rId5" Type="http://schemas.openxmlformats.org/officeDocument/2006/relationships/slideLayout" Target="../slideLayouts/slideLayout846.xml"/><Relationship Id="rId15" Type="http://schemas.openxmlformats.org/officeDocument/2006/relationships/slideLayout" Target="../slideLayouts/slideLayout856.xml"/><Relationship Id="rId23" Type="http://schemas.openxmlformats.org/officeDocument/2006/relationships/slideLayout" Target="../slideLayouts/slideLayout864.xml"/><Relationship Id="rId28" Type="http://schemas.openxmlformats.org/officeDocument/2006/relationships/slideLayout" Target="../slideLayouts/slideLayout869.xml"/><Relationship Id="rId10" Type="http://schemas.openxmlformats.org/officeDocument/2006/relationships/slideLayout" Target="../slideLayouts/slideLayout851.xml"/><Relationship Id="rId19" Type="http://schemas.openxmlformats.org/officeDocument/2006/relationships/slideLayout" Target="../slideLayouts/slideLayout860.xml"/><Relationship Id="rId31" Type="http://schemas.openxmlformats.org/officeDocument/2006/relationships/slideLayout" Target="../slideLayouts/slideLayout872.xml"/><Relationship Id="rId4" Type="http://schemas.openxmlformats.org/officeDocument/2006/relationships/slideLayout" Target="../slideLayouts/slideLayout845.xml"/><Relationship Id="rId9" Type="http://schemas.openxmlformats.org/officeDocument/2006/relationships/slideLayout" Target="../slideLayouts/slideLayout850.xml"/><Relationship Id="rId14" Type="http://schemas.openxmlformats.org/officeDocument/2006/relationships/slideLayout" Target="../slideLayouts/slideLayout855.xml"/><Relationship Id="rId22" Type="http://schemas.openxmlformats.org/officeDocument/2006/relationships/slideLayout" Target="../slideLayouts/slideLayout863.xml"/><Relationship Id="rId27" Type="http://schemas.openxmlformats.org/officeDocument/2006/relationships/slideLayout" Target="../slideLayouts/slideLayout868.xml"/><Relationship Id="rId30" Type="http://schemas.openxmlformats.org/officeDocument/2006/relationships/slideLayout" Target="../slideLayouts/slideLayout871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0.xml"/><Relationship Id="rId13" Type="http://schemas.openxmlformats.org/officeDocument/2006/relationships/slideLayout" Target="../slideLayouts/slideLayout885.xml"/><Relationship Id="rId18" Type="http://schemas.openxmlformats.org/officeDocument/2006/relationships/slideLayout" Target="../slideLayouts/slideLayout890.xml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875.xml"/><Relationship Id="rId21" Type="http://schemas.openxmlformats.org/officeDocument/2006/relationships/slideLayout" Target="../slideLayouts/slideLayout893.xml"/><Relationship Id="rId7" Type="http://schemas.openxmlformats.org/officeDocument/2006/relationships/slideLayout" Target="../slideLayouts/slideLayout879.xml"/><Relationship Id="rId12" Type="http://schemas.openxmlformats.org/officeDocument/2006/relationships/slideLayout" Target="../slideLayouts/slideLayout884.xml"/><Relationship Id="rId17" Type="http://schemas.openxmlformats.org/officeDocument/2006/relationships/slideLayout" Target="../slideLayouts/slideLayout889.xml"/><Relationship Id="rId25" Type="http://schemas.openxmlformats.org/officeDocument/2006/relationships/theme" Target="../theme/theme26.xml"/><Relationship Id="rId2" Type="http://schemas.openxmlformats.org/officeDocument/2006/relationships/slideLayout" Target="../slideLayouts/slideLayout874.xml"/><Relationship Id="rId16" Type="http://schemas.openxmlformats.org/officeDocument/2006/relationships/slideLayout" Target="../slideLayouts/slideLayout888.xml"/><Relationship Id="rId20" Type="http://schemas.openxmlformats.org/officeDocument/2006/relationships/slideLayout" Target="../slideLayouts/slideLayout892.xml"/><Relationship Id="rId1" Type="http://schemas.openxmlformats.org/officeDocument/2006/relationships/slideLayout" Target="../slideLayouts/slideLayout873.xml"/><Relationship Id="rId6" Type="http://schemas.openxmlformats.org/officeDocument/2006/relationships/slideLayout" Target="../slideLayouts/slideLayout878.xml"/><Relationship Id="rId11" Type="http://schemas.openxmlformats.org/officeDocument/2006/relationships/slideLayout" Target="../slideLayouts/slideLayout883.xml"/><Relationship Id="rId24" Type="http://schemas.openxmlformats.org/officeDocument/2006/relationships/slideLayout" Target="../slideLayouts/slideLayout896.xml"/><Relationship Id="rId5" Type="http://schemas.openxmlformats.org/officeDocument/2006/relationships/slideLayout" Target="../slideLayouts/slideLayout877.xml"/><Relationship Id="rId15" Type="http://schemas.openxmlformats.org/officeDocument/2006/relationships/slideLayout" Target="../slideLayouts/slideLayout887.xml"/><Relationship Id="rId23" Type="http://schemas.openxmlformats.org/officeDocument/2006/relationships/slideLayout" Target="../slideLayouts/slideLayout895.xml"/><Relationship Id="rId10" Type="http://schemas.openxmlformats.org/officeDocument/2006/relationships/slideLayout" Target="../slideLayouts/slideLayout882.xml"/><Relationship Id="rId19" Type="http://schemas.openxmlformats.org/officeDocument/2006/relationships/slideLayout" Target="../slideLayouts/slideLayout891.xml"/><Relationship Id="rId4" Type="http://schemas.openxmlformats.org/officeDocument/2006/relationships/slideLayout" Target="../slideLayouts/slideLayout876.xml"/><Relationship Id="rId9" Type="http://schemas.openxmlformats.org/officeDocument/2006/relationships/slideLayout" Target="../slideLayouts/slideLayout881.xml"/><Relationship Id="rId14" Type="http://schemas.openxmlformats.org/officeDocument/2006/relationships/slideLayout" Target="../slideLayouts/slideLayout886.xml"/><Relationship Id="rId22" Type="http://schemas.openxmlformats.org/officeDocument/2006/relationships/slideLayout" Target="../slideLayouts/slideLayout894.xml"/><Relationship Id="rId27" Type="http://schemas.openxmlformats.org/officeDocument/2006/relationships/image" Target="../media/image3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4.xml"/><Relationship Id="rId13" Type="http://schemas.openxmlformats.org/officeDocument/2006/relationships/slideLayout" Target="../slideLayouts/slideLayout909.xml"/><Relationship Id="rId18" Type="http://schemas.openxmlformats.org/officeDocument/2006/relationships/slideLayout" Target="../slideLayouts/slideLayout914.xml"/><Relationship Id="rId26" Type="http://schemas.openxmlformats.org/officeDocument/2006/relationships/image" Target="../media/image41.jpeg"/><Relationship Id="rId3" Type="http://schemas.openxmlformats.org/officeDocument/2006/relationships/slideLayout" Target="../slideLayouts/slideLayout899.xml"/><Relationship Id="rId21" Type="http://schemas.openxmlformats.org/officeDocument/2006/relationships/slideLayout" Target="../slideLayouts/slideLayout917.xml"/><Relationship Id="rId7" Type="http://schemas.openxmlformats.org/officeDocument/2006/relationships/slideLayout" Target="../slideLayouts/slideLayout903.xml"/><Relationship Id="rId12" Type="http://schemas.openxmlformats.org/officeDocument/2006/relationships/slideLayout" Target="../slideLayouts/slideLayout908.xml"/><Relationship Id="rId17" Type="http://schemas.openxmlformats.org/officeDocument/2006/relationships/slideLayout" Target="../slideLayouts/slideLayout913.xml"/><Relationship Id="rId25" Type="http://schemas.openxmlformats.org/officeDocument/2006/relationships/theme" Target="../theme/theme27.xml"/><Relationship Id="rId2" Type="http://schemas.openxmlformats.org/officeDocument/2006/relationships/slideLayout" Target="../slideLayouts/slideLayout898.xml"/><Relationship Id="rId16" Type="http://schemas.openxmlformats.org/officeDocument/2006/relationships/slideLayout" Target="../slideLayouts/slideLayout912.xml"/><Relationship Id="rId20" Type="http://schemas.openxmlformats.org/officeDocument/2006/relationships/slideLayout" Target="../slideLayouts/slideLayout916.xml"/><Relationship Id="rId1" Type="http://schemas.openxmlformats.org/officeDocument/2006/relationships/slideLayout" Target="../slideLayouts/slideLayout897.xml"/><Relationship Id="rId6" Type="http://schemas.openxmlformats.org/officeDocument/2006/relationships/slideLayout" Target="../slideLayouts/slideLayout902.xml"/><Relationship Id="rId11" Type="http://schemas.openxmlformats.org/officeDocument/2006/relationships/slideLayout" Target="../slideLayouts/slideLayout907.xml"/><Relationship Id="rId24" Type="http://schemas.openxmlformats.org/officeDocument/2006/relationships/slideLayout" Target="../slideLayouts/slideLayout920.xml"/><Relationship Id="rId5" Type="http://schemas.openxmlformats.org/officeDocument/2006/relationships/slideLayout" Target="../slideLayouts/slideLayout901.xml"/><Relationship Id="rId15" Type="http://schemas.openxmlformats.org/officeDocument/2006/relationships/slideLayout" Target="../slideLayouts/slideLayout911.xml"/><Relationship Id="rId23" Type="http://schemas.openxmlformats.org/officeDocument/2006/relationships/slideLayout" Target="../slideLayouts/slideLayout919.xml"/><Relationship Id="rId10" Type="http://schemas.openxmlformats.org/officeDocument/2006/relationships/slideLayout" Target="../slideLayouts/slideLayout906.xml"/><Relationship Id="rId19" Type="http://schemas.openxmlformats.org/officeDocument/2006/relationships/slideLayout" Target="../slideLayouts/slideLayout915.xml"/><Relationship Id="rId4" Type="http://schemas.openxmlformats.org/officeDocument/2006/relationships/slideLayout" Target="../slideLayouts/slideLayout900.xml"/><Relationship Id="rId9" Type="http://schemas.openxmlformats.org/officeDocument/2006/relationships/slideLayout" Target="../slideLayouts/slideLayout905.xml"/><Relationship Id="rId14" Type="http://schemas.openxmlformats.org/officeDocument/2006/relationships/slideLayout" Target="../slideLayouts/slideLayout910.xml"/><Relationship Id="rId22" Type="http://schemas.openxmlformats.org/officeDocument/2006/relationships/slideLayout" Target="../slideLayouts/slideLayout918.xml"/><Relationship Id="rId27" Type="http://schemas.openxmlformats.org/officeDocument/2006/relationships/image" Target="../media/image31.pn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8.xml"/><Relationship Id="rId13" Type="http://schemas.openxmlformats.org/officeDocument/2006/relationships/slideLayout" Target="../slideLayouts/slideLayout933.xml"/><Relationship Id="rId18" Type="http://schemas.openxmlformats.org/officeDocument/2006/relationships/slideLayout" Target="../slideLayouts/slideLayout938.xml"/><Relationship Id="rId26" Type="http://schemas.openxmlformats.org/officeDocument/2006/relationships/slideLayout" Target="../slideLayouts/slideLayout946.xml"/><Relationship Id="rId3" Type="http://schemas.openxmlformats.org/officeDocument/2006/relationships/slideLayout" Target="../slideLayouts/slideLayout923.xml"/><Relationship Id="rId21" Type="http://schemas.openxmlformats.org/officeDocument/2006/relationships/slideLayout" Target="../slideLayouts/slideLayout941.xml"/><Relationship Id="rId34" Type="http://schemas.openxmlformats.org/officeDocument/2006/relationships/slideLayout" Target="../slideLayouts/slideLayout954.xml"/><Relationship Id="rId7" Type="http://schemas.openxmlformats.org/officeDocument/2006/relationships/slideLayout" Target="../slideLayouts/slideLayout927.xml"/><Relationship Id="rId12" Type="http://schemas.openxmlformats.org/officeDocument/2006/relationships/slideLayout" Target="../slideLayouts/slideLayout932.xml"/><Relationship Id="rId17" Type="http://schemas.openxmlformats.org/officeDocument/2006/relationships/slideLayout" Target="../slideLayouts/slideLayout937.xml"/><Relationship Id="rId25" Type="http://schemas.openxmlformats.org/officeDocument/2006/relationships/slideLayout" Target="../slideLayouts/slideLayout945.xml"/><Relationship Id="rId33" Type="http://schemas.openxmlformats.org/officeDocument/2006/relationships/slideLayout" Target="../slideLayouts/slideLayout953.xml"/><Relationship Id="rId38" Type="http://schemas.openxmlformats.org/officeDocument/2006/relationships/theme" Target="../theme/theme28.xml"/><Relationship Id="rId2" Type="http://schemas.openxmlformats.org/officeDocument/2006/relationships/slideLayout" Target="../slideLayouts/slideLayout922.xml"/><Relationship Id="rId16" Type="http://schemas.openxmlformats.org/officeDocument/2006/relationships/slideLayout" Target="../slideLayouts/slideLayout936.xml"/><Relationship Id="rId20" Type="http://schemas.openxmlformats.org/officeDocument/2006/relationships/slideLayout" Target="../slideLayouts/slideLayout940.xml"/><Relationship Id="rId29" Type="http://schemas.openxmlformats.org/officeDocument/2006/relationships/slideLayout" Target="../slideLayouts/slideLayout949.xml"/><Relationship Id="rId1" Type="http://schemas.openxmlformats.org/officeDocument/2006/relationships/slideLayout" Target="../slideLayouts/slideLayout921.xml"/><Relationship Id="rId6" Type="http://schemas.openxmlformats.org/officeDocument/2006/relationships/slideLayout" Target="../slideLayouts/slideLayout926.xml"/><Relationship Id="rId11" Type="http://schemas.openxmlformats.org/officeDocument/2006/relationships/slideLayout" Target="../slideLayouts/slideLayout931.xml"/><Relationship Id="rId24" Type="http://schemas.openxmlformats.org/officeDocument/2006/relationships/slideLayout" Target="../slideLayouts/slideLayout944.xml"/><Relationship Id="rId32" Type="http://schemas.openxmlformats.org/officeDocument/2006/relationships/slideLayout" Target="../slideLayouts/slideLayout952.xml"/><Relationship Id="rId37" Type="http://schemas.openxmlformats.org/officeDocument/2006/relationships/slideLayout" Target="../slideLayouts/slideLayout957.xml"/><Relationship Id="rId5" Type="http://schemas.openxmlformats.org/officeDocument/2006/relationships/slideLayout" Target="../slideLayouts/slideLayout925.xml"/><Relationship Id="rId15" Type="http://schemas.openxmlformats.org/officeDocument/2006/relationships/slideLayout" Target="../slideLayouts/slideLayout935.xml"/><Relationship Id="rId23" Type="http://schemas.openxmlformats.org/officeDocument/2006/relationships/slideLayout" Target="../slideLayouts/slideLayout943.xml"/><Relationship Id="rId28" Type="http://schemas.openxmlformats.org/officeDocument/2006/relationships/slideLayout" Target="../slideLayouts/slideLayout948.xml"/><Relationship Id="rId36" Type="http://schemas.openxmlformats.org/officeDocument/2006/relationships/slideLayout" Target="../slideLayouts/slideLayout956.xml"/><Relationship Id="rId10" Type="http://schemas.openxmlformats.org/officeDocument/2006/relationships/slideLayout" Target="../slideLayouts/slideLayout930.xml"/><Relationship Id="rId19" Type="http://schemas.openxmlformats.org/officeDocument/2006/relationships/slideLayout" Target="../slideLayouts/slideLayout939.xml"/><Relationship Id="rId31" Type="http://schemas.openxmlformats.org/officeDocument/2006/relationships/slideLayout" Target="../slideLayouts/slideLayout951.xml"/><Relationship Id="rId4" Type="http://schemas.openxmlformats.org/officeDocument/2006/relationships/slideLayout" Target="../slideLayouts/slideLayout924.xml"/><Relationship Id="rId9" Type="http://schemas.openxmlformats.org/officeDocument/2006/relationships/slideLayout" Target="../slideLayouts/slideLayout929.xml"/><Relationship Id="rId14" Type="http://schemas.openxmlformats.org/officeDocument/2006/relationships/slideLayout" Target="../slideLayouts/slideLayout934.xml"/><Relationship Id="rId22" Type="http://schemas.openxmlformats.org/officeDocument/2006/relationships/slideLayout" Target="../slideLayouts/slideLayout942.xml"/><Relationship Id="rId27" Type="http://schemas.openxmlformats.org/officeDocument/2006/relationships/slideLayout" Target="../slideLayouts/slideLayout947.xml"/><Relationship Id="rId30" Type="http://schemas.openxmlformats.org/officeDocument/2006/relationships/slideLayout" Target="../slideLayouts/slideLayout950.xml"/><Relationship Id="rId35" Type="http://schemas.openxmlformats.org/officeDocument/2006/relationships/slideLayout" Target="../slideLayouts/slideLayout95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5.xml"/><Relationship Id="rId13" Type="http://schemas.openxmlformats.org/officeDocument/2006/relationships/slideLayout" Target="../slideLayouts/slideLayout970.xml"/><Relationship Id="rId18" Type="http://schemas.openxmlformats.org/officeDocument/2006/relationships/slideLayout" Target="../slideLayouts/slideLayout975.xml"/><Relationship Id="rId26" Type="http://schemas.openxmlformats.org/officeDocument/2006/relationships/slideLayout" Target="../slideLayouts/slideLayout983.xml"/><Relationship Id="rId3" Type="http://schemas.openxmlformats.org/officeDocument/2006/relationships/slideLayout" Target="../slideLayouts/slideLayout960.xml"/><Relationship Id="rId21" Type="http://schemas.openxmlformats.org/officeDocument/2006/relationships/slideLayout" Target="../slideLayouts/slideLayout978.xml"/><Relationship Id="rId7" Type="http://schemas.openxmlformats.org/officeDocument/2006/relationships/slideLayout" Target="../slideLayouts/slideLayout964.xml"/><Relationship Id="rId12" Type="http://schemas.openxmlformats.org/officeDocument/2006/relationships/slideLayout" Target="../slideLayouts/slideLayout969.xml"/><Relationship Id="rId17" Type="http://schemas.openxmlformats.org/officeDocument/2006/relationships/slideLayout" Target="../slideLayouts/slideLayout974.xml"/><Relationship Id="rId25" Type="http://schemas.openxmlformats.org/officeDocument/2006/relationships/slideLayout" Target="../slideLayouts/slideLayout982.xml"/><Relationship Id="rId2" Type="http://schemas.openxmlformats.org/officeDocument/2006/relationships/slideLayout" Target="../slideLayouts/slideLayout959.xml"/><Relationship Id="rId16" Type="http://schemas.openxmlformats.org/officeDocument/2006/relationships/slideLayout" Target="../slideLayouts/slideLayout973.xml"/><Relationship Id="rId20" Type="http://schemas.openxmlformats.org/officeDocument/2006/relationships/slideLayout" Target="../slideLayouts/slideLayout977.xml"/><Relationship Id="rId29" Type="http://schemas.openxmlformats.org/officeDocument/2006/relationships/slideLayout" Target="../slideLayouts/slideLayout986.xml"/><Relationship Id="rId1" Type="http://schemas.openxmlformats.org/officeDocument/2006/relationships/slideLayout" Target="../slideLayouts/slideLayout958.xml"/><Relationship Id="rId6" Type="http://schemas.openxmlformats.org/officeDocument/2006/relationships/slideLayout" Target="../slideLayouts/slideLayout963.xml"/><Relationship Id="rId11" Type="http://schemas.openxmlformats.org/officeDocument/2006/relationships/slideLayout" Target="../slideLayouts/slideLayout968.xml"/><Relationship Id="rId24" Type="http://schemas.openxmlformats.org/officeDocument/2006/relationships/slideLayout" Target="../slideLayouts/slideLayout981.xml"/><Relationship Id="rId5" Type="http://schemas.openxmlformats.org/officeDocument/2006/relationships/slideLayout" Target="../slideLayouts/slideLayout962.xml"/><Relationship Id="rId15" Type="http://schemas.openxmlformats.org/officeDocument/2006/relationships/slideLayout" Target="../slideLayouts/slideLayout972.xml"/><Relationship Id="rId23" Type="http://schemas.openxmlformats.org/officeDocument/2006/relationships/slideLayout" Target="../slideLayouts/slideLayout980.xml"/><Relationship Id="rId28" Type="http://schemas.openxmlformats.org/officeDocument/2006/relationships/slideLayout" Target="../slideLayouts/slideLayout985.xml"/><Relationship Id="rId10" Type="http://schemas.openxmlformats.org/officeDocument/2006/relationships/slideLayout" Target="../slideLayouts/slideLayout967.xml"/><Relationship Id="rId19" Type="http://schemas.openxmlformats.org/officeDocument/2006/relationships/slideLayout" Target="../slideLayouts/slideLayout976.xml"/><Relationship Id="rId31" Type="http://schemas.openxmlformats.org/officeDocument/2006/relationships/image" Target="../media/image41.jpeg"/><Relationship Id="rId4" Type="http://schemas.openxmlformats.org/officeDocument/2006/relationships/slideLayout" Target="../slideLayouts/slideLayout961.xml"/><Relationship Id="rId9" Type="http://schemas.openxmlformats.org/officeDocument/2006/relationships/slideLayout" Target="../slideLayouts/slideLayout966.xml"/><Relationship Id="rId14" Type="http://schemas.openxmlformats.org/officeDocument/2006/relationships/slideLayout" Target="../slideLayouts/slideLayout971.xml"/><Relationship Id="rId22" Type="http://schemas.openxmlformats.org/officeDocument/2006/relationships/slideLayout" Target="../slideLayouts/slideLayout979.xml"/><Relationship Id="rId27" Type="http://schemas.openxmlformats.org/officeDocument/2006/relationships/slideLayout" Target="../slideLayouts/slideLayout984.xml"/><Relationship Id="rId30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image" Target="../media/image13.jpg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4.xml"/><Relationship Id="rId13" Type="http://schemas.openxmlformats.org/officeDocument/2006/relationships/slideLayout" Target="../slideLayouts/slideLayout999.xml"/><Relationship Id="rId18" Type="http://schemas.openxmlformats.org/officeDocument/2006/relationships/slideLayout" Target="../slideLayouts/slideLayout1004.xml"/><Relationship Id="rId26" Type="http://schemas.openxmlformats.org/officeDocument/2006/relationships/slideLayout" Target="../slideLayouts/slideLayout1012.xml"/><Relationship Id="rId3" Type="http://schemas.openxmlformats.org/officeDocument/2006/relationships/slideLayout" Target="../slideLayouts/slideLayout989.xml"/><Relationship Id="rId21" Type="http://schemas.openxmlformats.org/officeDocument/2006/relationships/slideLayout" Target="../slideLayouts/slideLayout1007.xml"/><Relationship Id="rId7" Type="http://schemas.openxmlformats.org/officeDocument/2006/relationships/slideLayout" Target="../slideLayouts/slideLayout993.xml"/><Relationship Id="rId12" Type="http://schemas.openxmlformats.org/officeDocument/2006/relationships/slideLayout" Target="../slideLayouts/slideLayout998.xml"/><Relationship Id="rId17" Type="http://schemas.openxmlformats.org/officeDocument/2006/relationships/slideLayout" Target="../slideLayouts/slideLayout1003.xml"/><Relationship Id="rId25" Type="http://schemas.openxmlformats.org/officeDocument/2006/relationships/slideLayout" Target="../slideLayouts/slideLayout1011.xml"/><Relationship Id="rId2" Type="http://schemas.openxmlformats.org/officeDocument/2006/relationships/slideLayout" Target="../slideLayouts/slideLayout988.xml"/><Relationship Id="rId16" Type="http://schemas.openxmlformats.org/officeDocument/2006/relationships/slideLayout" Target="../slideLayouts/slideLayout1002.xml"/><Relationship Id="rId20" Type="http://schemas.openxmlformats.org/officeDocument/2006/relationships/slideLayout" Target="../slideLayouts/slideLayout1006.xml"/><Relationship Id="rId29" Type="http://schemas.openxmlformats.org/officeDocument/2006/relationships/slideLayout" Target="../slideLayouts/slideLayout1015.xml"/><Relationship Id="rId1" Type="http://schemas.openxmlformats.org/officeDocument/2006/relationships/slideLayout" Target="../slideLayouts/slideLayout987.xml"/><Relationship Id="rId6" Type="http://schemas.openxmlformats.org/officeDocument/2006/relationships/slideLayout" Target="../slideLayouts/slideLayout992.xml"/><Relationship Id="rId11" Type="http://schemas.openxmlformats.org/officeDocument/2006/relationships/slideLayout" Target="../slideLayouts/slideLayout997.xml"/><Relationship Id="rId24" Type="http://schemas.openxmlformats.org/officeDocument/2006/relationships/slideLayout" Target="../slideLayouts/slideLayout1010.xml"/><Relationship Id="rId5" Type="http://schemas.openxmlformats.org/officeDocument/2006/relationships/slideLayout" Target="../slideLayouts/slideLayout991.xml"/><Relationship Id="rId15" Type="http://schemas.openxmlformats.org/officeDocument/2006/relationships/slideLayout" Target="../slideLayouts/slideLayout1001.xml"/><Relationship Id="rId23" Type="http://schemas.openxmlformats.org/officeDocument/2006/relationships/slideLayout" Target="../slideLayouts/slideLayout1009.xml"/><Relationship Id="rId28" Type="http://schemas.openxmlformats.org/officeDocument/2006/relationships/slideLayout" Target="../slideLayouts/slideLayout1014.xml"/><Relationship Id="rId10" Type="http://schemas.openxmlformats.org/officeDocument/2006/relationships/slideLayout" Target="../slideLayouts/slideLayout996.xml"/><Relationship Id="rId19" Type="http://schemas.openxmlformats.org/officeDocument/2006/relationships/slideLayout" Target="../slideLayouts/slideLayout1005.xml"/><Relationship Id="rId31" Type="http://schemas.openxmlformats.org/officeDocument/2006/relationships/image" Target="../media/image41.jpeg"/><Relationship Id="rId4" Type="http://schemas.openxmlformats.org/officeDocument/2006/relationships/slideLayout" Target="../slideLayouts/slideLayout990.xml"/><Relationship Id="rId9" Type="http://schemas.openxmlformats.org/officeDocument/2006/relationships/slideLayout" Target="../slideLayouts/slideLayout995.xml"/><Relationship Id="rId14" Type="http://schemas.openxmlformats.org/officeDocument/2006/relationships/slideLayout" Target="../slideLayouts/slideLayout1000.xml"/><Relationship Id="rId22" Type="http://schemas.openxmlformats.org/officeDocument/2006/relationships/slideLayout" Target="../slideLayouts/slideLayout1008.xml"/><Relationship Id="rId27" Type="http://schemas.openxmlformats.org/officeDocument/2006/relationships/slideLayout" Target="../slideLayouts/slideLayout1013.xml"/><Relationship Id="rId30" Type="http://schemas.openxmlformats.org/officeDocument/2006/relationships/theme" Target="../theme/theme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oleObject" Target="../embeddings/oleObject2.bin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vmlDrawing" Target="../drawings/vmlDrawing2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theme" Target="../theme/theme4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26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35.xml"/><Relationship Id="rId21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5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52.xml"/><Relationship Id="rId29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slideLayout" Target="../slideLayouts/slideLayout156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slideLayout" Target="../slideLayouts/slideLayout155.xml"/><Relationship Id="rId28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42.xml"/><Relationship Id="rId19" Type="http://schemas.openxmlformats.org/officeDocument/2006/relationships/slideLayout" Target="../slideLayouts/slideLayout151.xml"/><Relationship Id="rId31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slideLayout" Target="../slideLayouts/slideLayout154.xml"/><Relationship Id="rId27" Type="http://schemas.openxmlformats.org/officeDocument/2006/relationships/slideLayout" Target="../slideLayouts/slideLayout159.xml"/><Relationship Id="rId30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9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34" Type="http://schemas.openxmlformats.org/officeDocument/2006/relationships/slideLayout" Target="../slideLayouts/slideLayout197.xml"/><Relationship Id="rId42" Type="http://schemas.openxmlformats.org/officeDocument/2006/relationships/vmlDrawing" Target="../drawings/vmlDrawing3.v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slideLayout" Target="../slideLayouts/slideLayout196.xml"/><Relationship Id="rId38" Type="http://schemas.openxmlformats.org/officeDocument/2006/relationships/slideLayout" Target="../slideLayouts/slideLayout201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41" Type="http://schemas.openxmlformats.org/officeDocument/2006/relationships/theme" Target="../theme/theme6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slideLayout" Target="../slideLayouts/slideLayout195.xml"/><Relationship Id="rId37" Type="http://schemas.openxmlformats.org/officeDocument/2006/relationships/slideLayout" Target="../slideLayouts/slideLayout200.xml"/><Relationship Id="rId40" Type="http://schemas.openxmlformats.org/officeDocument/2006/relationships/slideLayout" Target="../slideLayouts/slideLayout203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36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194.xml"/><Relationship Id="rId44" Type="http://schemas.openxmlformats.org/officeDocument/2006/relationships/oleObject" Target="../embeddings/oleObject3.bin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slideLayout" Target="../slideLayouts/slideLayout193.xml"/><Relationship Id="rId35" Type="http://schemas.openxmlformats.org/officeDocument/2006/relationships/slideLayout" Target="../slideLayouts/slideLayout198.xml"/><Relationship Id="rId43" Type="http://schemas.openxmlformats.org/officeDocument/2006/relationships/tags" Target="../tags/tag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229.xml"/><Relationship Id="rId39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224.xml"/><Relationship Id="rId34" Type="http://schemas.openxmlformats.org/officeDocument/2006/relationships/slideLayout" Target="../slideLayouts/slideLayout237.xml"/><Relationship Id="rId42" Type="http://schemas.openxmlformats.org/officeDocument/2006/relationships/image" Target="../media/image8.png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slideLayout" Target="../slideLayouts/slideLayout228.xml"/><Relationship Id="rId33" Type="http://schemas.openxmlformats.org/officeDocument/2006/relationships/slideLayout" Target="../slideLayouts/slideLayout236.xml"/><Relationship Id="rId38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slideLayout" Target="../slideLayouts/slideLayout223.xml"/><Relationship Id="rId29" Type="http://schemas.openxmlformats.org/officeDocument/2006/relationships/slideLayout" Target="../slideLayouts/slideLayout232.xml"/><Relationship Id="rId41" Type="http://schemas.openxmlformats.org/officeDocument/2006/relationships/theme" Target="../theme/theme7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slideLayout" Target="../slideLayouts/slideLayout227.xml"/><Relationship Id="rId32" Type="http://schemas.openxmlformats.org/officeDocument/2006/relationships/slideLayout" Target="../slideLayouts/slideLayout235.xml"/><Relationship Id="rId37" Type="http://schemas.openxmlformats.org/officeDocument/2006/relationships/slideLayout" Target="../slideLayouts/slideLayout240.xml"/><Relationship Id="rId40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slideLayout" Target="../slideLayouts/slideLayout226.xml"/><Relationship Id="rId28" Type="http://schemas.openxmlformats.org/officeDocument/2006/relationships/slideLayout" Target="../slideLayouts/slideLayout231.xml"/><Relationship Id="rId36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31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slideLayout" Target="../slideLayouts/slideLayout225.xml"/><Relationship Id="rId27" Type="http://schemas.openxmlformats.org/officeDocument/2006/relationships/slideLayout" Target="../slideLayouts/slideLayout230.xml"/><Relationship Id="rId30" Type="http://schemas.openxmlformats.org/officeDocument/2006/relationships/slideLayout" Target="../slideLayouts/slideLayout233.xml"/><Relationship Id="rId35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61.xml"/><Relationship Id="rId26" Type="http://schemas.openxmlformats.org/officeDocument/2006/relationships/slideLayout" Target="../slideLayouts/slideLayout269.xml"/><Relationship Id="rId39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64.xml"/><Relationship Id="rId34" Type="http://schemas.openxmlformats.org/officeDocument/2006/relationships/slideLayout" Target="../slideLayouts/slideLayout277.xml"/><Relationship Id="rId42" Type="http://schemas.openxmlformats.org/officeDocument/2006/relationships/slideLayout" Target="../slideLayouts/slideLayout285.xml"/><Relationship Id="rId47" Type="http://schemas.openxmlformats.org/officeDocument/2006/relationships/slideLayout" Target="../slideLayouts/slideLayout290.xml"/><Relationship Id="rId50" Type="http://schemas.openxmlformats.org/officeDocument/2006/relationships/theme" Target="../theme/theme8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60.xml"/><Relationship Id="rId25" Type="http://schemas.openxmlformats.org/officeDocument/2006/relationships/slideLayout" Target="../slideLayouts/slideLayout268.xml"/><Relationship Id="rId33" Type="http://schemas.openxmlformats.org/officeDocument/2006/relationships/slideLayout" Target="../slideLayouts/slideLayout276.xml"/><Relationship Id="rId38" Type="http://schemas.openxmlformats.org/officeDocument/2006/relationships/slideLayout" Target="../slideLayouts/slideLayout281.xml"/><Relationship Id="rId46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63.xml"/><Relationship Id="rId29" Type="http://schemas.openxmlformats.org/officeDocument/2006/relationships/slideLayout" Target="../slideLayouts/slideLayout272.xml"/><Relationship Id="rId41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slideLayout" Target="../slideLayouts/slideLayout267.xml"/><Relationship Id="rId32" Type="http://schemas.openxmlformats.org/officeDocument/2006/relationships/slideLayout" Target="../slideLayouts/slideLayout275.xml"/><Relationship Id="rId37" Type="http://schemas.openxmlformats.org/officeDocument/2006/relationships/slideLayout" Target="../slideLayouts/slideLayout280.xml"/><Relationship Id="rId40" Type="http://schemas.openxmlformats.org/officeDocument/2006/relationships/slideLayout" Target="../slideLayouts/slideLayout283.xml"/><Relationship Id="rId45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23" Type="http://schemas.openxmlformats.org/officeDocument/2006/relationships/slideLayout" Target="../slideLayouts/slideLayout266.xml"/><Relationship Id="rId28" Type="http://schemas.openxmlformats.org/officeDocument/2006/relationships/slideLayout" Target="../slideLayouts/slideLayout271.xml"/><Relationship Id="rId36" Type="http://schemas.openxmlformats.org/officeDocument/2006/relationships/slideLayout" Target="../slideLayouts/slideLayout279.xml"/><Relationship Id="rId49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62.xml"/><Relationship Id="rId31" Type="http://schemas.openxmlformats.org/officeDocument/2006/relationships/slideLayout" Target="../slideLayouts/slideLayout274.xml"/><Relationship Id="rId44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slideLayout" Target="../slideLayouts/slideLayout265.xml"/><Relationship Id="rId27" Type="http://schemas.openxmlformats.org/officeDocument/2006/relationships/slideLayout" Target="../slideLayouts/slideLayout270.xml"/><Relationship Id="rId30" Type="http://schemas.openxmlformats.org/officeDocument/2006/relationships/slideLayout" Target="../slideLayouts/slideLayout273.xml"/><Relationship Id="rId35" Type="http://schemas.openxmlformats.org/officeDocument/2006/relationships/slideLayout" Target="../slideLayouts/slideLayout278.xml"/><Relationship Id="rId43" Type="http://schemas.openxmlformats.org/officeDocument/2006/relationships/slideLayout" Target="../slideLayouts/slideLayout286.xml"/><Relationship Id="rId48" Type="http://schemas.openxmlformats.org/officeDocument/2006/relationships/slideLayout" Target="../slideLayouts/slideLayout291.xml"/><Relationship Id="rId8" Type="http://schemas.openxmlformats.org/officeDocument/2006/relationships/slideLayout" Target="../slideLayouts/slideLayout251.xml"/><Relationship Id="rId51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5.xml"/><Relationship Id="rId18" Type="http://schemas.openxmlformats.org/officeDocument/2006/relationships/slideLayout" Target="../slideLayouts/slideLayout310.xml"/><Relationship Id="rId26" Type="http://schemas.openxmlformats.org/officeDocument/2006/relationships/slideLayout" Target="../slideLayouts/slideLayout318.xml"/><Relationship Id="rId39" Type="http://schemas.openxmlformats.org/officeDocument/2006/relationships/slideLayout" Target="../slideLayouts/slideLayout331.xml"/><Relationship Id="rId21" Type="http://schemas.openxmlformats.org/officeDocument/2006/relationships/slideLayout" Target="../slideLayouts/slideLayout313.xml"/><Relationship Id="rId34" Type="http://schemas.openxmlformats.org/officeDocument/2006/relationships/slideLayout" Target="../slideLayouts/slideLayout326.xml"/><Relationship Id="rId42" Type="http://schemas.openxmlformats.org/officeDocument/2006/relationships/slideLayout" Target="../slideLayouts/slideLayout334.xml"/><Relationship Id="rId47" Type="http://schemas.openxmlformats.org/officeDocument/2006/relationships/slideLayout" Target="../slideLayouts/slideLayout339.xml"/><Relationship Id="rId50" Type="http://schemas.openxmlformats.org/officeDocument/2006/relationships/slideLayout" Target="../slideLayouts/slideLayout342.xml"/><Relationship Id="rId55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299.xml"/><Relationship Id="rId12" Type="http://schemas.openxmlformats.org/officeDocument/2006/relationships/slideLayout" Target="../slideLayouts/slideLayout304.xml"/><Relationship Id="rId17" Type="http://schemas.openxmlformats.org/officeDocument/2006/relationships/slideLayout" Target="../slideLayouts/slideLayout309.xml"/><Relationship Id="rId25" Type="http://schemas.openxmlformats.org/officeDocument/2006/relationships/slideLayout" Target="../slideLayouts/slideLayout317.xml"/><Relationship Id="rId33" Type="http://schemas.openxmlformats.org/officeDocument/2006/relationships/slideLayout" Target="../slideLayouts/slideLayout325.xml"/><Relationship Id="rId38" Type="http://schemas.openxmlformats.org/officeDocument/2006/relationships/slideLayout" Target="../slideLayouts/slideLayout330.xml"/><Relationship Id="rId46" Type="http://schemas.openxmlformats.org/officeDocument/2006/relationships/slideLayout" Target="../slideLayouts/slideLayout338.xml"/><Relationship Id="rId2" Type="http://schemas.openxmlformats.org/officeDocument/2006/relationships/slideLayout" Target="../slideLayouts/slideLayout294.xml"/><Relationship Id="rId16" Type="http://schemas.openxmlformats.org/officeDocument/2006/relationships/slideLayout" Target="../slideLayouts/slideLayout308.xml"/><Relationship Id="rId20" Type="http://schemas.openxmlformats.org/officeDocument/2006/relationships/slideLayout" Target="../slideLayouts/slideLayout312.xml"/><Relationship Id="rId29" Type="http://schemas.openxmlformats.org/officeDocument/2006/relationships/slideLayout" Target="../slideLayouts/slideLayout321.xml"/><Relationship Id="rId41" Type="http://schemas.openxmlformats.org/officeDocument/2006/relationships/slideLayout" Target="../slideLayouts/slideLayout333.xml"/><Relationship Id="rId54" Type="http://schemas.openxmlformats.org/officeDocument/2006/relationships/slideLayout" Target="../slideLayouts/slideLayout346.xml"/><Relationship Id="rId1" Type="http://schemas.openxmlformats.org/officeDocument/2006/relationships/slideLayout" Target="../slideLayouts/slideLayout293.xml"/><Relationship Id="rId6" Type="http://schemas.openxmlformats.org/officeDocument/2006/relationships/slideLayout" Target="../slideLayouts/slideLayout298.xml"/><Relationship Id="rId11" Type="http://schemas.openxmlformats.org/officeDocument/2006/relationships/slideLayout" Target="../slideLayouts/slideLayout303.xml"/><Relationship Id="rId24" Type="http://schemas.openxmlformats.org/officeDocument/2006/relationships/slideLayout" Target="../slideLayouts/slideLayout316.xml"/><Relationship Id="rId32" Type="http://schemas.openxmlformats.org/officeDocument/2006/relationships/slideLayout" Target="../slideLayouts/slideLayout324.xml"/><Relationship Id="rId37" Type="http://schemas.openxmlformats.org/officeDocument/2006/relationships/slideLayout" Target="../slideLayouts/slideLayout329.xml"/><Relationship Id="rId40" Type="http://schemas.openxmlformats.org/officeDocument/2006/relationships/slideLayout" Target="../slideLayouts/slideLayout332.xml"/><Relationship Id="rId45" Type="http://schemas.openxmlformats.org/officeDocument/2006/relationships/slideLayout" Target="../slideLayouts/slideLayout337.xml"/><Relationship Id="rId53" Type="http://schemas.openxmlformats.org/officeDocument/2006/relationships/slideLayout" Target="../slideLayouts/slideLayout345.xml"/><Relationship Id="rId58" Type="http://schemas.openxmlformats.org/officeDocument/2006/relationships/theme" Target="../theme/theme9.xml"/><Relationship Id="rId5" Type="http://schemas.openxmlformats.org/officeDocument/2006/relationships/slideLayout" Target="../slideLayouts/slideLayout297.xml"/><Relationship Id="rId15" Type="http://schemas.openxmlformats.org/officeDocument/2006/relationships/slideLayout" Target="../slideLayouts/slideLayout307.xml"/><Relationship Id="rId23" Type="http://schemas.openxmlformats.org/officeDocument/2006/relationships/slideLayout" Target="../slideLayouts/slideLayout315.xml"/><Relationship Id="rId28" Type="http://schemas.openxmlformats.org/officeDocument/2006/relationships/slideLayout" Target="../slideLayouts/slideLayout320.xml"/><Relationship Id="rId36" Type="http://schemas.openxmlformats.org/officeDocument/2006/relationships/slideLayout" Target="../slideLayouts/slideLayout328.xml"/><Relationship Id="rId49" Type="http://schemas.openxmlformats.org/officeDocument/2006/relationships/slideLayout" Target="../slideLayouts/slideLayout341.xml"/><Relationship Id="rId57" Type="http://schemas.openxmlformats.org/officeDocument/2006/relationships/slideLayout" Target="../slideLayouts/slideLayout349.xml"/><Relationship Id="rId10" Type="http://schemas.openxmlformats.org/officeDocument/2006/relationships/slideLayout" Target="../slideLayouts/slideLayout302.xml"/><Relationship Id="rId19" Type="http://schemas.openxmlformats.org/officeDocument/2006/relationships/slideLayout" Target="../slideLayouts/slideLayout311.xml"/><Relationship Id="rId31" Type="http://schemas.openxmlformats.org/officeDocument/2006/relationships/slideLayout" Target="../slideLayouts/slideLayout323.xml"/><Relationship Id="rId44" Type="http://schemas.openxmlformats.org/officeDocument/2006/relationships/slideLayout" Target="../slideLayouts/slideLayout336.xml"/><Relationship Id="rId52" Type="http://schemas.openxmlformats.org/officeDocument/2006/relationships/slideLayout" Target="../slideLayouts/slideLayout344.xml"/><Relationship Id="rId4" Type="http://schemas.openxmlformats.org/officeDocument/2006/relationships/slideLayout" Target="../slideLayouts/slideLayout296.xml"/><Relationship Id="rId9" Type="http://schemas.openxmlformats.org/officeDocument/2006/relationships/slideLayout" Target="../slideLayouts/slideLayout301.xml"/><Relationship Id="rId14" Type="http://schemas.openxmlformats.org/officeDocument/2006/relationships/slideLayout" Target="../slideLayouts/slideLayout306.xml"/><Relationship Id="rId22" Type="http://schemas.openxmlformats.org/officeDocument/2006/relationships/slideLayout" Target="../slideLayouts/slideLayout314.xml"/><Relationship Id="rId27" Type="http://schemas.openxmlformats.org/officeDocument/2006/relationships/slideLayout" Target="../slideLayouts/slideLayout319.xml"/><Relationship Id="rId30" Type="http://schemas.openxmlformats.org/officeDocument/2006/relationships/slideLayout" Target="../slideLayouts/slideLayout322.xml"/><Relationship Id="rId35" Type="http://schemas.openxmlformats.org/officeDocument/2006/relationships/slideLayout" Target="../slideLayouts/slideLayout327.xml"/><Relationship Id="rId43" Type="http://schemas.openxmlformats.org/officeDocument/2006/relationships/slideLayout" Target="../slideLayouts/slideLayout335.xml"/><Relationship Id="rId48" Type="http://schemas.openxmlformats.org/officeDocument/2006/relationships/slideLayout" Target="../slideLayouts/slideLayout340.xml"/><Relationship Id="rId56" Type="http://schemas.openxmlformats.org/officeDocument/2006/relationships/slideLayout" Target="../slideLayouts/slideLayout348.xml"/><Relationship Id="rId8" Type="http://schemas.openxmlformats.org/officeDocument/2006/relationships/slideLayout" Target="../slideLayouts/slideLayout300.xml"/><Relationship Id="rId51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2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357239839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29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4" r:id="rId1"/>
    <p:sldLayoutId id="2147484325" r:id="rId2"/>
    <p:sldLayoutId id="2147484326" r:id="rId3"/>
    <p:sldLayoutId id="2147484327" r:id="rId4"/>
    <p:sldLayoutId id="2147484328" r:id="rId5"/>
    <p:sldLayoutId id="2147484329" r:id="rId6"/>
    <p:sldLayoutId id="2147484330" r:id="rId7"/>
    <p:sldLayoutId id="2147484331" r:id="rId8"/>
    <p:sldLayoutId id="2147484332" r:id="rId9"/>
    <p:sldLayoutId id="2147484333" r:id="rId10"/>
    <p:sldLayoutId id="2147484334" r:id="rId11"/>
    <p:sldLayoutId id="2147484335" r:id="rId12"/>
    <p:sldLayoutId id="2147484336" r:id="rId13"/>
    <p:sldLayoutId id="2147484337" r:id="rId14"/>
    <p:sldLayoutId id="2147484338" r:id="rId15"/>
    <p:sldLayoutId id="2147484339" r:id="rId16"/>
    <p:sldLayoutId id="2147484340" r:id="rId17"/>
    <p:sldLayoutId id="2147484341" r:id="rId18"/>
    <p:sldLayoutId id="2147484342" r:id="rId19"/>
    <p:sldLayoutId id="2147484343" r:id="rId20"/>
    <p:sldLayoutId id="2147484344" r:id="rId21"/>
    <p:sldLayoutId id="2147484345" r:id="rId22"/>
    <p:sldLayoutId id="2147484346" r:id="rId23"/>
    <p:sldLayoutId id="2147484347" r:id="rId24"/>
    <p:sldLayoutId id="2147484348" r:id="rId25"/>
    <p:sldLayoutId id="2147484349" r:id="rId26"/>
    <p:sldLayoutId id="2147484350" r:id="rId27"/>
    <p:sldLayoutId id="2147484351" r:id="rId28"/>
    <p:sldLayoutId id="2147484352" r:id="rId29"/>
    <p:sldLayoutId id="2147484353" r:id="rId30"/>
    <p:sldLayoutId id="2147484354" r:id="rId31"/>
    <p:sldLayoutId id="2147484355" r:id="rId32"/>
    <p:sldLayoutId id="2147484356" r:id="rId33"/>
    <p:sldLayoutId id="2147484357" r:id="rId34"/>
    <p:sldLayoutId id="2147484359" r:id="rId35"/>
    <p:sldLayoutId id="2147484677" r:id="rId36"/>
    <p:sldLayoutId id="2147484678" r:id="rId37"/>
    <p:sldLayoutId id="2147484679" r:id="rId38"/>
    <p:sldLayoutId id="2147484680" r:id="rId39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75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6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84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126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8" indent="-226368" algn="l" defTabSz="91180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15" indent="-287711" algn="l" defTabSz="91180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38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210" indent="-228477" algn="l" defTabSz="91389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31" indent="-228446" algn="l" defTabSz="91389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613" indent="0" algn="l" defTabSz="91389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8" indent="-228477" algn="l" defTabSz="913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6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9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5596874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6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2" y="314327"/>
            <a:ext cx="11087100" cy="584775"/>
          </a:xfrm>
          <a:prstGeom prst="rect">
            <a:avLst/>
          </a:prstGeom>
        </p:spPr>
        <p:txBody>
          <a:bodyPr vert="horz" lIns="91436" tIns="45718" rIns="91436" bIns="45718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463041"/>
            <a:ext cx="11094720" cy="4713923"/>
          </a:xfrm>
          <a:prstGeom prst="rect">
            <a:avLst/>
          </a:prstGeom>
        </p:spPr>
        <p:txBody>
          <a:bodyPr vert="horz" lIns="0" tIns="45718" rIns="91436" bIns="45718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" y="6667502"/>
            <a:ext cx="11982473" cy="190500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marR="0" indent="0" algn="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6F6F6"/>
              </a:solidFill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875" y="409565"/>
            <a:ext cx="878980" cy="33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832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0" r:id="rId1"/>
    <p:sldLayoutId id="2147484761" r:id="rId2"/>
    <p:sldLayoutId id="2147484762" r:id="rId3"/>
    <p:sldLayoutId id="2147484763" r:id="rId4"/>
    <p:sldLayoutId id="2147484764" r:id="rId5"/>
    <p:sldLayoutId id="2147484765" r:id="rId6"/>
    <p:sldLayoutId id="2147484766" r:id="rId7"/>
    <p:sldLayoutId id="2147484767" r:id="rId8"/>
    <p:sldLayoutId id="2147484768" r:id="rId9"/>
    <p:sldLayoutId id="2147484769" r:id="rId10"/>
    <p:sldLayoutId id="2147484770" r:id="rId11"/>
    <p:sldLayoutId id="2147484771" r:id="rId12"/>
    <p:sldLayoutId id="2147484772" r:id="rId13"/>
    <p:sldLayoutId id="2147484773" r:id="rId14"/>
    <p:sldLayoutId id="2147484774" r:id="rId15"/>
  </p:sldLayoutIdLst>
  <p:transition spd="slow"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2"/>
          </a:solidFill>
          <a:latin typeface="CiscoSansTT Heavy" panose="020B0903020201020303" pitchFamily="34" charset="0"/>
          <a:ea typeface="+mj-ea"/>
          <a:cs typeface="+mj-cs"/>
        </a:defRPr>
      </a:lvl1pPr>
    </p:titleStyle>
    <p:bodyStyle>
      <a:lvl1pPr marL="342882" indent="-342882" algn="l" defTabSz="914354" rtl="0" eaLnBrk="1" latinLnBrk="0" hangingPunct="1">
        <a:lnSpc>
          <a:spcPct val="90000"/>
        </a:lnSpc>
        <a:spcBef>
          <a:spcPts val="1600"/>
        </a:spcBef>
        <a:buClr>
          <a:schemeClr val="accent6"/>
        </a:buClr>
        <a:buSzPct val="100000"/>
        <a:buFont typeface="Webdings" panose="05030102010509060703" pitchFamily="18" charset="2"/>
        <a:buChar char=""/>
        <a:defRPr sz="2400" kern="1200">
          <a:solidFill>
            <a:schemeClr val="tx2"/>
          </a:solidFill>
          <a:latin typeface="+mj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1000"/>
        </a:spcBef>
        <a:buClr>
          <a:schemeClr val="accent6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+mj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800"/>
        </a:spcBef>
        <a:buClr>
          <a:schemeClr val="accent6"/>
        </a:buClr>
        <a:buFont typeface="Wingdings" panose="05000000000000000000" pitchFamily="2" charset="2"/>
        <a:buChar char="§"/>
        <a:defRPr sz="1900" kern="1200">
          <a:solidFill>
            <a:schemeClr val="tx2"/>
          </a:solidFill>
          <a:latin typeface="+mj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800"/>
        </a:spcBef>
        <a:buClr>
          <a:schemeClr val="accent6"/>
        </a:buClr>
        <a:buFont typeface="Wingdings" panose="05000000000000000000" pitchFamily="2" charset="2"/>
        <a:buChar char="§"/>
        <a:defRPr sz="1900" kern="1200">
          <a:solidFill>
            <a:schemeClr val="tx2"/>
          </a:solidFill>
          <a:latin typeface="+mj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800"/>
        </a:spcBef>
        <a:buClr>
          <a:schemeClr val="accent6"/>
        </a:buClr>
        <a:buFont typeface="Wingdings" panose="05000000000000000000" pitchFamily="2" charset="2"/>
        <a:buChar char="§"/>
        <a:defRPr sz="1900" kern="1200">
          <a:solidFill>
            <a:schemeClr val="tx2"/>
          </a:solidFill>
          <a:latin typeface="+mj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36">
          <p15:clr>
            <a:srgbClr val="F26B43"/>
          </p15:clr>
        </p15:guide>
        <p15:guide id="3" pos="7320">
          <p15:clr>
            <a:srgbClr val="F26B43"/>
          </p15:clr>
        </p15:guide>
        <p15:guide id="4" pos="624" userDrawn="1">
          <p15:clr>
            <a:srgbClr val="F26B43"/>
          </p15:clr>
        </p15:guide>
        <p15:guide id="5" orient="horz" pos="456">
          <p15:clr>
            <a:srgbClr val="F26B43"/>
          </p15:clr>
        </p15:guide>
        <p15:guide id="6" orient="horz" pos="3888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59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6" r:id="rId1"/>
    <p:sldLayoutId id="2147484777" r:id="rId2"/>
    <p:sldLayoutId id="2147484778" r:id="rId3"/>
    <p:sldLayoutId id="2147484779" r:id="rId4"/>
    <p:sldLayoutId id="2147484780" r:id="rId5"/>
    <p:sldLayoutId id="2147484781" r:id="rId6"/>
    <p:sldLayoutId id="2147484782" r:id="rId7"/>
    <p:sldLayoutId id="2147484783" r:id="rId8"/>
    <p:sldLayoutId id="2147484784" r:id="rId9"/>
    <p:sldLayoutId id="2147484785" r:id="rId10"/>
    <p:sldLayoutId id="2147484786" r:id="rId11"/>
    <p:sldLayoutId id="2147484787" r:id="rId12"/>
    <p:sldLayoutId id="2147484788" r:id="rId13"/>
    <p:sldLayoutId id="2147484789" r:id="rId14"/>
    <p:sldLayoutId id="2147484790" r:id="rId15"/>
    <p:sldLayoutId id="2147484791" r:id="rId16"/>
    <p:sldLayoutId id="2147484792" r:id="rId17"/>
    <p:sldLayoutId id="2147484793" r:id="rId18"/>
    <p:sldLayoutId id="2147484794" r:id="rId19"/>
    <p:sldLayoutId id="2147484795" r:id="rId20"/>
    <p:sldLayoutId id="2147484796" r:id="rId21"/>
    <p:sldLayoutId id="2147484797" r:id="rId22"/>
    <p:sldLayoutId id="2147484798" r:id="rId23"/>
    <p:sldLayoutId id="2147484799" r:id="rId24"/>
    <p:sldLayoutId id="2147484800" r:id="rId25"/>
    <p:sldLayoutId id="2147484801" r:id="rId26"/>
    <p:sldLayoutId id="2147484802" r:id="rId27"/>
    <p:sldLayoutId id="2147484803" r:id="rId28"/>
    <p:sldLayoutId id="2147484804" r:id="rId29"/>
    <p:sldLayoutId id="2147484805" r:id="rId30"/>
    <p:sldLayoutId id="2147484806" r:id="rId31"/>
    <p:sldLayoutId id="2147484807" r:id="rId32"/>
    <p:sldLayoutId id="2147484808" r:id="rId33"/>
    <p:sldLayoutId id="2147484809" r:id="rId34"/>
    <p:sldLayoutId id="2147484810" r:id="rId35"/>
    <p:sldLayoutId id="2147484811" r:id="rId36"/>
    <p:sldLayoutId id="2147484812" r:id="rId37"/>
    <p:sldLayoutId id="2147484813" r:id="rId38"/>
    <p:sldLayoutId id="2147484814" r:id="rId39"/>
    <p:sldLayoutId id="2147484815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0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92" y="454877"/>
            <a:ext cx="11545824" cy="975360"/>
          </a:xfrm>
          <a:prstGeom prst="rect">
            <a:avLst/>
          </a:prstGeom>
        </p:spPr>
        <p:txBody>
          <a:bodyPr vert="horz" lIns="121909" tIns="60954" rIns="121909" bIns="60954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9075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7" r:id="rId1"/>
    <p:sldLayoutId id="2147484818" r:id="rId2"/>
    <p:sldLayoutId id="2147484819" r:id="rId3"/>
    <p:sldLayoutId id="2147484820" r:id="rId4"/>
    <p:sldLayoutId id="2147484821" r:id="rId5"/>
    <p:sldLayoutId id="2147484822" r:id="rId6"/>
    <p:sldLayoutId id="2147484823" r:id="rId7"/>
    <p:sldLayoutId id="2147484824" r:id="rId8"/>
    <p:sldLayoutId id="2147484825" r:id="rId9"/>
    <p:sldLayoutId id="2147484826" r:id="rId10"/>
    <p:sldLayoutId id="2147484827" r:id="rId11"/>
    <p:sldLayoutId id="2147484828" r:id="rId12"/>
    <p:sldLayoutId id="2147484829" r:id="rId13"/>
    <p:sldLayoutId id="2147484830" r:id="rId14"/>
    <p:sldLayoutId id="2147484831" r:id="rId15"/>
    <p:sldLayoutId id="2147484832" r:id="rId16"/>
    <p:sldLayoutId id="2147484833" r:id="rId17"/>
    <p:sldLayoutId id="2147484834" r:id="rId18"/>
    <p:sldLayoutId id="2147484835" r:id="rId19"/>
    <p:sldLayoutId id="2147484836" r:id="rId20"/>
    <p:sldLayoutId id="2147484837" r:id="rId21"/>
    <p:sldLayoutId id="2147484838" r:id="rId22"/>
    <p:sldLayoutId id="2147484839" r:id="rId23"/>
    <p:sldLayoutId id="2147484840" r:id="rId24"/>
    <p:sldLayoutId id="2147484841" r:id="rId25"/>
    <p:sldLayoutId id="2147484842" r:id="rId26"/>
    <p:sldLayoutId id="2147484843" r:id="rId27"/>
    <p:sldLayoutId id="2147484844" r:id="rId28"/>
    <p:sldLayoutId id="2147484845" r:id="rId29"/>
    <p:sldLayoutId id="2147484846" r:id="rId30"/>
    <p:sldLayoutId id="2147484847" r:id="rId31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4430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609" indent="-228609" algn="l" defTabSz="914430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952" indent="-287971" algn="l" defTabSz="914430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944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934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923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886" indent="-228609" algn="l" defTabSz="91443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875" indent="-228578" algn="l" defTabSz="91443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507" indent="0" algn="l" defTabSz="91443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30" indent="-228609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5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0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6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2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8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93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7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23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4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590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  <p:sldLayoutId id="2147484851" r:id="rId3"/>
    <p:sldLayoutId id="2147484852" r:id="rId4"/>
    <p:sldLayoutId id="2147484853" r:id="rId5"/>
    <p:sldLayoutId id="2147484854" r:id="rId6"/>
    <p:sldLayoutId id="2147484855" r:id="rId7"/>
    <p:sldLayoutId id="2147484856" r:id="rId8"/>
    <p:sldLayoutId id="2147484857" r:id="rId9"/>
    <p:sldLayoutId id="2147484858" r:id="rId10"/>
    <p:sldLayoutId id="2147484859" r:id="rId11"/>
    <p:sldLayoutId id="2147484860" r:id="rId12"/>
    <p:sldLayoutId id="2147484861" r:id="rId13"/>
    <p:sldLayoutId id="2147484862" r:id="rId14"/>
    <p:sldLayoutId id="2147484863" r:id="rId15"/>
    <p:sldLayoutId id="2147484864" r:id="rId16"/>
    <p:sldLayoutId id="2147484865" r:id="rId17"/>
    <p:sldLayoutId id="2147484866" r:id="rId18"/>
    <p:sldLayoutId id="2147484867" r:id="rId19"/>
    <p:sldLayoutId id="2147484868" r:id="rId20"/>
    <p:sldLayoutId id="2147484869" r:id="rId21"/>
    <p:sldLayoutId id="2147484870" r:id="rId22"/>
    <p:sldLayoutId id="2147484871" r:id="rId23"/>
    <p:sldLayoutId id="2147484872" r:id="rId24"/>
    <p:sldLayoutId id="2147484873" r:id="rId25"/>
    <p:sldLayoutId id="2147484874" r:id="rId26"/>
    <p:sldLayoutId id="2147484875" r:id="rId27"/>
    <p:sldLayoutId id="2147484876" r:id="rId28"/>
    <p:sldLayoutId id="2147484877" r:id="rId29"/>
    <p:sldLayoutId id="2147484878" r:id="rId30"/>
    <p:sldLayoutId id="2147484879" r:id="rId31"/>
    <p:sldLayoutId id="2147484880" r:id="rId32"/>
    <p:sldLayoutId id="2147484881" r:id="rId33"/>
    <p:sldLayoutId id="2147484882" r:id="rId34"/>
    <p:sldLayoutId id="2147484883" r:id="rId35"/>
    <p:sldLayoutId id="2147484884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75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6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84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126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8" indent="-226368" algn="l" defTabSz="91180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15" indent="-287711" algn="l" defTabSz="91180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38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210" indent="-228477" algn="l" defTabSz="91389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31" indent="-228446" algn="l" defTabSz="91389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613" indent="0" algn="l" defTabSz="91389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8" indent="-228477" algn="l" defTabSz="913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6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9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54982179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0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5865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6" r:id="rId1"/>
    <p:sldLayoutId id="2147484887" r:id="rId2"/>
    <p:sldLayoutId id="2147484888" r:id="rId3"/>
    <p:sldLayoutId id="2147484889" r:id="rId4"/>
    <p:sldLayoutId id="2147484890" r:id="rId5"/>
    <p:sldLayoutId id="2147484891" r:id="rId6"/>
    <p:sldLayoutId id="2147484892" r:id="rId7"/>
    <p:sldLayoutId id="2147484893" r:id="rId8"/>
    <p:sldLayoutId id="2147484894" r:id="rId9"/>
    <p:sldLayoutId id="2147484895" r:id="rId10"/>
    <p:sldLayoutId id="2147484896" r:id="rId11"/>
    <p:sldLayoutId id="2147484897" r:id="rId12"/>
    <p:sldLayoutId id="2147484898" r:id="rId13"/>
    <p:sldLayoutId id="2147484899" r:id="rId14"/>
    <p:sldLayoutId id="2147484900" r:id="rId15"/>
    <p:sldLayoutId id="2147484901" r:id="rId16"/>
    <p:sldLayoutId id="2147484902" r:id="rId17"/>
    <p:sldLayoutId id="2147484903" r:id="rId18"/>
    <p:sldLayoutId id="2147484904" r:id="rId19"/>
    <p:sldLayoutId id="2147484905" r:id="rId20"/>
    <p:sldLayoutId id="2147484906" r:id="rId21"/>
    <p:sldLayoutId id="2147484907" r:id="rId22"/>
    <p:sldLayoutId id="2147484908" r:id="rId23"/>
    <p:sldLayoutId id="2147484909" r:id="rId24"/>
    <p:sldLayoutId id="2147484910" r:id="rId25"/>
    <p:sldLayoutId id="2147484911" r:id="rId26"/>
    <p:sldLayoutId id="2147484912" r:id="rId27"/>
    <p:sldLayoutId id="2147484913" r:id="rId28"/>
    <p:sldLayoutId id="2147484914" r:id="rId29"/>
    <p:sldLayoutId id="2147484915" r:id="rId30"/>
    <p:sldLayoutId id="2147484916" r:id="rId31"/>
    <p:sldLayoutId id="2147484917" r:id="rId32"/>
    <p:sldLayoutId id="2147484918" r:id="rId33"/>
    <p:sldLayoutId id="2147484919" r:id="rId34"/>
    <p:sldLayoutId id="2147484920" r:id="rId35"/>
    <p:sldLayoutId id="2147484921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75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6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84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126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8" indent="-226368" algn="l" defTabSz="91180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15" indent="-287711" algn="l" defTabSz="91180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38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210" indent="-228477" algn="l" defTabSz="91389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31" indent="-228446" algn="l" defTabSz="91389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613" indent="0" algn="l" defTabSz="91389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8" indent="-228477" algn="l" defTabSz="913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6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9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410371530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4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4200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3" r:id="rId1"/>
    <p:sldLayoutId id="2147484924" r:id="rId2"/>
    <p:sldLayoutId id="2147484925" r:id="rId3"/>
    <p:sldLayoutId id="2147484926" r:id="rId4"/>
    <p:sldLayoutId id="2147484927" r:id="rId5"/>
    <p:sldLayoutId id="2147484928" r:id="rId6"/>
    <p:sldLayoutId id="2147484929" r:id="rId7"/>
    <p:sldLayoutId id="2147484930" r:id="rId8"/>
    <p:sldLayoutId id="2147484931" r:id="rId9"/>
    <p:sldLayoutId id="2147484932" r:id="rId10"/>
    <p:sldLayoutId id="2147484933" r:id="rId11"/>
    <p:sldLayoutId id="2147484934" r:id="rId12"/>
    <p:sldLayoutId id="2147484935" r:id="rId13"/>
    <p:sldLayoutId id="2147484936" r:id="rId14"/>
    <p:sldLayoutId id="2147484937" r:id="rId15"/>
    <p:sldLayoutId id="2147484938" r:id="rId16"/>
    <p:sldLayoutId id="2147484939" r:id="rId17"/>
    <p:sldLayoutId id="2147484940" r:id="rId18"/>
    <p:sldLayoutId id="2147484941" r:id="rId19"/>
    <p:sldLayoutId id="2147484942" r:id="rId20"/>
    <p:sldLayoutId id="2147484943" r:id="rId21"/>
    <p:sldLayoutId id="2147484944" r:id="rId22"/>
    <p:sldLayoutId id="2147484945" r:id="rId23"/>
    <p:sldLayoutId id="2147484946" r:id="rId24"/>
    <p:sldLayoutId id="2147484947" r:id="rId25"/>
    <p:sldLayoutId id="2147484948" r:id="rId26"/>
    <p:sldLayoutId id="2147484949" r:id="rId27"/>
    <p:sldLayoutId id="2147484950" r:id="rId28"/>
    <p:sldLayoutId id="2147484951" r:id="rId29"/>
    <p:sldLayoutId id="2147484952" r:id="rId30"/>
    <p:sldLayoutId id="2147484953" r:id="rId31"/>
    <p:sldLayoutId id="2147484954" r:id="rId32"/>
    <p:sldLayoutId id="2147484955" r:id="rId33"/>
    <p:sldLayoutId id="2147484956" r:id="rId34"/>
    <p:sldLayoutId id="2147484957" r:id="rId35"/>
    <p:sldLayoutId id="2147484958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75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6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84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126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8" indent="-226368" algn="l" defTabSz="91180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15" indent="-287711" algn="l" defTabSz="91180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38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210" indent="-228477" algn="l" defTabSz="91389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31" indent="-228446" algn="l" defTabSz="91389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613" indent="0" algn="l" defTabSz="91389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8" indent="-228477" algn="l" defTabSz="913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6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9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6" tIns="60948" rIns="121896" bIns="6094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13" tIns="41055" rIns="82113" bIns="41055" anchor="b">
            <a:spAutoFit/>
          </a:bodyPr>
          <a:lstStyle/>
          <a:p>
            <a:pPr algn="r" defTabSz="81430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430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3" tIns="41055" rIns="82113" bIns="41055" anchor="b">
            <a:spAutoFit/>
          </a:bodyPr>
          <a:lstStyle/>
          <a:p>
            <a:pPr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220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0" r:id="rId1"/>
    <p:sldLayoutId id="2147484961" r:id="rId2"/>
    <p:sldLayoutId id="2147484962" r:id="rId3"/>
    <p:sldLayoutId id="2147484963" r:id="rId4"/>
    <p:sldLayoutId id="2147484964" r:id="rId5"/>
    <p:sldLayoutId id="2147484965" r:id="rId6"/>
    <p:sldLayoutId id="2147484966" r:id="rId7"/>
    <p:sldLayoutId id="2147484967" r:id="rId8"/>
    <p:sldLayoutId id="2147484968" r:id="rId9"/>
    <p:sldLayoutId id="2147484969" r:id="rId10"/>
    <p:sldLayoutId id="2147484970" r:id="rId11"/>
    <p:sldLayoutId id="2147484971" r:id="rId12"/>
    <p:sldLayoutId id="2147484972" r:id="rId13"/>
    <p:sldLayoutId id="2147484973" r:id="rId14"/>
    <p:sldLayoutId id="2147484974" r:id="rId15"/>
    <p:sldLayoutId id="2147484975" r:id="rId16"/>
    <p:sldLayoutId id="2147484976" r:id="rId17"/>
    <p:sldLayoutId id="2147484977" r:id="rId18"/>
    <p:sldLayoutId id="2147484978" r:id="rId19"/>
    <p:sldLayoutId id="2147484979" r:id="rId20"/>
    <p:sldLayoutId id="2147484980" r:id="rId21"/>
    <p:sldLayoutId id="2147484981" r:id="rId22"/>
    <p:sldLayoutId id="2147484982" r:id="rId23"/>
    <p:sldLayoutId id="2147484983" r:id="rId24"/>
    <p:sldLayoutId id="2147484984" r:id="rId25"/>
    <p:sldLayoutId id="2147484985" r:id="rId26"/>
    <p:sldLayoutId id="2147484986" r:id="rId27"/>
    <p:sldLayoutId id="2147484987" r:id="rId28"/>
    <p:sldLayoutId id="2147484988" r:id="rId29"/>
    <p:sldLayoutId id="2147484989" r:id="rId30"/>
    <p:sldLayoutId id="2147484990" r:id="rId31"/>
    <p:sldLayoutId id="2147484991" r:id="rId32"/>
    <p:sldLayoutId id="2147484992" r:id="rId33"/>
    <p:sldLayoutId id="2147484993" r:id="rId34"/>
    <p:sldLayoutId id="2147484994" r:id="rId35"/>
    <p:sldLayoutId id="2147484995" r:id="rId36"/>
    <p:sldLayoutId id="2147484996" r:id="rId37"/>
    <p:sldLayoutId id="2147484997" r:id="rId38"/>
    <p:sldLayoutId id="2147484998" r:id="rId39"/>
    <p:sldLayoutId id="2147484999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0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71481271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4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3" tIns="41042" rIns="82073" bIns="41042" anchor="b">
            <a:spAutoFit/>
          </a:bodyPr>
          <a:lstStyle/>
          <a:p>
            <a:pPr algn="r" defTabSz="81390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0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3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3" tIns="41042" rIns="82073" bIns="41042" anchor="b">
            <a:spAutoFit/>
          </a:bodyPr>
          <a:lstStyle/>
          <a:p>
            <a:pPr defTabSz="81390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8155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1" r:id="rId1"/>
    <p:sldLayoutId id="2147485002" r:id="rId2"/>
    <p:sldLayoutId id="2147485003" r:id="rId3"/>
    <p:sldLayoutId id="2147485004" r:id="rId4"/>
    <p:sldLayoutId id="2147485005" r:id="rId5"/>
    <p:sldLayoutId id="2147485006" r:id="rId6"/>
    <p:sldLayoutId id="2147485007" r:id="rId7"/>
    <p:sldLayoutId id="2147485008" r:id="rId8"/>
    <p:sldLayoutId id="2147485009" r:id="rId9"/>
    <p:sldLayoutId id="2147485010" r:id="rId10"/>
    <p:sldLayoutId id="2147485011" r:id="rId11"/>
    <p:sldLayoutId id="2147485012" r:id="rId12"/>
    <p:sldLayoutId id="2147485013" r:id="rId13"/>
    <p:sldLayoutId id="2147485014" r:id="rId14"/>
    <p:sldLayoutId id="2147485015" r:id="rId15"/>
    <p:sldLayoutId id="2147485016" r:id="rId16"/>
    <p:sldLayoutId id="2147485017" r:id="rId17"/>
    <p:sldLayoutId id="2147485018" r:id="rId18"/>
    <p:sldLayoutId id="2147485019" r:id="rId19"/>
    <p:sldLayoutId id="2147485020" r:id="rId20"/>
    <p:sldLayoutId id="2147485021" r:id="rId21"/>
    <p:sldLayoutId id="2147485022" r:id="rId22"/>
    <p:sldLayoutId id="2147485023" r:id="rId23"/>
    <p:sldLayoutId id="2147485024" r:id="rId24"/>
    <p:sldLayoutId id="2147485025" r:id="rId25"/>
    <p:sldLayoutId id="2147485026" r:id="rId26"/>
    <p:sldLayoutId id="2147485027" r:id="rId27"/>
    <p:sldLayoutId id="2147485028" r:id="rId28"/>
    <p:sldLayoutId id="2147485029" r:id="rId29"/>
    <p:sldLayoutId id="2147485030" r:id="rId30"/>
    <p:sldLayoutId id="2147485031" r:id="rId31"/>
    <p:sldLayoutId id="2147485032" r:id="rId32"/>
    <p:sldLayoutId id="2147485033" r:id="rId33"/>
    <p:sldLayoutId id="2147485034" r:id="rId34"/>
    <p:sldLayoutId id="2147485035" r:id="rId35"/>
    <p:sldLayoutId id="2147485036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75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6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844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126" algn="l" defTabSz="91180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8" indent="-226368" algn="l" defTabSz="91180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15" indent="-287711" algn="l" defTabSz="91180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38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34" indent="-226368" algn="l" defTabSz="91180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210" indent="-228477" algn="l" defTabSz="91389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131" indent="-228446" algn="l" defTabSz="91389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613" indent="0" algn="l" defTabSz="91389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038" indent="-228477" algn="l" defTabSz="9138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35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0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3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8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26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74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13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59" algn="l" defTabSz="91389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99762411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3" imgW="270" imgH="270" progId="TCLayout.ActiveDocument.1">
                  <p:embed/>
                </p:oleObj>
              </mc:Choice>
              <mc:Fallback>
                <p:oleObj name="think-cell Slide" r:id="rId4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102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37" tIns="60918" rIns="121837" bIns="6091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15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71" tIns="41042" rIns="82071" bIns="41042" anchor="b">
            <a:spAutoFit/>
          </a:bodyPr>
          <a:lstStyle/>
          <a:p>
            <a:pPr algn="r" defTabSz="81388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88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45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71" tIns="41042" rIns="82071" bIns="41042" anchor="b">
            <a:spAutoFit/>
          </a:bodyPr>
          <a:lstStyle/>
          <a:p>
            <a:pPr defTabSz="81388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0294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8" r:id="rId1"/>
    <p:sldLayoutId id="2147485039" r:id="rId2"/>
    <p:sldLayoutId id="2147485040" r:id="rId3"/>
    <p:sldLayoutId id="2147485041" r:id="rId4"/>
    <p:sldLayoutId id="2147485042" r:id="rId5"/>
    <p:sldLayoutId id="2147485043" r:id="rId6"/>
    <p:sldLayoutId id="2147485044" r:id="rId7"/>
    <p:sldLayoutId id="2147485045" r:id="rId8"/>
    <p:sldLayoutId id="2147485046" r:id="rId9"/>
    <p:sldLayoutId id="2147485047" r:id="rId10"/>
    <p:sldLayoutId id="2147485048" r:id="rId11"/>
    <p:sldLayoutId id="2147485049" r:id="rId12"/>
    <p:sldLayoutId id="2147485050" r:id="rId13"/>
    <p:sldLayoutId id="2147485051" r:id="rId14"/>
    <p:sldLayoutId id="2147485052" r:id="rId15"/>
    <p:sldLayoutId id="2147485053" r:id="rId16"/>
    <p:sldLayoutId id="2147485054" r:id="rId17"/>
    <p:sldLayoutId id="2147485055" r:id="rId18"/>
    <p:sldLayoutId id="2147485056" r:id="rId19"/>
    <p:sldLayoutId id="2147485057" r:id="rId20"/>
    <p:sldLayoutId id="2147485058" r:id="rId21"/>
    <p:sldLayoutId id="2147485059" r:id="rId22"/>
    <p:sldLayoutId id="2147485060" r:id="rId23"/>
    <p:sldLayoutId id="2147485061" r:id="rId24"/>
    <p:sldLayoutId id="2147485062" r:id="rId25"/>
    <p:sldLayoutId id="2147485063" r:id="rId26"/>
    <p:sldLayoutId id="2147485064" r:id="rId27"/>
    <p:sldLayoutId id="2147485065" r:id="rId28"/>
    <p:sldLayoutId id="2147485066" r:id="rId29"/>
    <p:sldLayoutId id="2147485067" r:id="rId30"/>
    <p:sldLayoutId id="2147485068" r:id="rId31"/>
    <p:sldLayoutId id="2147485069" r:id="rId32"/>
    <p:sldLayoutId id="2147485070" r:id="rId33"/>
    <p:sldLayoutId id="2147485071" r:id="rId34"/>
    <p:sldLayoutId id="2147485072" r:id="rId35"/>
    <p:sldLayoutId id="2147485074" r:id="rId36"/>
    <p:sldLayoutId id="2147485075" r:id="rId37"/>
    <p:sldLayoutId id="2147485076" r:id="rId38"/>
    <p:sldLayoutId id="2147485077" r:id="rId39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259"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534"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7798"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066" algn="l" defTabSz="9117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62" indent="-226362" algn="l" defTabSz="911784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03" indent="-287703" algn="l" defTabSz="911784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20" indent="-226362" algn="l" defTabSz="9117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622" indent="-226362" algn="l" defTabSz="9117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816" indent="-226362" algn="l" defTabSz="9117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182" indent="-228472" algn="l" defTabSz="913868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099" indent="-228441" algn="l" defTabSz="913868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533" indent="0" algn="l" defTabSz="91386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42" indent="-228472" algn="l" defTabSz="91386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3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68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00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38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70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06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33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67" algn="l" defTabSz="91386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92" y="454877"/>
            <a:ext cx="11545824" cy="975360"/>
          </a:xfrm>
          <a:prstGeom prst="rect">
            <a:avLst/>
          </a:prstGeom>
        </p:spPr>
        <p:txBody>
          <a:bodyPr vert="horz" lIns="121906" tIns="60953" rIns="121906" bIns="60953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729" y="6323866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1" tIns="41062" rIns="82121" bIns="41062" anchor="b">
            <a:spAutoFit/>
          </a:bodyPr>
          <a:lstStyle/>
          <a:p>
            <a:pPr algn="r" defTabSz="81436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cs typeface="CiscoSans Thin"/>
              </a:rPr>
              <a:pPr algn="r" defTabSz="81436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97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1" tIns="41062" rIns="82121" bIns="41062" anchor="b" anchorCtr="0">
            <a:spAutoFit/>
          </a:bodyPr>
          <a:lstStyle/>
          <a:p>
            <a:pPr defTabSz="81436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31F20"/>
                </a:solidFill>
                <a:latin typeface="CiscoSansTT Light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231F20"/>
              </a:solidFill>
              <a:latin typeface="CiscoSansTT Light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2200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1" r:id="rId1"/>
    <p:sldLayoutId id="2147485082" r:id="rId2"/>
    <p:sldLayoutId id="2147485083" r:id="rId3"/>
    <p:sldLayoutId id="2147485084" r:id="rId4"/>
    <p:sldLayoutId id="2147485085" r:id="rId5"/>
    <p:sldLayoutId id="2147485086" r:id="rId6"/>
    <p:sldLayoutId id="2147485087" r:id="rId7"/>
    <p:sldLayoutId id="2147485088" r:id="rId8"/>
    <p:sldLayoutId id="2147485089" r:id="rId9"/>
    <p:sldLayoutId id="2147485090" r:id="rId10"/>
    <p:sldLayoutId id="2147485091" r:id="rId11"/>
    <p:sldLayoutId id="2147485092" r:id="rId12"/>
    <p:sldLayoutId id="2147485093" r:id="rId13"/>
    <p:sldLayoutId id="2147485094" r:id="rId14"/>
    <p:sldLayoutId id="2147485095" r:id="rId15"/>
    <p:sldLayoutId id="2147485096" r:id="rId16"/>
    <p:sldLayoutId id="2147485097" r:id="rId17"/>
    <p:sldLayoutId id="2147485098" r:id="rId18"/>
    <p:sldLayoutId id="2147485099" r:id="rId19"/>
    <p:sldLayoutId id="2147485100" r:id="rId20"/>
    <p:sldLayoutId id="2147485101" r:id="rId21"/>
    <p:sldLayoutId id="2147485102" r:id="rId22"/>
    <p:sldLayoutId id="2147485103" r:id="rId23"/>
    <p:sldLayoutId id="2147485104" r:id="rId24"/>
    <p:sldLayoutId id="2147485105" r:id="rId25"/>
    <p:sldLayoutId id="2147485106" r:id="rId26"/>
    <p:sldLayoutId id="2147485107" r:id="rId27"/>
    <p:sldLayoutId id="2147485108" r:id="rId28"/>
    <p:sldLayoutId id="2147485109" r:id="rId29"/>
    <p:sldLayoutId id="2147485110" r:id="rId30"/>
    <p:sldLayoutId id="2147485111" r:id="rId31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4408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604" indent="-228604" algn="l" defTabSz="914408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940" indent="-287963" algn="l" defTabSz="914408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930" indent="-228573" algn="l" defTabSz="91440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918" indent="-228573" algn="l" defTabSz="91440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903" indent="-228573" algn="l" defTabSz="91440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858" indent="-228604" algn="l" defTabSz="914408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843" indent="-228573" algn="l" defTabSz="914408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427" indent="0" algn="l" defTabSz="91440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4" indent="-228604" algn="l" defTabSz="9144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2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7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2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5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7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1" algn="l" defTabSz="91440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8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77" tIns="60938" rIns="121877" bIns="609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99" tIns="41054" rIns="82099" bIns="41054" anchor="b">
            <a:spAutoFit/>
          </a:bodyPr>
          <a:lstStyle/>
          <a:p>
            <a:pPr algn="r" defTabSz="8141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8141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099" tIns="41054" rIns="82099" bIns="41054" anchor="b">
            <a:spAutoFit/>
          </a:bodyPr>
          <a:lstStyle/>
          <a:p>
            <a:pPr defTabSz="8141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0446691" y="6299296"/>
            <a:ext cx="1107440" cy="292384"/>
          </a:xfrm>
          <a:prstGeom prst="rect">
            <a:avLst/>
          </a:prstGeom>
          <a:noFill/>
        </p:spPr>
        <p:txBody>
          <a:bodyPr wrap="square" lIns="121898" tIns="60949" rIns="121898" bIns="60949" rtlCol="0">
            <a:spAutoFit/>
          </a:bodyPr>
          <a:lstStyle/>
          <a:p>
            <a:pPr defTabSz="609475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676767"/>
                </a:solidFill>
                <a:latin typeface="Arial"/>
                <a:ea typeface="+mn-ea"/>
                <a:cs typeface="+mn-cs"/>
              </a:rPr>
              <a:t>Cisco Public</a:t>
            </a:r>
            <a:endParaRPr lang="en-US" sz="1100" dirty="0">
              <a:solidFill>
                <a:srgbClr val="676767"/>
              </a:solidFill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907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0" r:id="rId1"/>
    <p:sldLayoutId id="2147484401" r:id="rId2"/>
    <p:sldLayoutId id="2147484402" r:id="rId3"/>
    <p:sldLayoutId id="2147484403" r:id="rId4"/>
    <p:sldLayoutId id="2147484404" r:id="rId5"/>
    <p:sldLayoutId id="2147484405" r:id="rId6"/>
    <p:sldLayoutId id="2147484406" r:id="rId7"/>
    <p:sldLayoutId id="2147484407" r:id="rId8"/>
    <p:sldLayoutId id="2147484408" r:id="rId9"/>
    <p:sldLayoutId id="2147484409" r:id="rId10"/>
    <p:sldLayoutId id="2147484410" r:id="rId11"/>
    <p:sldLayoutId id="2147484411" r:id="rId12"/>
    <p:sldLayoutId id="2147484412" r:id="rId13"/>
    <p:sldLayoutId id="2147484413" r:id="rId14"/>
    <p:sldLayoutId id="2147484414" r:id="rId15"/>
    <p:sldLayoutId id="2147484415" r:id="rId16"/>
    <p:sldLayoutId id="2147484416" r:id="rId17"/>
    <p:sldLayoutId id="2147484417" r:id="rId18"/>
    <p:sldLayoutId id="2147484418" r:id="rId19"/>
    <p:sldLayoutId id="2147484419" r:id="rId20"/>
    <p:sldLayoutId id="2147484420" r:id="rId21"/>
    <p:sldLayoutId id="2147484421" r:id="rId22"/>
    <p:sldLayoutId id="2147484422" r:id="rId23"/>
    <p:sldLayoutId id="2147484423" r:id="rId24"/>
    <p:sldLayoutId id="2147484424" r:id="rId25"/>
    <p:sldLayoutId id="2147484425" r:id="rId26"/>
    <p:sldLayoutId id="2147484426" r:id="rId27"/>
    <p:sldLayoutId id="2147484427" r:id="rId28"/>
    <p:sldLayoutId id="2147484428" r:id="rId29"/>
    <p:sldLayoutId id="2147484429" r:id="rId30"/>
    <p:sldLayoutId id="2147484430" r:id="rId31"/>
    <p:sldLayoutId id="2147484431" r:id="rId32"/>
    <p:sldLayoutId id="2147484432" r:id="rId33"/>
    <p:sldLayoutId id="2147484433" r:id="rId34"/>
    <p:sldLayoutId id="2147484434" r:id="rId35"/>
    <p:sldLayoutId id="2147484435" r:id="rId36"/>
    <p:sldLayoutId id="2147484436" r:id="rId37"/>
    <p:sldLayoutId id="2147484437" r:id="rId38"/>
    <p:sldLayoutId id="2147484438" r:id="rId39"/>
    <p:sldLayoutId id="2147484439" r:id="rId40"/>
    <p:sldLayoutId id="2147484440" r:id="rId41"/>
    <p:sldLayoutId id="2147484441" r:id="rId42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0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475"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960"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437"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918" algn="l" defTabSz="91210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41" indent="-226441" algn="l" defTabSz="912103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271" indent="-287803" algn="l" defTabSz="912103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620" indent="-226441" algn="l" defTabSz="91210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854" indent="-226441" algn="l" defTabSz="91210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084" indent="-226441" algn="l" defTabSz="91210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582" indent="-228550" algn="l" defTabSz="914188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39" indent="-228520" algn="l" defTabSz="914188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653" indent="0" algn="l" defTabSz="91418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2" indent="-228550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7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0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7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0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3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47" algn="l" defTabSz="9141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88" tIns="60944" rIns="121888" bIns="609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29" y="6323881"/>
            <a:ext cx="294071" cy="206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7" tIns="41054" rIns="82107" bIns="41054" anchor="b">
            <a:spAutoFit/>
          </a:bodyPr>
          <a:lstStyle/>
          <a:p>
            <a:pPr algn="r" defTabSz="81424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424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4" y="6322204"/>
            <a:ext cx="3544024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07" tIns="41054" rIns="82107" bIns="41054" anchor="b">
            <a:spAutoFit/>
          </a:bodyPr>
          <a:lstStyle/>
          <a:p>
            <a:pPr defTabSz="81424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2014  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0767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114" r:id="rId2"/>
    <p:sldLayoutId id="2147485115" r:id="rId3"/>
    <p:sldLayoutId id="2147485116" r:id="rId4"/>
    <p:sldLayoutId id="2147485117" r:id="rId5"/>
    <p:sldLayoutId id="2147485118" r:id="rId6"/>
    <p:sldLayoutId id="2147485119" r:id="rId7"/>
    <p:sldLayoutId id="2147485120" r:id="rId8"/>
    <p:sldLayoutId id="2147485121" r:id="rId9"/>
    <p:sldLayoutId id="2147485122" r:id="rId10"/>
    <p:sldLayoutId id="2147485123" r:id="rId11"/>
    <p:sldLayoutId id="2147485124" r:id="rId12"/>
    <p:sldLayoutId id="2147485125" r:id="rId13"/>
    <p:sldLayoutId id="2147485126" r:id="rId14"/>
    <p:sldLayoutId id="2147485127" r:id="rId15"/>
    <p:sldLayoutId id="2147485128" r:id="rId16"/>
    <p:sldLayoutId id="2147485129" r:id="rId17"/>
    <p:sldLayoutId id="2147485130" r:id="rId18"/>
    <p:sldLayoutId id="2147485131" r:id="rId19"/>
    <p:sldLayoutId id="2147485132" r:id="rId20"/>
    <p:sldLayoutId id="2147485133" r:id="rId21"/>
    <p:sldLayoutId id="2147485134" r:id="rId22"/>
    <p:sldLayoutId id="2147485135" r:id="rId23"/>
    <p:sldLayoutId id="2147485136" r:id="rId24"/>
    <p:sldLayoutId id="2147485137" r:id="rId25"/>
    <p:sldLayoutId id="2147485138" r:id="rId26"/>
    <p:sldLayoutId id="2147485139" r:id="rId27"/>
    <p:sldLayoutId id="2147485140" r:id="rId28"/>
    <p:sldLayoutId id="2147485141" r:id="rId29"/>
    <p:sldLayoutId id="2147485142" r:id="rId30"/>
    <p:sldLayoutId id="2147485143" r:id="rId31"/>
    <p:sldLayoutId id="2147485144" r:id="rId32"/>
    <p:sldLayoutId id="2147485145" r:id="rId33"/>
    <p:sldLayoutId id="2147485146" r:id="rId34"/>
    <p:sldLayoutId id="2147485147" r:id="rId35"/>
    <p:sldLayoutId id="2147485148" r:id="rId36"/>
    <p:sldLayoutId id="2147485149" r:id="rId37"/>
    <p:sldLayoutId id="2147485150" r:id="rId38"/>
    <p:sldLayoutId id="2147485151" r:id="rId39"/>
    <p:sldLayoutId id="2147485152" r:id="rId40"/>
    <p:sldLayoutId id="2147485153" r:id="rId41"/>
    <p:sldLayoutId id="2147485154" r:id="rId42"/>
    <p:sldLayoutId id="2147485155" r:id="rId43"/>
    <p:sldLayoutId id="2147485156" r:id="rId44"/>
    <p:sldLayoutId id="2147485157" r:id="rId45"/>
    <p:sldLayoutId id="2147485158" r:id="rId46"/>
    <p:sldLayoutId id="2147485159" r:id="rId47"/>
    <p:sldLayoutId id="2147485160" r:id="rId48"/>
    <p:sldLayoutId id="2147485161" r:id="rId49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39"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080"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618"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158" algn="l" defTabSz="91219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62" indent="-226462" algn="l" defTabSz="912193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19" indent="-287835" algn="l" defTabSz="912193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676" indent="-226462" algn="l" defTabSz="91219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18" indent="-226462" algn="l" defTabSz="91219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158" indent="-226462" algn="l" defTabSz="91219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694" indent="-228572" algn="l" defTabSz="914278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667" indent="-228541" algn="l" defTabSz="914278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973" indent="0" algn="l" defTabSz="91427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6" indent="-228572" algn="l" defTabSz="9142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8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6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8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4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7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5" algn="l" defTabSz="91427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34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32"/>
            <a:ext cx="511213" cy="366183"/>
          </a:xfrm>
          <a:prstGeom prst="rect">
            <a:avLst/>
          </a:prstGeom>
        </p:spPr>
        <p:txBody>
          <a:bodyPr vert="horz" lIns="121685" tIns="60843" rIns="121685" bIns="60843" rtlCol="0" anchor="ctr"/>
          <a:lstStyle>
            <a:lvl1pPr marL="0" algn="ctr" defTabSz="60967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722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0" r:id="rId1"/>
    <p:sldLayoutId id="2147485171" r:id="rId2"/>
    <p:sldLayoutId id="2147485172" r:id="rId3"/>
    <p:sldLayoutId id="2147485173" r:id="rId4"/>
    <p:sldLayoutId id="2147485174" r:id="rId5"/>
    <p:sldLayoutId id="2147485175" r:id="rId6"/>
    <p:sldLayoutId id="2147485176" r:id="rId7"/>
    <p:sldLayoutId id="2147485177" r:id="rId8"/>
    <p:sldLayoutId id="2147485178" r:id="rId9"/>
    <p:sldLayoutId id="2147485179" r:id="rId10"/>
    <p:sldLayoutId id="2147485180" r:id="rId11"/>
    <p:sldLayoutId id="2147485181" r:id="rId12"/>
    <p:sldLayoutId id="2147485182" r:id="rId13"/>
    <p:sldLayoutId id="2147485183" r:id="rId14"/>
    <p:sldLayoutId id="2147485184" r:id="rId15"/>
    <p:sldLayoutId id="2147485185" r:id="rId16"/>
    <p:sldLayoutId id="2147485186" r:id="rId17"/>
    <p:sldLayoutId id="2147485187" r:id="rId18"/>
    <p:sldLayoutId id="2147485188" r:id="rId19"/>
    <p:sldLayoutId id="2147485189" r:id="rId20"/>
    <p:sldLayoutId id="2147485190" r:id="rId21"/>
    <p:sldLayoutId id="2147485191" r:id="rId22"/>
    <p:sldLayoutId id="2147485192" r:id="rId23"/>
    <p:sldLayoutId id="2147485193" r:id="rId24"/>
    <p:sldLayoutId id="2147485194" r:id="rId25"/>
    <p:sldLayoutId id="2147485195" r:id="rId26"/>
    <p:sldLayoutId id="2147485196" r:id="rId27"/>
    <p:sldLayoutId id="2147485197" r:id="rId28"/>
    <p:sldLayoutId id="2147485198" r:id="rId29"/>
    <p:sldLayoutId id="2147485199" r:id="rId30"/>
    <p:sldLayoutId id="2147485200" r:id="rId3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587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2891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09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400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560" indent="-247187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598" indent="-257895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330" indent="-212763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023" indent="-212763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175" indent="-89122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4854" indent="-1711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141" indent="-1711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69366" indent="-1711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1668" indent="-171103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55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81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07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32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361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5881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14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0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115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2" r:id="rId1"/>
    <p:sldLayoutId id="2147485203" r:id="rId2"/>
    <p:sldLayoutId id="2147485204" r:id="rId3"/>
    <p:sldLayoutId id="2147485205" r:id="rId4"/>
    <p:sldLayoutId id="2147485206" r:id="rId5"/>
    <p:sldLayoutId id="2147485207" r:id="rId6"/>
    <p:sldLayoutId id="2147485208" r:id="rId7"/>
    <p:sldLayoutId id="2147485209" r:id="rId8"/>
    <p:sldLayoutId id="2147485210" r:id="rId9"/>
    <p:sldLayoutId id="2147485211" r:id="rId10"/>
    <p:sldLayoutId id="2147485212" r:id="rId11"/>
    <p:sldLayoutId id="2147485213" r:id="rId12"/>
    <p:sldLayoutId id="2147485214" r:id="rId13"/>
    <p:sldLayoutId id="2147485215" r:id="rId14"/>
    <p:sldLayoutId id="2147485216" r:id="rId15"/>
    <p:sldLayoutId id="2147485217" r:id="rId16"/>
    <p:sldLayoutId id="2147485218" r:id="rId17"/>
    <p:sldLayoutId id="2147485219" r:id="rId18"/>
    <p:sldLayoutId id="2147485220" r:id="rId19"/>
    <p:sldLayoutId id="2147485221" r:id="rId20"/>
    <p:sldLayoutId id="2147485222" r:id="rId21"/>
    <p:sldLayoutId id="2147485223" r:id="rId22"/>
    <p:sldLayoutId id="2147485224" r:id="rId23"/>
    <p:sldLayoutId id="2147485225" r:id="rId2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71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14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48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916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656" indent="-247283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790" indent="-257991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60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38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566" indent="-89158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5562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973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0335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2760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0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81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196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58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382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78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175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0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33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7" r:id="rId1"/>
    <p:sldLayoutId id="2147485228" r:id="rId2"/>
    <p:sldLayoutId id="2147485229" r:id="rId3"/>
    <p:sldLayoutId id="2147485230" r:id="rId4"/>
    <p:sldLayoutId id="2147485231" r:id="rId5"/>
    <p:sldLayoutId id="2147485232" r:id="rId6"/>
    <p:sldLayoutId id="2147485233" r:id="rId7"/>
    <p:sldLayoutId id="2147485234" r:id="rId8"/>
    <p:sldLayoutId id="2147485235" r:id="rId9"/>
    <p:sldLayoutId id="2147485236" r:id="rId10"/>
    <p:sldLayoutId id="2147485237" r:id="rId11"/>
    <p:sldLayoutId id="2147485238" r:id="rId12"/>
    <p:sldLayoutId id="2147485239" r:id="rId13"/>
    <p:sldLayoutId id="2147485240" r:id="rId14"/>
    <p:sldLayoutId id="2147485241" r:id="rId15"/>
    <p:sldLayoutId id="2147485242" r:id="rId16"/>
    <p:sldLayoutId id="2147485243" r:id="rId17"/>
    <p:sldLayoutId id="2147485244" r:id="rId18"/>
    <p:sldLayoutId id="2147485245" r:id="rId19"/>
    <p:sldLayoutId id="2147485246" r:id="rId20"/>
    <p:sldLayoutId id="2147485247" r:id="rId21"/>
    <p:sldLayoutId id="2147485248" r:id="rId22"/>
    <p:sldLayoutId id="2147485249" r:id="rId23"/>
    <p:sldLayoutId id="2147485250" r:id="rId2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71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14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48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916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656" indent="-247283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790" indent="-257991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60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38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566" indent="-89158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5562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973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0335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2760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0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81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196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58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382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78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175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33" tIns="60867" rIns="121733" bIns="608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702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52" y="6598702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0" tIns="30749" rIns="61500" bIns="30749" anchor="b">
            <a:spAutoFit/>
          </a:bodyPr>
          <a:lstStyle/>
          <a:p>
            <a:pPr defTabSz="609899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10"/>
            <a:ext cx="759414" cy="200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0" tIns="30749" rIns="61500" bIns="30749" anchor="b" anchorCtr="1">
            <a:spAutoFit/>
          </a:bodyPr>
          <a:lstStyle/>
          <a:p>
            <a:pPr defTabSz="609899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8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20"/>
            <a:ext cx="511213" cy="366183"/>
          </a:xfrm>
          <a:prstGeom prst="rect">
            <a:avLst/>
          </a:prstGeom>
        </p:spPr>
        <p:txBody>
          <a:bodyPr vert="horz" lIns="121733" tIns="60867" rIns="121733" bIns="60867" rtlCol="0" anchor="ctr"/>
          <a:lstStyle>
            <a:lvl1pPr marL="0" algn="ctr" defTabSz="609899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55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2" r:id="rId1"/>
    <p:sldLayoutId id="2147485253" r:id="rId2"/>
    <p:sldLayoutId id="2147485254" r:id="rId3"/>
    <p:sldLayoutId id="2147485255" r:id="rId4"/>
    <p:sldLayoutId id="2147485256" r:id="rId5"/>
    <p:sldLayoutId id="2147485257" r:id="rId6"/>
    <p:sldLayoutId id="2147485258" r:id="rId7"/>
    <p:sldLayoutId id="2147485259" r:id="rId8"/>
    <p:sldLayoutId id="2147485260" r:id="rId9"/>
    <p:sldLayoutId id="2147485261" r:id="rId10"/>
    <p:sldLayoutId id="2147485262" r:id="rId11"/>
    <p:sldLayoutId id="2147485263" r:id="rId12"/>
    <p:sldLayoutId id="2147485264" r:id="rId13"/>
    <p:sldLayoutId id="2147485265" r:id="rId14"/>
    <p:sldLayoutId id="2147485266" r:id="rId15"/>
    <p:sldLayoutId id="2147485267" r:id="rId16"/>
    <p:sldLayoutId id="2147485268" r:id="rId17"/>
    <p:sldLayoutId id="2147485269" r:id="rId18"/>
    <p:sldLayoutId id="2147485270" r:id="rId19"/>
    <p:sldLayoutId id="2147485271" r:id="rId20"/>
    <p:sldLayoutId id="2147485272" r:id="rId21"/>
    <p:sldLayoutId id="2147485273" r:id="rId22"/>
    <p:sldLayoutId id="2147485274" r:id="rId23"/>
    <p:sldLayoutId id="2147485275" r:id="rId2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71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14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48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916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656" indent="-247283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790" indent="-257991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60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383" indent="-2128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566" indent="-89158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5562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973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0335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2760" indent="-1711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0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811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196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58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968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382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6780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175" algn="l" defTabSz="342401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67" tIns="60933" rIns="121867" bIns="6093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67" tIns="60933" rIns="121867" bIns="609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6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67" tIns="30783" rIns="61567" bIns="30783" anchor="b" anchorCtr="1">
            <a:spAutoFit/>
          </a:bodyPr>
          <a:lstStyle/>
          <a:p>
            <a:pPr defTabSz="610532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77" y="6603823"/>
            <a:ext cx="759549" cy="200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67" tIns="30783" rIns="61567" bIns="30783" anchor="b" anchorCtr="1">
            <a:spAutoFit/>
          </a:bodyPr>
          <a:lstStyle/>
          <a:p>
            <a:pPr defTabSz="610532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487"/>
            <a:ext cx="511213" cy="366183"/>
          </a:xfrm>
          <a:prstGeom prst="rect">
            <a:avLst/>
          </a:prstGeom>
        </p:spPr>
        <p:txBody>
          <a:bodyPr vert="horz" lIns="121867" tIns="60933" rIns="121867" bIns="60933" rtlCol="0" anchor="ctr"/>
          <a:lstStyle>
            <a:lvl1pPr marL="0" algn="ctr" defTabSz="610532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953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7" r:id="rId1"/>
    <p:sldLayoutId id="2147485278" r:id="rId2"/>
    <p:sldLayoutId id="2147485279" r:id="rId3"/>
    <p:sldLayoutId id="2147485280" r:id="rId4"/>
    <p:sldLayoutId id="2147485281" r:id="rId5"/>
    <p:sldLayoutId id="2147485282" r:id="rId6"/>
    <p:sldLayoutId id="2147485283" r:id="rId7"/>
    <p:sldLayoutId id="2147485284" r:id="rId8"/>
    <p:sldLayoutId id="2147485285" r:id="rId9"/>
    <p:sldLayoutId id="2147485286" r:id="rId10"/>
    <p:sldLayoutId id="2147485287" r:id="rId11"/>
    <p:sldLayoutId id="2147485288" r:id="rId12"/>
    <p:sldLayoutId id="2147485289" r:id="rId13"/>
    <p:sldLayoutId id="2147485290" r:id="rId14"/>
    <p:sldLayoutId id="2147485291" r:id="rId15"/>
    <p:sldLayoutId id="2147485292" r:id="rId16"/>
    <p:sldLayoutId id="2147485293" r:id="rId17"/>
    <p:sldLayoutId id="2147485294" r:id="rId18"/>
    <p:sldLayoutId id="2147485295" r:id="rId19"/>
    <p:sldLayoutId id="2147485296" r:id="rId20"/>
    <p:sldLayoutId id="2147485297" r:id="rId21"/>
    <p:sldLayoutId id="2147485298" r:id="rId22"/>
    <p:sldLayoutId id="2147485299" r:id="rId23"/>
    <p:sldLayoutId id="2147485300" r:id="rId24"/>
    <p:sldLayoutId id="2147485301" r:id="rId25"/>
    <p:sldLayoutId id="2147485302" r:id="rId26"/>
    <p:sldLayoutId id="2147485303" r:id="rId27"/>
    <p:sldLayoutId id="2147485304" r:id="rId28"/>
    <p:sldLayoutId id="2147485305" r:id="rId29"/>
    <p:sldLayoutId id="2147485306" r:id="rId30"/>
    <p:sldLayoutId id="2147485307" r:id="rId3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1085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84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658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9349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923" indent="-247547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5323" indent="-258257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8353" indent="-2130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1383" indent="-213035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30645" indent="-89258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7528" indent="-1713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30286" indent="-1713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3032" indent="-1713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5792" indent="-171375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55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12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64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16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68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525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80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032" algn="l" defTabSz="3427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9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48" y="6598698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8" tIns="30753" rIns="61508" bIns="30753" anchor="b">
            <a:spAutoFit/>
          </a:bodyPr>
          <a:lstStyle/>
          <a:p>
            <a:pPr defTabSz="609975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02"/>
            <a:ext cx="759430" cy="20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3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9" r:id="rId1"/>
    <p:sldLayoutId id="2147485310" r:id="rId2"/>
    <p:sldLayoutId id="2147485311" r:id="rId3"/>
    <p:sldLayoutId id="2147485312" r:id="rId4"/>
    <p:sldLayoutId id="2147485313" r:id="rId5"/>
    <p:sldLayoutId id="2147485314" r:id="rId6"/>
    <p:sldLayoutId id="2147485315" r:id="rId7"/>
    <p:sldLayoutId id="2147485316" r:id="rId8"/>
    <p:sldLayoutId id="2147485317" r:id="rId9"/>
    <p:sldLayoutId id="2147485318" r:id="rId10"/>
    <p:sldLayoutId id="2147485319" r:id="rId11"/>
    <p:sldLayoutId id="2147485320" r:id="rId12"/>
    <p:sldLayoutId id="2147485321" r:id="rId13"/>
    <p:sldLayoutId id="2147485322" r:id="rId14"/>
    <p:sldLayoutId id="2147485323" r:id="rId15"/>
    <p:sldLayoutId id="2147485324" r:id="rId16"/>
    <p:sldLayoutId id="2147485325" r:id="rId17"/>
    <p:sldLayoutId id="2147485326" r:id="rId18"/>
    <p:sldLayoutId id="2147485327" r:id="rId19"/>
    <p:sldLayoutId id="2147485328" r:id="rId20"/>
    <p:sldLayoutId id="2147485329" r:id="rId21"/>
    <p:sldLayoutId id="2147485330" r:id="rId22"/>
    <p:sldLayoutId id="2147485331" r:id="rId23"/>
    <p:sldLayoutId id="2147485332" r:id="rId2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76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227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621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8088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688" indent="-247315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854" indent="-258023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693" indent="-212859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503" indent="-212859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698" indent="-8917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5798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8249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0659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3123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45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895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324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76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184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64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08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518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749" tIns="60875" rIns="121749" bIns="608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black">
          <a:xfrm>
            <a:off x="1711370" y="6598698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5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4" name="Rectangle 6"/>
          <p:cNvSpPr>
            <a:spLocks noChangeArrowheads="1"/>
          </p:cNvSpPr>
          <p:nvPr userDrawn="1"/>
        </p:nvSpPr>
        <p:spPr bwMode="black">
          <a:xfrm>
            <a:off x="463148" y="6598698"/>
            <a:ext cx="105618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08" tIns="30753" rIns="61508" bIns="30753" anchor="b">
            <a:spAutoFit/>
          </a:bodyPr>
          <a:lstStyle/>
          <a:p>
            <a:pPr defTabSz="609975"/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BRKDCT-3378</a:t>
            </a:r>
            <a:endParaRPr lang="en-US" sz="900" dirty="0">
              <a:solidFill>
                <a:srgbClr val="595959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15" name="Rectangle 4"/>
          <p:cNvSpPr>
            <a:spLocks noChangeArrowheads="1"/>
          </p:cNvSpPr>
          <p:nvPr userDrawn="1"/>
        </p:nvSpPr>
        <p:spPr bwMode="black">
          <a:xfrm>
            <a:off x="4806391" y="6603902"/>
            <a:ext cx="759430" cy="200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508" tIns="30753" rIns="61508" bIns="30753" anchor="b" anchorCtr="1">
            <a:spAutoFit/>
          </a:bodyPr>
          <a:lstStyle/>
          <a:p>
            <a:pPr defTabSz="609975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 userDrawn="1"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43464" y="6151038"/>
            <a:ext cx="1386982" cy="466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806527" y="6518516"/>
            <a:ext cx="511213" cy="366183"/>
          </a:xfrm>
          <a:prstGeom prst="rect">
            <a:avLst/>
          </a:prstGeom>
        </p:spPr>
        <p:txBody>
          <a:bodyPr vert="horz" lIns="121749" tIns="60875" rIns="121749" bIns="60875" rtlCol="0" anchor="ctr"/>
          <a:lstStyle>
            <a:lvl1pPr marL="0" algn="ctr" defTabSz="60997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9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5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34" r:id="rId1"/>
    <p:sldLayoutId id="2147485335" r:id="rId2"/>
    <p:sldLayoutId id="2147485336" r:id="rId3"/>
    <p:sldLayoutId id="2147485337" r:id="rId4"/>
    <p:sldLayoutId id="2147485338" r:id="rId5"/>
    <p:sldLayoutId id="2147485339" r:id="rId6"/>
    <p:sldLayoutId id="2147485340" r:id="rId7"/>
    <p:sldLayoutId id="2147485341" r:id="rId8"/>
    <p:sldLayoutId id="2147485342" r:id="rId9"/>
    <p:sldLayoutId id="2147485343" r:id="rId10"/>
    <p:sldLayoutId id="2147485344" r:id="rId11"/>
    <p:sldLayoutId id="2147485345" r:id="rId12"/>
    <p:sldLayoutId id="2147485346" r:id="rId13"/>
    <p:sldLayoutId id="2147485347" r:id="rId14"/>
    <p:sldLayoutId id="2147485348" r:id="rId15"/>
    <p:sldLayoutId id="2147485349" r:id="rId16"/>
    <p:sldLayoutId id="2147485350" r:id="rId17"/>
    <p:sldLayoutId id="2147485351" r:id="rId18"/>
    <p:sldLayoutId id="2147485352" r:id="rId19"/>
    <p:sldLayoutId id="2147485353" r:id="rId20"/>
    <p:sldLayoutId id="2147485354" r:id="rId21"/>
    <p:sldLayoutId id="2147485355" r:id="rId22"/>
    <p:sldLayoutId id="2147485356" r:id="rId23"/>
    <p:sldLayoutId id="2147485357" r:id="rId2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763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3227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621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8088" algn="l" rtl="0" fontAlgn="base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688" indent="-247315" algn="l" rtl="0" eaLnBrk="0" fontAlgn="base" hangingPunct="0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854" indent="-258023" algn="l" rtl="0" eaLnBrk="0" fontAlgn="base" hangingPunct="0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693" indent="-212859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503" indent="-212859" algn="l" rtl="0" eaLnBrk="0" fontAlgn="base" hangingPunct="0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698" indent="-89170" algn="l" rtl="0" eaLnBrk="0" fontAlgn="base" hangingPunct="0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5798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8249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70659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3123" indent="-171199" algn="l" rtl="0" fontAlgn="base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45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895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324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76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184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64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080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518" algn="l" defTabSz="34244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95" y="454877"/>
            <a:ext cx="8464264" cy="975360"/>
          </a:xfrm>
          <a:prstGeom prst="rect">
            <a:avLst/>
          </a:prstGeom>
        </p:spPr>
        <p:txBody>
          <a:bodyPr vert="horz" lIns="121669" tIns="60835" rIns="121669" bIns="60835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5"/>
          <p:cNvSpPr>
            <a:spLocks noChangeArrowheads="1"/>
          </p:cNvSpPr>
          <p:nvPr/>
        </p:nvSpPr>
        <p:spPr bwMode="ltGray">
          <a:xfrm>
            <a:off x="10495821" y="6675004"/>
            <a:ext cx="938380" cy="205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54131" y="6670712"/>
            <a:ext cx="287695" cy="2060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1944" tIns="40971" rIns="81944" bIns="40971" anchor="b">
            <a:spAutoFit/>
          </a:bodyPr>
          <a:lstStyle/>
          <a:p>
            <a:pPr algn="r" defTabSz="812858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pPr algn="r" defTabSz="8128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449" y="6676549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1944" tIns="40971" rIns="81944" bIns="40971" anchor="b" anchorCtr="0">
            <a:spAutoFit/>
          </a:bodyPr>
          <a:lstStyle/>
          <a:p>
            <a:pPr defTabSz="812858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FFFFFF"/>
                </a:solidFill>
                <a:latin typeface="CiscoSansTT Light"/>
                <a:ea typeface="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FFFFFF"/>
              </a:solidFill>
              <a:latin typeface="CiscoSansTT Light"/>
              <a:ea typeface="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16255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59" r:id="rId1"/>
    <p:sldLayoutId id="2147485360" r:id="rId2"/>
    <p:sldLayoutId id="2147485361" r:id="rId3"/>
    <p:sldLayoutId id="2147485362" r:id="rId4"/>
    <p:sldLayoutId id="2147485363" r:id="rId5"/>
    <p:sldLayoutId id="2147485364" r:id="rId6"/>
    <p:sldLayoutId id="2147485365" r:id="rId7"/>
    <p:sldLayoutId id="2147485366" r:id="rId8"/>
    <p:sldLayoutId id="2147485367" r:id="rId9"/>
    <p:sldLayoutId id="2147485368" r:id="rId10"/>
    <p:sldLayoutId id="2147485369" r:id="rId11"/>
    <p:sldLayoutId id="2147485370" r:id="rId12"/>
    <p:sldLayoutId id="2147485371" r:id="rId13"/>
    <p:sldLayoutId id="2147485372" r:id="rId14"/>
    <p:sldLayoutId id="2147485373" r:id="rId15"/>
    <p:sldLayoutId id="2147485374" r:id="rId16"/>
    <p:sldLayoutId id="2147485375" r:id="rId17"/>
    <p:sldLayoutId id="2147485376" r:id="rId18"/>
    <p:sldLayoutId id="2147485377" r:id="rId19"/>
    <p:sldLayoutId id="2147485378" r:id="rId20"/>
    <p:sldLayoutId id="2147485379" r:id="rId21"/>
    <p:sldLayoutId id="2147485380" r:id="rId22"/>
    <p:sldLayoutId id="2147485381" r:id="rId23"/>
    <p:sldLayoutId id="2147485382" r:id="rId24"/>
    <p:sldLayoutId id="2147485383" r:id="rId25"/>
    <p:sldLayoutId id="2147485384" r:id="rId26"/>
    <p:sldLayoutId id="2147485385" r:id="rId27"/>
    <p:sldLayoutId id="2147485386" r:id="rId28"/>
    <p:sldLayoutId id="2147485387" r:id="rId29"/>
    <p:sldLayoutId id="2147485388" r:id="rId30"/>
    <p:sldLayoutId id="2147485389" r:id="rId31"/>
    <p:sldLayoutId id="2147485390" r:id="rId32"/>
    <p:sldLayoutId id="2147485391" r:id="rId33"/>
    <p:sldLayoutId id="2147485392" r:id="rId34"/>
    <p:sldLayoutId id="2147485393" r:id="rId35"/>
    <p:sldLayoutId id="2147485394" r:id="rId36"/>
    <p:sldLayoutId id="2147485395" r:id="rId3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728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189" indent="-228189" algn="l" defTabSz="912728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056" indent="-287434" algn="l" defTabSz="912728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4867" indent="-228159" algn="l" defTabSz="91272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0679" indent="-228159" algn="l" defTabSz="91272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6490" indent="-228159" algn="l" defTabSz="912728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49735" indent="-228189" algn="l" defTabSz="912728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5546" indent="-228159" algn="l" defTabSz="912728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4534" indent="0" algn="l" defTabSz="91272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076" indent="-228189" algn="l" defTabSz="91272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21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28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080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56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783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175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534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910" algn="l" defTabSz="91272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4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black">
          <a:xfrm>
            <a:off x="4806391" y="6603934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8497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7" r:id="rId1"/>
    <p:sldLayoutId id="2147485398" r:id="rId2"/>
    <p:sldLayoutId id="2147485399" r:id="rId3"/>
    <p:sldLayoutId id="2147485400" r:id="rId4"/>
    <p:sldLayoutId id="2147485401" r:id="rId5"/>
    <p:sldLayoutId id="2147485402" r:id="rId6"/>
    <p:sldLayoutId id="2147485403" r:id="rId7"/>
    <p:sldLayoutId id="2147485404" r:id="rId8"/>
    <p:sldLayoutId id="2147485405" r:id="rId9"/>
    <p:sldLayoutId id="2147485406" r:id="rId10"/>
    <p:sldLayoutId id="2147485407" r:id="rId11"/>
    <p:sldLayoutId id="2147485408" r:id="rId12"/>
    <p:sldLayoutId id="2147485409" r:id="rId13"/>
    <p:sldLayoutId id="2147485410" r:id="rId14"/>
    <p:sldLayoutId id="2147485411" r:id="rId15"/>
    <p:sldLayoutId id="2147485412" r:id="rId16"/>
    <p:sldLayoutId id="2147485413" r:id="rId17"/>
    <p:sldLayoutId id="2147485414" r:id="rId18"/>
    <p:sldLayoutId id="2147485415" r:id="rId19"/>
    <p:sldLayoutId id="2147485416" r:id="rId20"/>
    <p:sldLayoutId id="2147485417" r:id="rId21"/>
    <p:sldLayoutId id="2147485418" r:id="rId22"/>
    <p:sldLayoutId id="2147485419" r:id="rId23"/>
    <p:sldLayoutId id="2147485420" r:id="rId24"/>
    <p:sldLayoutId id="2147485421" r:id="rId25"/>
    <p:sldLayoutId id="2147485422" r:id="rId26"/>
    <p:sldLayoutId id="2147485423" r:id="rId27"/>
    <p:sldLayoutId id="2147485424" r:id="rId28"/>
    <p:sldLayoutId id="2147485425" r:id="rId29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5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289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0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560" indent="-247187" algn="l" rtl="0" eaLnBrk="1" fontAlgn="base" hangingPunct="1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598" indent="-257895" algn="l" rtl="0" eaLnBrk="1" fontAlgn="base" hangingPunct="1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330" indent="-212763" algn="l" rtl="0" eaLnBrk="1" fontAlgn="base" hangingPunct="1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023" indent="-212763" algn="l" rtl="0" eaLnBrk="1" fontAlgn="base" hangingPunct="1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175" indent="-89122" algn="l" rtl="0" eaLnBrk="1" fontAlgn="base" hangingPunct="1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4854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141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69366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1668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55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81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07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32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361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5881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14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3403" y="314325"/>
            <a:ext cx="11087100" cy="952499"/>
          </a:xfrm>
          <a:prstGeom prst="rect">
            <a:avLst/>
          </a:prstGeom>
        </p:spPr>
        <p:txBody>
          <a:bodyPr vert="horz" lIns="91426" tIns="45718" rIns="91426" bIns="45718" rtlCol="0" anchor="t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1463043"/>
            <a:ext cx="11094720" cy="4899660"/>
          </a:xfrm>
          <a:prstGeom prst="rect">
            <a:avLst/>
          </a:prstGeom>
        </p:spPr>
        <p:txBody>
          <a:bodyPr vert="horz" lIns="0" tIns="45718" rIns="91426" bIns="45718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" y="6667503"/>
            <a:ext cx="11982473" cy="190500"/>
          </a:xfrm>
          <a:prstGeom prst="rect">
            <a:avLst/>
          </a:prstGeom>
        </p:spPr>
        <p:txBody>
          <a:bodyPr vert="horz" lIns="91426" tIns="45718" rIns="91426" bIns="45718" rtlCol="0" anchor="ctr"/>
          <a:lstStyle>
            <a:lvl1pPr marL="0" marR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11111"/>
              </a:solidFill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1454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  <p:sldLayoutId id="2147484455" r:id="rId13"/>
    <p:sldLayoutId id="2147484456" r:id="rId14"/>
    <p:sldLayoutId id="2147484457" r:id="rId15"/>
    <p:sldLayoutId id="2147484458" r:id="rId16"/>
  </p:sldLayoutIdLst>
  <p:transition spd="slow"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241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CiscoSansTT Heavy" panose="020B0903020201020303" pitchFamily="34" charset="0"/>
          <a:ea typeface="+mj-ea"/>
          <a:cs typeface="+mj-cs"/>
        </a:defRPr>
      </a:lvl1pPr>
    </p:titleStyle>
    <p:bodyStyle>
      <a:lvl1pPr marL="342842" indent="-342842" algn="l" defTabSz="914241" rtl="0" eaLnBrk="1" latinLnBrk="0" hangingPunct="1">
        <a:lnSpc>
          <a:spcPct val="90000"/>
        </a:lnSpc>
        <a:spcBef>
          <a:spcPts val="1600"/>
        </a:spcBef>
        <a:buClr>
          <a:srgbClr val="30A3FF"/>
        </a:buClr>
        <a:buSzPct val="100000"/>
        <a:buFont typeface="Webdings" panose="05030102010509060703" pitchFamily="18" charset="2"/>
        <a:buChar char="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686" indent="-228562" algn="l" defTabSz="914241" rtl="0" eaLnBrk="1" latinLnBrk="0" hangingPunct="1">
        <a:lnSpc>
          <a:spcPct val="90000"/>
        </a:lnSpc>
        <a:spcBef>
          <a:spcPts val="1000"/>
        </a:spcBef>
        <a:buClr>
          <a:srgbClr val="30A3FF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802" indent="-228562" algn="l" defTabSz="914241" rtl="0" eaLnBrk="1" latinLnBrk="0" hangingPunct="1">
        <a:lnSpc>
          <a:spcPct val="90000"/>
        </a:lnSpc>
        <a:spcBef>
          <a:spcPts val="800"/>
        </a:spcBef>
        <a:buClr>
          <a:srgbClr val="30A3FF"/>
        </a:buClr>
        <a:buFont typeface="Wingdings" panose="05000000000000000000" pitchFamily="2" charset="2"/>
        <a:buChar char="§"/>
        <a:defRPr sz="19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920" indent="-228562" algn="l" defTabSz="914241" rtl="0" eaLnBrk="1" latinLnBrk="0" hangingPunct="1">
        <a:lnSpc>
          <a:spcPct val="90000"/>
        </a:lnSpc>
        <a:spcBef>
          <a:spcPts val="800"/>
        </a:spcBef>
        <a:buClr>
          <a:srgbClr val="30A3FF"/>
        </a:buClr>
        <a:buFont typeface="Wingdings" panose="05000000000000000000" pitchFamily="2" charset="2"/>
        <a:buChar char="§"/>
        <a:defRPr sz="19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039" indent="-228562" algn="l" defTabSz="914241" rtl="0" eaLnBrk="1" latinLnBrk="0" hangingPunct="1">
        <a:lnSpc>
          <a:spcPct val="90000"/>
        </a:lnSpc>
        <a:spcBef>
          <a:spcPts val="800"/>
        </a:spcBef>
        <a:buClr>
          <a:srgbClr val="30A3FF"/>
        </a:buClr>
        <a:buFont typeface="Wingdings" panose="05000000000000000000" pitchFamily="2" charset="2"/>
        <a:buChar char="§"/>
        <a:defRPr sz="19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161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8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02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26" indent="-228562" algn="l" defTabSz="91424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1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8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06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22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40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9" algn="l" defTabSz="91424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36">
          <p15:clr>
            <a:srgbClr val="F26B43"/>
          </p15:clr>
        </p15:guide>
        <p15:guide id="3" pos="7320">
          <p15:clr>
            <a:srgbClr val="F26B43"/>
          </p15:clr>
        </p15:guide>
        <p15:guide id="4" pos="3840" userDrawn="1">
          <p15:clr>
            <a:srgbClr val="F26B43"/>
          </p15:clr>
        </p15:guide>
        <p15:guide id="6" orient="horz" pos="192" userDrawn="1">
          <p15:clr>
            <a:srgbClr val="F26B43"/>
          </p15:clr>
        </p15:guide>
        <p15:guide id="7" orient="horz" pos="504" userDrawn="1">
          <p15:clr>
            <a:srgbClr val="F26B43"/>
          </p15:clr>
        </p15:guide>
        <p15:guide id="8" orient="horz" pos="4008" userDrawn="1">
          <p15:clr>
            <a:srgbClr val="F26B43"/>
          </p15:clr>
        </p15:guide>
      </p15:sldGuideLst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90287"/>
            <a:ext cx="11350752" cy="1020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423803"/>
            <a:ext cx="11350752" cy="486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685" tIns="60843" rIns="121685" bIns="608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black">
          <a:xfrm>
            <a:off x="1711370" y="6598714"/>
            <a:ext cx="2902928" cy="205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© </a:t>
            </a:r>
            <a:r>
              <a:rPr lang="en-US" sz="900" dirty="0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2014 </a:t>
            </a:r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and/or its affiliates. All rights reserved.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black">
          <a:xfrm>
            <a:off x="4806391" y="6603934"/>
            <a:ext cx="759365" cy="200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1476" tIns="30737" rIns="61476" bIns="30737" anchor="b" anchorCtr="1">
            <a:spAutoFit/>
          </a:bodyPr>
          <a:lstStyle/>
          <a:p>
            <a:pPr defTabSz="609671"/>
            <a:r>
              <a:rPr lang="en-US" sz="900" dirty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Cisco Public</a:t>
            </a:r>
          </a:p>
        </p:txBody>
      </p:sp>
      <p:pic>
        <p:nvPicPr>
          <p:cNvPr id="7170" name="Picture 2" descr="C:\Users\Kirk Travel\Dropbox\Cisco Live 2014\From Rick\JPGs 125dpi Images\125dpi Image-08.jpg"/>
          <p:cNvPicPr>
            <a:picLocks noChangeAspect="1" noChangeArrowheads="1"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121920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952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7" r:id="rId1"/>
    <p:sldLayoutId id="2147485428" r:id="rId2"/>
    <p:sldLayoutId id="2147485429" r:id="rId3"/>
    <p:sldLayoutId id="2147485430" r:id="rId4"/>
    <p:sldLayoutId id="2147485431" r:id="rId5"/>
    <p:sldLayoutId id="2147485432" r:id="rId6"/>
    <p:sldLayoutId id="2147485433" r:id="rId7"/>
    <p:sldLayoutId id="2147485434" r:id="rId8"/>
    <p:sldLayoutId id="2147485435" r:id="rId9"/>
    <p:sldLayoutId id="2147485436" r:id="rId10"/>
    <p:sldLayoutId id="2147485437" r:id="rId11"/>
    <p:sldLayoutId id="2147485438" r:id="rId12"/>
    <p:sldLayoutId id="2147485439" r:id="rId13"/>
    <p:sldLayoutId id="2147485440" r:id="rId14"/>
    <p:sldLayoutId id="2147485441" r:id="rId15"/>
    <p:sldLayoutId id="2147485442" r:id="rId16"/>
    <p:sldLayoutId id="2147485443" r:id="rId17"/>
    <p:sldLayoutId id="2147485444" r:id="rId18"/>
    <p:sldLayoutId id="2147485445" r:id="rId19"/>
    <p:sldLayoutId id="2147485446" r:id="rId20"/>
    <p:sldLayoutId id="2147485447" r:id="rId21"/>
    <p:sldLayoutId id="2147485448" r:id="rId22"/>
    <p:sldLayoutId id="2147485449" r:id="rId23"/>
    <p:sldLayoutId id="2147485450" r:id="rId24"/>
    <p:sldLayoutId id="2147485451" r:id="rId25"/>
    <p:sldLayoutId id="2147485452" r:id="rId26"/>
    <p:sldLayoutId id="2147485453" r:id="rId27"/>
    <p:sldLayoutId id="2147485454" r:id="rId28"/>
    <p:sldLayoutId id="2147485455" r:id="rId29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 b="0">
          <a:solidFill>
            <a:schemeClr val="accent1"/>
          </a:solidFill>
          <a:latin typeface="+mj-lt"/>
          <a:ea typeface="+mj-ea"/>
          <a:cs typeface="+mj-cs"/>
          <a:sym typeface="Arial" pitchFamily="34" charset="0"/>
        </a:defRPr>
      </a:lvl1pPr>
      <a:lvl2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8333" indent="-833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35058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69289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103509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377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249560" indent="-247187" algn="l" rtl="0" eaLnBrk="1" fontAlgn="base" hangingPunct="1">
        <a:lnSpc>
          <a:spcPct val="90000"/>
        </a:lnSpc>
        <a:spcBef>
          <a:spcPts val="1600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514598" indent="-257895" algn="l" rtl="0" eaLnBrk="1" fontAlgn="base" hangingPunct="1">
        <a:lnSpc>
          <a:spcPct val="90000"/>
        </a:lnSpc>
        <a:spcBef>
          <a:spcPts val="533"/>
        </a:spcBef>
        <a:spcAft>
          <a:spcPct val="0"/>
        </a:spcAft>
        <a:buClr>
          <a:srgbClr val="0C65B7"/>
        </a:buClr>
        <a:buSzPct val="100000"/>
        <a:buFont typeface="Arial"/>
        <a:buChar char="–"/>
        <a:defRPr sz="21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727330" indent="-212763" algn="l" rtl="0" eaLnBrk="1" fontAlgn="base" hangingPunct="1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anose="020B0604020202020204" pitchFamily="34" charset="0"/>
        <a:buChar char="•"/>
        <a:defRPr sz="19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940023" indent="-212763" algn="l" rtl="0" eaLnBrk="1" fontAlgn="base" hangingPunct="1">
        <a:lnSpc>
          <a:spcPct val="90000"/>
        </a:lnSpc>
        <a:spcBef>
          <a:spcPts val="267"/>
        </a:spcBef>
        <a:spcAft>
          <a:spcPct val="0"/>
        </a:spcAft>
        <a:buClr>
          <a:srgbClr val="0C65B7"/>
        </a:buClr>
        <a:buSzPct val="100000"/>
        <a:buFont typeface="Arial" pitchFamily="34" charset="0"/>
        <a:buChar char="–"/>
        <a:defRPr sz="15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1029175" indent="-89122" algn="l" rtl="0" eaLnBrk="1" fontAlgn="base" hangingPunct="1">
        <a:lnSpc>
          <a:spcPct val="95000"/>
        </a:lnSpc>
        <a:spcBef>
          <a:spcPts val="900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884854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2227141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2569366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911668" indent="-171103" algn="l" rtl="0" eaLnBrk="1" fontAlgn="base" hangingPunct="1">
        <a:lnSpc>
          <a:spcPct val="95000"/>
        </a:lnSpc>
        <a:spcBef>
          <a:spcPts val="1350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26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55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81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072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132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3610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5881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8149" algn="l" defTabSz="3422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3065599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8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09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1" tIns="41042" rIns="82081" bIns="41042" anchor="b">
            <a:spAutoFit/>
          </a:bodyPr>
          <a:lstStyle/>
          <a:p>
            <a:pPr algn="r" defTabSz="81398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8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38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1" tIns="41042" rIns="82081" bIns="41042" anchor="b">
            <a:spAutoFit/>
          </a:bodyPr>
          <a:lstStyle/>
          <a:p>
            <a:pPr defTabSz="81398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5668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4" r:id="rId1"/>
    <p:sldLayoutId id="2147484465" r:id="rId2"/>
    <p:sldLayoutId id="2147484466" r:id="rId3"/>
    <p:sldLayoutId id="2147484467" r:id="rId4"/>
    <p:sldLayoutId id="2147484468" r:id="rId5"/>
    <p:sldLayoutId id="2147484469" r:id="rId6"/>
    <p:sldLayoutId id="2147484470" r:id="rId7"/>
    <p:sldLayoutId id="2147484471" r:id="rId8"/>
    <p:sldLayoutId id="2147484472" r:id="rId9"/>
    <p:sldLayoutId id="2147484473" r:id="rId10"/>
    <p:sldLayoutId id="2147484474" r:id="rId11"/>
    <p:sldLayoutId id="2147484475" r:id="rId12"/>
    <p:sldLayoutId id="2147484476" r:id="rId13"/>
    <p:sldLayoutId id="2147484477" r:id="rId14"/>
    <p:sldLayoutId id="2147484478" r:id="rId15"/>
    <p:sldLayoutId id="2147484479" r:id="rId16"/>
    <p:sldLayoutId id="2147484480" r:id="rId17"/>
    <p:sldLayoutId id="2147484481" r:id="rId18"/>
    <p:sldLayoutId id="2147484482" r:id="rId19"/>
    <p:sldLayoutId id="2147484483" r:id="rId20"/>
    <p:sldLayoutId id="2147484484" r:id="rId21"/>
    <p:sldLayoutId id="2147484485" r:id="rId22"/>
    <p:sldLayoutId id="2147484486" r:id="rId23"/>
    <p:sldLayoutId id="2147484487" r:id="rId24"/>
    <p:sldLayoutId id="2147484488" r:id="rId25"/>
    <p:sldLayoutId id="2147484489" r:id="rId26"/>
    <p:sldLayoutId id="2147484490" r:id="rId27"/>
    <p:sldLayoutId id="2147484491" r:id="rId28"/>
    <p:sldLayoutId id="2147484492" r:id="rId29"/>
    <p:sldLayoutId id="2147484493" r:id="rId30"/>
    <p:sldLayoutId id="2147484494" r:id="rId31"/>
    <p:sldLayoutId id="2147484495" r:id="rId32"/>
    <p:sldLayoutId id="2147484496" r:id="rId33"/>
    <p:sldLayoutId id="2147484497" r:id="rId34"/>
    <p:sldLayoutId id="2147484498" r:id="rId3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339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684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025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366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89" indent="-226389" algn="l" defTabSz="91189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63" indent="-287743" algn="l" defTabSz="91189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90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702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909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322" indent="-228498" algn="l" defTabSz="91398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259" indent="-228468" algn="l" defTabSz="91398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933" indent="0" algn="l" defTabSz="91398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22" indent="-228498" algn="l" defTabSz="9139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3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1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65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5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46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33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27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92" y="454877"/>
            <a:ext cx="11545824" cy="975360"/>
          </a:xfrm>
          <a:prstGeom prst="rect">
            <a:avLst/>
          </a:prstGeom>
        </p:spPr>
        <p:txBody>
          <a:bodyPr vert="horz" lIns="121909" tIns="60954" rIns="121909" bIns="60954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727" y="6323865"/>
            <a:ext cx="294103" cy="2060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23" tIns="41062" rIns="82123" bIns="41062" anchor="b">
            <a:spAutoFit/>
          </a:bodyPr>
          <a:lstStyle/>
          <a:p>
            <a:pPr algn="r" defTabSz="814381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ea typeface="+mn-ea"/>
                <a:cs typeface="CiscoSans Thin"/>
              </a:rPr>
              <a:pPr algn="r" defTabSz="814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95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23" tIns="41062" rIns="82123" bIns="41062" anchor="b" anchorCtr="0">
            <a:spAutoFit/>
          </a:bodyPr>
          <a:lstStyle/>
          <a:p>
            <a:pPr defTabSz="814381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31F20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231F20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6743700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7898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03" r:id="rId2"/>
    <p:sldLayoutId id="2147484504" r:id="rId3"/>
    <p:sldLayoutId id="2147484505" r:id="rId4"/>
    <p:sldLayoutId id="2147484506" r:id="rId5"/>
    <p:sldLayoutId id="2147484507" r:id="rId6"/>
    <p:sldLayoutId id="2147484508" r:id="rId7"/>
    <p:sldLayoutId id="2147484509" r:id="rId8"/>
    <p:sldLayoutId id="2147484510" r:id="rId9"/>
    <p:sldLayoutId id="2147484511" r:id="rId10"/>
    <p:sldLayoutId id="2147484512" r:id="rId11"/>
    <p:sldLayoutId id="2147484513" r:id="rId12"/>
    <p:sldLayoutId id="2147484514" r:id="rId13"/>
    <p:sldLayoutId id="2147484515" r:id="rId14"/>
    <p:sldLayoutId id="2147484516" r:id="rId15"/>
    <p:sldLayoutId id="2147484517" r:id="rId16"/>
    <p:sldLayoutId id="2147484518" r:id="rId17"/>
    <p:sldLayoutId id="2147484519" r:id="rId18"/>
    <p:sldLayoutId id="2147484520" r:id="rId19"/>
    <p:sldLayoutId id="2147484521" r:id="rId20"/>
    <p:sldLayoutId id="2147484522" r:id="rId21"/>
    <p:sldLayoutId id="2147484523" r:id="rId22"/>
    <p:sldLayoutId id="2147484524" r:id="rId23"/>
    <p:sldLayoutId id="2147484525" r:id="rId24"/>
    <p:sldLayoutId id="2147484526" r:id="rId25"/>
    <p:sldLayoutId id="2147484527" r:id="rId26"/>
    <p:sldLayoutId id="2147484528" r:id="rId27"/>
    <p:sldLayoutId id="2147484529" r:id="rId28"/>
    <p:sldLayoutId id="2147484530" r:id="rId29"/>
    <p:sldLayoutId id="2147484531" r:id="rId30"/>
    <p:sldLayoutId id="2147484532" r:id="rId31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4430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609" indent="-228609" algn="l" defTabSz="914430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952" indent="-287971" algn="l" defTabSz="914430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944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934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923" indent="-228578" algn="l" defTabSz="914430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886" indent="-228609" algn="l" defTabSz="91443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875" indent="-228578" algn="l" defTabSz="914430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507" indent="0" algn="l" defTabSz="91443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30" indent="-228609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5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0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6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2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8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93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7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23" algn="l" defTabSz="914430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817482495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1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50" tIns="60925" rIns="121850" bIns="609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79" y="6323909"/>
            <a:ext cx="294020" cy="205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081" tIns="41042" rIns="82081" bIns="41042" anchor="b">
            <a:spAutoFit/>
          </a:bodyPr>
          <a:lstStyle/>
          <a:p>
            <a:pPr algn="r" defTabSz="813982"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3982"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5" y="6322238"/>
            <a:ext cx="3544024" cy="20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081" tIns="41042" rIns="82081" bIns="41042" anchor="b">
            <a:spAutoFit/>
          </a:bodyPr>
          <a:lstStyle/>
          <a:p>
            <a:pPr defTabSz="813982"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  </a:t>
            </a: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7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7297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  <p:sldLayoutId id="2147484548" r:id="rId15"/>
    <p:sldLayoutId id="2147484549" r:id="rId16"/>
    <p:sldLayoutId id="2147484550" r:id="rId17"/>
    <p:sldLayoutId id="2147484551" r:id="rId18"/>
    <p:sldLayoutId id="2147484552" r:id="rId19"/>
    <p:sldLayoutId id="2147484553" r:id="rId20"/>
    <p:sldLayoutId id="2147484554" r:id="rId21"/>
    <p:sldLayoutId id="2147484555" r:id="rId22"/>
    <p:sldLayoutId id="2147484556" r:id="rId23"/>
    <p:sldLayoutId id="2147484557" r:id="rId24"/>
    <p:sldLayoutId id="2147484558" r:id="rId25"/>
    <p:sldLayoutId id="2147484559" r:id="rId26"/>
    <p:sldLayoutId id="2147484560" r:id="rId27"/>
    <p:sldLayoutId id="2147484561" r:id="rId28"/>
    <p:sldLayoutId id="2147484562" r:id="rId29"/>
    <p:sldLayoutId id="2147484563" r:id="rId30"/>
    <p:sldLayoutId id="2147484564" r:id="rId31"/>
    <p:sldLayoutId id="2147484565" r:id="rId32"/>
    <p:sldLayoutId id="2147484566" r:id="rId33"/>
    <p:sldLayoutId id="2147484567" r:id="rId34"/>
    <p:sldLayoutId id="2147484568" r:id="rId35"/>
    <p:sldLayoutId id="2147485162" r:id="rId36"/>
    <p:sldLayoutId id="2147485163" r:id="rId37"/>
    <p:sldLayoutId id="2147485164" r:id="rId38"/>
    <p:sldLayoutId id="2147485166" r:id="rId39"/>
    <p:sldLayoutId id="2147485168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339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8684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025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7366" algn="l" defTabSz="911897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389" indent="-226389" algn="l" defTabSz="911897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163" indent="-287743" algn="l" defTabSz="911897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490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702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5909" indent="-226389" algn="l" defTabSz="911897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322" indent="-228498" algn="l" defTabSz="91398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259" indent="-228468" algn="l" defTabSz="91398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8933" indent="0" algn="l" defTabSz="91398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22" indent="-228498" algn="l" defTabSz="91398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83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81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65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50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46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33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27" algn="l" defTabSz="9139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3559" y="6560944"/>
            <a:ext cx="291936" cy="206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9" tIns="41054" rIns="82109" bIns="41054" anchor="b">
            <a:spAutoFit/>
          </a:bodyPr>
          <a:lstStyle/>
          <a:p>
            <a:pPr algn="r" defTabSz="8142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pPr algn="r" defTabSz="8142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006336" y="6559272"/>
            <a:ext cx="4361032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9" tIns="41054" rIns="82109" bIns="41054" anchor="b">
            <a:spAutoFit/>
          </a:bodyPr>
          <a:lstStyle/>
          <a:p>
            <a:pPr defTabSz="814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C97-734842-00 © </a:t>
            </a:r>
            <a:r>
              <a:rPr lang="is-I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2017</a:t>
            </a:r>
            <a:r>
              <a:rPr lang="en-US" sz="8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+mn-ea"/>
                <a:cs typeface="CiscoSans Thin"/>
              </a:rPr>
              <a:t>  Cisco and/or its affiliates. All rights reserved.   </a:t>
            </a:r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ea typeface="+mn-ea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404764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5785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  <p:sldLayoutId id="2147484583" r:id="rId12"/>
    <p:sldLayoutId id="2147484584" r:id="rId13"/>
    <p:sldLayoutId id="2147484585" r:id="rId14"/>
    <p:sldLayoutId id="2147484586" r:id="rId15"/>
    <p:sldLayoutId id="2147484587" r:id="rId16"/>
    <p:sldLayoutId id="2147484588" r:id="rId17"/>
    <p:sldLayoutId id="2147484589" r:id="rId18"/>
    <p:sldLayoutId id="2147484590" r:id="rId19"/>
    <p:sldLayoutId id="2147484591" r:id="rId20"/>
    <p:sldLayoutId id="2147484592" r:id="rId21"/>
    <p:sldLayoutId id="2147484593" r:id="rId22"/>
    <p:sldLayoutId id="2147484594" r:id="rId23"/>
    <p:sldLayoutId id="2147484595" r:id="rId24"/>
    <p:sldLayoutId id="2147484596" r:id="rId25"/>
    <p:sldLayoutId id="2147484597" r:id="rId26"/>
    <p:sldLayoutId id="2147484598" r:id="rId27"/>
    <p:sldLayoutId id="2147484599" r:id="rId28"/>
    <p:sldLayoutId id="2147484600" r:id="rId29"/>
    <p:sldLayoutId id="2147484601" r:id="rId30"/>
    <p:sldLayoutId id="2147484602" r:id="rId31"/>
    <p:sldLayoutId id="2147484603" r:id="rId32"/>
    <p:sldLayoutId id="2147484604" r:id="rId33"/>
    <p:sldLayoutId id="2147484605" r:id="rId34"/>
    <p:sldLayoutId id="2147484606" r:id="rId35"/>
    <p:sldLayoutId id="2147484607" r:id="rId36"/>
    <p:sldLayoutId id="2147484608" r:id="rId37"/>
    <p:sldLayoutId id="2147484609" r:id="rId38"/>
    <p:sldLayoutId id="2147484610" r:id="rId39"/>
    <p:sldLayoutId id="2147484611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0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55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110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664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218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68" indent="-226468" algn="l" defTabSz="91221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31" indent="-287843" algn="l" defTabSz="91221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690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34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177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22" indent="-228577" algn="l" defTabSz="91430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699" indent="-228546" algn="l" defTabSz="91430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053" indent="0" algn="l" defTabSz="91430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2" indent="-228577" algn="l" defTabSz="9143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1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4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5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3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7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90" tIns="60945" rIns="121890" bIns="609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11351427" y="6323879"/>
            <a:ext cx="294071" cy="206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9" tIns="41054" rIns="82109" bIns="41054" anchor="b">
            <a:spAutoFit/>
          </a:bodyPr>
          <a:lstStyle/>
          <a:p>
            <a:pPr algn="r" defTabSz="814265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pPr algn="r" defTabSz="814265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rgbClr val="000000">
                  <a:alpha val="25000"/>
                </a:srgbClr>
              </a:solidFill>
              <a:latin typeface="Arial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7823344" y="6322204"/>
            <a:ext cx="3544024" cy="20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2109" tIns="41054" rIns="82109" bIns="41054" anchor="b">
            <a:spAutoFit/>
          </a:bodyPr>
          <a:lstStyle/>
          <a:p>
            <a:pPr defTabSz="81426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000000">
                    <a:alpha val="25000"/>
                  </a:srgbClr>
                </a:solidFill>
                <a:latin typeface="Arial"/>
                <a:cs typeface="CiscoSans Thin"/>
              </a:rPr>
              <a:t>© 2014  Cisco and/or its affiliates. All rights reserved.   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233" y="6167697"/>
            <a:ext cx="575083" cy="353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4258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3" r:id="rId1"/>
    <p:sldLayoutId id="2147484614" r:id="rId2"/>
    <p:sldLayoutId id="2147484615" r:id="rId3"/>
    <p:sldLayoutId id="2147484616" r:id="rId4"/>
    <p:sldLayoutId id="2147484617" r:id="rId5"/>
    <p:sldLayoutId id="2147484618" r:id="rId6"/>
    <p:sldLayoutId id="2147484619" r:id="rId7"/>
    <p:sldLayoutId id="2147484620" r:id="rId8"/>
    <p:sldLayoutId id="2147484621" r:id="rId9"/>
    <p:sldLayoutId id="2147484622" r:id="rId10"/>
    <p:sldLayoutId id="2147484623" r:id="rId11"/>
    <p:sldLayoutId id="2147484624" r:id="rId12"/>
    <p:sldLayoutId id="2147484625" r:id="rId13"/>
    <p:sldLayoutId id="2147484626" r:id="rId14"/>
    <p:sldLayoutId id="2147484627" r:id="rId15"/>
    <p:sldLayoutId id="2147484628" r:id="rId16"/>
    <p:sldLayoutId id="2147484629" r:id="rId17"/>
    <p:sldLayoutId id="2147484630" r:id="rId18"/>
    <p:sldLayoutId id="2147484631" r:id="rId19"/>
    <p:sldLayoutId id="2147484632" r:id="rId20"/>
    <p:sldLayoutId id="2147484633" r:id="rId21"/>
    <p:sldLayoutId id="2147484634" r:id="rId22"/>
    <p:sldLayoutId id="2147484635" r:id="rId23"/>
    <p:sldLayoutId id="2147484636" r:id="rId24"/>
    <p:sldLayoutId id="2147484637" r:id="rId25"/>
    <p:sldLayoutId id="2147484638" r:id="rId26"/>
    <p:sldLayoutId id="2147484639" r:id="rId27"/>
    <p:sldLayoutId id="2147484640" r:id="rId28"/>
    <p:sldLayoutId id="2147484641" r:id="rId29"/>
    <p:sldLayoutId id="2147484642" r:id="rId30"/>
    <p:sldLayoutId id="2147484643" r:id="rId31"/>
    <p:sldLayoutId id="2147484644" r:id="rId32"/>
    <p:sldLayoutId id="2147484645" r:id="rId33"/>
    <p:sldLayoutId id="2147484646" r:id="rId34"/>
    <p:sldLayoutId id="2147484647" r:id="rId35"/>
    <p:sldLayoutId id="2147484648" r:id="rId36"/>
    <p:sldLayoutId id="2147484649" r:id="rId37"/>
    <p:sldLayoutId id="2147484650" r:id="rId38"/>
    <p:sldLayoutId id="2147484651" r:id="rId39"/>
    <p:sldLayoutId id="2147484652" r:id="rId40"/>
    <p:sldLayoutId id="2147484653" r:id="rId41"/>
    <p:sldLayoutId id="2147484654" r:id="rId42"/>
    <p:sldLayoutId id="2147484655" r:id="rId43"/>
    <p:sldLayoutId id="2147484656" r:id="rId44"/>
    <p:sldLayoutId id="2147484657" r:id="rId45"/>
    <p:sldLayoutId id="2147484658" r:id="rId46"/>
    <p:sldLayoutId id="2147484659" r:id="rId47"/>
    <p:sldLayoutId id="2147484660" r:id="rId48"/>
    <p:sldLayoutId id="2147484661" r:id="rId49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43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55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110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664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218" algn="l" defTabSz="91221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68" indent="-226468" algn="l" defTabSz="912216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31" indent="-287843" algn="l" defTabSz="912216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690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34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177" indent="-226468" algn="l" defTabSz="912216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22" indent="-228577" algn="l" defTabSz="91430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699" indent="-228546" algn="l" defTabSz="91430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053" indent="0" algn="l" defTabSz="91430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2" indent="-228577" algn="l" defTabSz="9143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7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1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4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0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5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3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7" algn="l" defTabSz="9143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5"/>
          <p:cNvSpPr>
            <a:spLocks noGrp="1"/>
          </p:cNvSpPr>
          <p:nvPr>
            <p:ph type="title"/>
          </p:nvPr>
        </p:nvSpPr>
        <p:spPr>
          <a:xfrm>
            <a:off x="347493" y="454877"/>
            <a:ext cx="11545824" cy="975360"/>
          </a:xfrm>
          <a:prstGeom prst="rect">
            <a:avLst/>
          </a:prstGeom>
        </p:spPr>
        <p:txBody>
          <a:bodyPr vert="horz" lIns="121877" tIns="60938" rIns="121877" bIns="60938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ltGray">
          <a:xfrm>
            <a:off x="11547775" y="6323887"/>
            <a:ext cx="294052" cy="2060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1" tIns="41050" rIns="82101" bIns="41050" anchor="b">
            <a:spAutoFit/>
          </a:bodyPr>
          <a:lstStyle/>
          <a:p>
            <a:pPr algn="r" defTabSz="814177" fontAlgn="auto">
              <a:spcBef>
                <a:spcPts val="0"/>
              </a:spcBef>
              <a:spcAft>
                <a:spcPts val="0"/>
              </a:spcAft>
            </a:pPr>
            <a:fld id="{DFCF27A5-1A5B-48D3-A060-2758FFBB1ADD}" type="slidenum">
              <a:rPr lang="en-US" sz="800">
                <a:solidFill>
                  <a:srgbClr val="231F20"/>
                </a:solidFill>
                <a:latin typeface="CiscoSansTT Light"/>
                <a:ea typeface="+mn-ea"/>
                <a:cs typeface="CiscoSans Thin"/>
              </a:rPr>
              <a:pPr algn="r" defTabSz="81417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231F20"/>
              </a:solidFill>
              <a:latin typeface="CiscoSansTT Light"/>
              <a:ea typeface="+mn-ea"/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389399" y="6329697"/>
            <a:ext cx="4560687" cy="206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01" tIns="41050" rIns="82101" bIns="41050" anchor="b" anchorCtr="0">
            <a:spAutoFit/>
          </a:bodyPr>
          <a:lstStyle/>
          <a:p>
            <a:pPr defTabSz="814177" fontAlgn="auto">
              <a:spcBef>
                <a:spcPts val="0"/>
              </a:spcBef>
              <a:spcAft>
                <a:spcPts val="0"/>
              </a:spcAft>
            </a:pPr>
            <a:r>
              <a:rPr lang="en-US" sz="800" dirty="0" smtClean="0">
                <a:solidFill>
                  <a:srgbClr val="231F20"/>
                </a:solidFill>
                <a:latin typeface="CiscoSansTT Light"/>
                <a:ea typeface="+mn-ea"/>
                <a:cs typeface="CiscoSans Thin"/>
              </a:rPr>
              <a:t>© 2013-2014  Cisco and/or its affiliates. All rights reserved.</a:t>
            </a:r>
            <a:endParaRPr lang="en-US" sz="800" dirty="0">
              <a:solidFill>
                <a:srgbClr val="231F20"/>
              </a:solidFill>
              <a:latin typeface="CiscoSansTT Light"/>
              <a:ea typeface="+mn-ea"/>
              <a:cs typeface="CiscoSans Thin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" y="6771411"/>
            <a:ext cx="12192000" cy="0"/>
          </a:xfrm>
          <a:prstGeom prst="line">
            <a:avLst/>
          </a:prstGeom>
          <a:ln w="177800">
            <a:gradFill>
              <a:gsLst>
                <a:gs pos="0">
                  <a:schemeClr val="tx2"/>
                </a:gs>
                <a:gs pos="100000">
                  <a:schemeClr val="accent6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9274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2" r:id="rId1"/>
    <p:sldLayoutId id="2147484703" r:id="rId2"/>
    <p:sldLayoutId id="2147484704" r:id="rId3"/>
    <p:sldLayoutId id="2147484705" r:id="rId4"/>
    <p:sldLayoutId id="2147484706" r:id="rId5"/>
    <p:sldLayoutId id="2147484707" r:id="rId6"/>
    <p:sldLayoutId id="2147484708" r:id="rId7"/>
    <p:sldLayoutId id="2147484709" r:id="rId8"/>
    <p:sldLayoutId id="2147484710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17" r:id="rId16"/>
    <p:sldLayoutId id="2147484718" r:id="rId17"/>
    <p:sldLayoutId id="2147484719" r:id="rId18"/>
    <p:sldLayoutId id="2147484720" r:id="rId19"/>
    <p:sldLayoutId id="2147484721" r:id="rId20"/>
    <p:sldLayoutId id="2147484722" r:id="rId21"/>
    <p:sldLayoutId id="2147484723" r:id="rId22"/>
    <p:sldLayoutId id="2147484724" r:id="rId23"/>
    <p:sldLayoutId id="2147484725" r:id="rId24"/>
    <p:sldLayoutId id="2147484726" r:id="rId25"/>
    <p:sldLayoutId id="2147484727" r:id="rId26"/>
    <p:sldLayoutId id="2147484728" r:id="rId27"/>
    <p:sldLayoutId id="2147484729" r:id="rId28"/>
    <p:sldLayoutId id="2147484730" r:id="rId29"/>
    <p:sldLayoutId id="2147484731" r:id="rId30"/>
    <p:sldLayoutId id="2147484732" r:id="rId31"/>
    <p:sldLayoutId id="2147484733" r:id="rId32"/>
    <p:sldLayoutId id="2147484734" r:id="rId33"/>
    <p:sldLayoutId id="2147484735" r:id="rId34"/>
    <p:sldLayoutId id="2147484736" r:id="rId35"/>
    <p:sldLayoutId id="2147484737" r:id="rId36"/>
    <p:sldLayoutId id="2147484738" r:id="rId37"/>
    <p:sldLayoutId id="2147484739" r:id="rId38"/>
    <p:sldLayoutId id="2147484740" r:id="rId39"/>
    <p:sldLayoutId id="2147484741" r:id="rId40"/>
    <p:sldLayoutId id="2147484742" r:id="rId41"/>
    <p:sldLayoutId id="2147484743" r:id="rId42"/>
    <p:sldLayoutId id="2147484744" r:id="rId43"/>
    <p:sldLayoutId id="2147484745" r:id="rId44"/>
    <p:sldLayoutId id="2147484746" r:id="rId45"/>
    <p:sldLayoutId id="2147484747" r:id="rId46"/>
    <p:sldLayoutId id="2147484748" r:id="rId47"/>
    <p:sldLayoutId id="2147484749" r:id="rId48"/>
    <p:sldLayoutId id="2147484750" r:id="rId49"/>
    <p:sldLayoutId id="2147484751" r:id="rId50"/>
    <p:sldLayoutId id="2147484752" r:id="rId51"/>
    <p:sldLayoutId id="2147484753" r:id="rId52"/>
    <p:sldLayoutId id="2147484754" r:id="rId53"/>
    <p:sldLayoutId id="2147484755" r:id="rId54"/>
    <p:sldLayoutId id="2147484756" r:id="rId55"/>
    <p:sldLayoutId id="2147484757" r:id="rId56"/>
    <p:sldLayoutId id="2147484758" r:id="rId57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914201" rtl="0" eaLnBrk="1" latinLnBrk="0" hangingPunct="1">
        <a:lnSpc>
          <a:spcPct val="80000"/>
        </a:lnSpc>
        <a:spcBef>
          <a:spcPct val="0"/>
        </a:spcBef>
        <a:buNone/>
        <a:defRPr lang="en-US" sz="3300" b="0" kern="1200" spc="0" baseline="0" dirty="0">
          <a:solidFill>
            <a:srgbClr val="00A2BF"/>
          </a:solidFill>
          <a:latin typeface="+mj-lt"/>
          <a:ea typeface="+mj-ea"/>
          <a:cs typeface="CiscoSans"/>
        </a:defRPr>
      </a:lvl1pPr>
    </p:titleStyle>
    <p:bodyStyle>
      <a:lvl1pPr marL="228552" indent="-228552" algn="l" defTabSz="914201" rtl="0" eaLnBrk="1" latinLnBrk="0" hangingPunct="1">
        <a:lnSpc>
          <a:spcPct val="95000"/>
        </a:lnSpc>
        <a:spcBef>
          <a:spcPts val="1440"/>
        </a:spcBef>
        <a:buClr>
          <a:schemeClr val="tx2"/>
        </a:buClr>
        <a:buSzPct val="90000"/>
        <a:buFont typeface="Arial" pitchFamily="34" charset="0"/>
        <a:buChar char="•"/>
        <a:tabLst/>
        <a:defRPr lang="en-US" sz="2000" kern="1200" dirty="0" smtClean="0">
          <a:solidFill>
            <a:schemeClr val="tx1"/>
          </a:solidFill>
          <a:latin typeface="+mn-lt"/>
          <a:ea typeface="+mn-ea"/>
          <a:cs typeface="CiscoSans"/>
        </a:defRPr>
      </a:lvl1pPr>
      <a:lvl2pPr marL="479832" indent="-287899" algn="l" defTabSz="914201" rtl="0" eaLnBrk="1" latinLnBrk="0" hangingPunct="1">
        <a:lnSpc>
          <a:spcPct val="95000"/>
        </a:lnSpc>
        <a:spcBef>
          <a:spcPts val="800"/>
        </a:spcBef>
        <a:buClr>
          <a:schemeClr val="tx2"/>
        </a:buClr>
        <a:buFont typeface="Arial"/>
        <a:buChar char="•"/>
        <a:defRPr lang="en-US" sz="1900" kern="1200" dirty="0" smtClean="0">
          <a:solidFill>
            <a:schemeClr val="tx1"/>
          </a:solidFill>
          <a:latin typeface="+mn-lt"/>
          <a:ea typeface="+mn-ea"/>
          <a:cs typeface="CiscoSans"/>
        </a:defRPr>
      </a:lvl2pPr>
      <a:lvl3pPr marL="575798" indent="-228521" algn="l" defTabSz="91420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CiscoSans"/>
        </a:defRPr>
      </a:lvl3pPr>
      <a:lvl4pPr marL="671766" indent="-228521" algn="l" defTabSz="91420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 smtClean="0">
          <a:solidFill>
            <a:schemeClr val="tx1"/>
          </a:solidFill>
          <a:latin typeface="+mn-lt"/>
          <a:ea typeface="+mn-ea"/>
          <a:cs typeface="CiscoSans"/>
        </a:defRPr>
      </a:lvl4pPr>
      <a:lvl5pPr marL="767731" indent="-228521" algn="l" defTabSz="914201" rtl="0" eaLnBrk="1" latinLnBrk="0" hangingPunct="1">
        <a:lnSpc>
          <a:spcPct val="95000"/>
        </a:lnSpc>
        <a:spcBef>
          <a:spcPts val="840"/>
        </a:spcBef>
        <a:buFont typeface="Arial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CiscoSans"/>
        </a:defRPr>
      </a:lvl5pPr>
      <a:lvl6pPr marL="1151598" indent="-228552" algn="l" defTabSz="914201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563" indent="-228521" algn="l" defTabSz="914201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199707" indent="0" algn="l" defTabSz="914201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59" indent="-228552" algn="l" defTabSz="91420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9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1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2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05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03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06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07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10" algn="l" defTabSz="91420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73.xml"/><Relationship Id="rId5" Type="http://schemas.openxmlformats.org/officeDocument/2006/relationships/hyperlink" Target="http://www.eantc.de/showcases/mpls_sdn_2015/intro.html" TargetMode="External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18" Type="http://schemas.openxmlformats.org/officeDocument/2006/relationships/image" Target="../media/image68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7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1" Type="http://schemas.openxmlformats.org/officeDocument/2006/relationships/slideLayout" Target="../slideLayouts/slideLayout203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microsoft.com/office/2007/relationships/hdphoto" Target="../media/hdphoto3.wdp"/><Relationship Id="rId10" Type="http://schemas.openxmlformats.org/officeDocument/2006/relationships/image" Target="../media/image61.png"/><Relationship Id="rId19" Type="http://schemas.openxmlformats.org/officeDocument/2006/relationships/image" Target="../media/image69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0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4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4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slideLayout" Target="../slideLayouts/slideLayout20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00.xml"/><Relationship Id="rId4" Type="http://schemas.openxmlformats.org/officeDocument/2006/relationships/image" Target="../media/image7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slideLayout" Target="../slideLayouts/slideLayout201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71.png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image" Target="../media/image74.png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image" Target="../media/image7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01.xml"/><Relationship Id="rId4" Type="http://schemas.openxmlformats.org/officeDocument/2006/relationships/image" Target="../media/image7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01.xml"/><Relationship Id="rId4" Type="http://schemas.openxmlformats.org/officeDocument/2006/relationships/image" Target="../media/image7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3" Type="http://schemas.openxmlformats.org/officeDocument/2006/relationships/tags" Target="../tags/tag46.xml"/><Relationship Id="rId21" Type="http://schemas.openxmlformats.org/officeDocument/2006/relationships/image" Target="../media/image72.pn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slideLayout" Target="../slideLayouts/slideLayout201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image" Target="../media/image71.pn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image" Target="../media/image7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0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slideLayout" Target="../slideLayouts/slideLayout20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7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9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9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79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6.emf"/><Relationship Id="rId1" Type="http://schemas.openxmlformats.org/officeDocument/2006/relationships/slideLayout" Target="../slideLayouts/slideLayout79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9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4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4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0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0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7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6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6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99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00.xml"/><Relationship Id="rId4" Type="http://schemas.openxmlformats.org/officeDocument/2006/relationships/image" Target="../media/image50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0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0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0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0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200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20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7.xml"/><Relationship Id="rId5" Type="http://schemas.openxmlformats.org/officeDocument/2006/relationships/image" Target="../media/image50.emf"/><Relationship Id="rId4" Type="http://schemas.openxmlformats.org/officeDocument/2006/relationships/image" Target="../media/image49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6193" y="1127760"/>
            <a:ext cx="10130723" cy="1863304"/>
          </a:xfrm>
        </p:spPr>
        <p:txBody>
          <a:bodyPr/>
          <a:lstStyle/>
          <a:p>
            <a:r>
              <a:rPr lang="en-US" dirty="0" smtClean="0"/>
              <a:t>VXLAN the </a:t>
            </a:r>
            <a:r>
              <a:rPr lang="en-US" dirty="0"/>
              <a:t>Cisco Way: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4800" dirty="0" smtClean="0"/>
              <a:t>Why</a:t>
            </a:r>
            <a:r>
              <a:rPr lang="en-US" sz="4800" dirty="0"/>
              <a:t>, Where, When, What, </a:t>
            </a:r>
            <a:r>
              <a:rPr lang="en-US" sz="4800" dirty="0" smtClean="0"/>
              <a:t>How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772424" y="4516869"/>
            <a:ext cx="83718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Darren </a:t>
            </a:r>
            <a:r>
              <a:rPr lang="en-US" sz="2400" dirty="0" err="1" smtClean="0">
                <a:solidFill>
                  <a:schemeClr val="bg1"/>
                </a:solidFill>
              </a:rPr>
              <a:t>Marinko</a:t>
            </a:r>
            <a:r>
              <a:rPr lang="en-US" sz="2400" dirty="0" smtClean="0">
                <a:solidFill>
                  <a:schemeClr val="bg1"/>
                </a:solidFill>
              </a:rPr>
              <a:t> </a:t>
            </a:r>
            <a:r>
              <a:rPr lang="mr-IN" sz="2400" dirty="0" smtClean="0">
                <a:solidFill>
                  <a:schemeClr val="bg1"/>
                </a:solidFill>
              </a:rPr>
              <a:t>–</a:t>
            </a:r>
            <a:r>
              <a:rPr lang="en-US" sz="2400" dirty="0" smtClean="0">
                <a:solidFill>
                  <a:schemeClr val="bg1"/>
                </a:solidFill>
              </a:rPr>
              <a:t> DC Consulting Systems Engineer</a:t>
            </a:r>
          </a:p>
          <a:p>
            <a:r>
              <a:rPr lang="en-US" sz="2400" dirty="0" smtClean="0">
                <a:solidFill>
                  <a:schemeClr val="bg1"/>
                </a:solidFill>
              </a:rPr>
              <a:t>Phil Lowden </a:t>
            </a:r>
            <a:r>
              <a:rPr lang="mr-IN" sz="2400" dirty="0" smtClean="0">
                <a:solidFill>
                  <a:schemeClr val="bg1"/>
                </a:solidFill>
              </a:rPr>
              <a:t>–</a:t>
            </a:r>
            <a:r>
              <a:rPr lang="en-US" sz="2400" dirty="0" smtClean="0">
                <a:solidFill>
                  <a:schemeClr val="bg1"/>
                </a:solidFill>
              </a:rPr>
              <a:t> DC Consulting Systems Engineer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484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isco Supported VXLAN IETF Drafts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296597" y="1606393"/>
          <a:ext cx="11632531" cy="4036906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938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554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220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87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775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9445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ID</a:t>
                      </a:r>
                      <a:endParaRPr lang="en-US" sz="16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itle</a:t>
                      </a:r>
                      <a:endParaRPr lang="en-US" sz="16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Ver</a:t>
                      </a:r>
                      <a:endParaRPr lang="en-US" sz="16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tegory</a:t>
                      </a:r>
                      <a:endParaRPr lang="en-US" sz="16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mments</a:t>
                      </a:r>
                      <a:endParaRPr lang="en-US" sz="16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RFC 7348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Virtual </a:t>
                      </a:r>
                      <a:r>
                        <a:rPr lang="en-US" sz="1300" dirty="0" err="1" smtClean="0"/>
                        <a:t>eXtensible</a:t>
                      </a:r>
                      <a:r>
                        <a:rPr lang="en-US" sz="1300" dirty="0" smtClean="0"/>
                        <a:t> Local Area Network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Data Plane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Flood and Learn</a:t>
                      </a:r>
                      <a:r>
                        <a:rPr lang="en-US" sz="1300" baseline="0" dirty="0" smtClean="0"/>
                        <a:t> based implemented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r>
                        <a:rPr lang="en-US" sz="1300" kern="1200" dirty="0" smtClean="0"/>
                        <a:t>RFC 7432 </a:t>
                      </a:r>
                      <a:endParaRPr lang="en-US" sz="13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BGP MPLS based Ethernet VPNs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EVPN Control</a:t>
                      </a:r>
                      <a:r>
                        <a:rPr lang="en-US" sz="1300" baseline="0" dirty="0" smtClean="0"/>
                        <a:t> Plane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Control Plane</a:t>
                      </a:r>
                      <a:r>
                        <a:rPr lang="en-US" sz="1300" baseline="0" dirty="0" smtClean="0"/>
                        <a:t> is b</a:t>
                      </a:r>
                      <a:r>
                        <a:rPr lang="en-US" sz="1300" dirty="0" smtClean="0"/>
                        <a:t>ased on</a:t>
                      </a:r>
                      <a:r>
                        <a:rPr lang="en-US" sz="1300" baseline="0" dirty="0" smtClean="0"/>
                        <a:t> this RFC</a:t>
                      </a:r>
                      <a:endParaRPr lang="en-US" sz="1300" dirty="0" smtClean="0"/>
                    </a:p>
                    <a:p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r>
                        <a:rPr lang="en-US" sz="1300" kern="1200" dirty="0" smtClean="0"/>
                        <a:t>draft-</a:t>
                      </a:r>
                      <a:r>
                        <a:rPr lang="en-US" sz="1300" kern="1200" dirty="0" err="1" smtClean="0"/>
                        <a:t>ietf</a:t>
                      </a:r>
                      <a:r>
                        <a:rPr lang="en-US" sz="1300" kern="1200" dirty="0" smtClean="0"/>
                        <a:t>-</a:t>
                      </a:r>
                      <a:r>
                        <a:rPr lang="en-US" sz="1300" kern="1200" dirty="0" err="1" smtClean="0"/>
                        <a:t>bess</a:t>
                      </a:r>
                      <a:r>
                        <a:rPr lang="en-US" sz="1300" kern="1200" dirty="0" smtClean="0"/>
                        <a:t>-</a:t>
                      </a:r>
                      <a:r>
                        <a:rPr lang="en-US" sz="1300" kern="1200" dirty="0" err="1" smtClean="0"/>
                        <a:t>evpn</a:t>
                      </a:r>
                      <a:r>
                        <a:rPr lang="en-US" sz="1300" kern="1200" dirty="0" smtClean="0"/>
                        <a:t>-overlay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A Network Virtualization</a:t>
                      </a:r>
                      <a:r>
                        <a:rPr lang="en-US" sz="1300" baseline="0" dirty="0" smtClean="0"/>
                        <a:t> Overlay Solution using EVPN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0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VPN Control</a:t>
                      </a:r>
                      <a:r>
                        <a:rPr lang="en-US" sz="1300" baseline="0" dirty="0" smtClean="0"/>
                        <a:t> Plane</a:t>
                      </a:r>
                      <a:endParaRPr lang="en-US" sz="1300" dirty="0" smtClean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mplemented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r>
                        <a:rPr lang="en-US" sz="1300" kern="1200" dirty="0" smtClean="0"/>
                        <a:t>draft-</a:t>
                      </a:r>
                      <a:r>
                        <a:rPr lang="en-US" sz="1300" kern="1200" dirty="0" err="1" smtClean="0"/>
                        <a:t>ietf</a:t>
                      </a:r>
                      <a:r>
                        <a:rPr lang="en-US" sz="1300" kern="1200" dirty="0" smtClean="0"/>
                        <a:t>-</a:t>
                      </a:r>
                      <a:r>
                        <a:rPr lang="en-US" sz="1300" kern="1200" dirty="0" err="1" smtClean="0"/>
                        <a:t>bess</a:t>
                      </a:r>
                      <a:r>
                        <a:rPr lang="en-US" sz="1300" kern="1200" dirty="0" smtClean="0"/>
                        <a:t>-</a:t>
                      </a:r>
                      <a:r>
                        <a:rPr lang="en-US" sz="1300" kern="1200" dirty="0" err="1" smtClean="0"/>
                        <a:t>evpn</a:t>
                      </a:r>
                      <a:r>
                        <a:rPr lang="en-US" sz="1300" kern="1200" dirty="0" smtClean="0"/>
                        <a:t>-inter-subnet-forwarding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ntegrated Routing and Bridging in EVPN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0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VPN Control</a:t>
                      </a:r>
                      <a:r>
                        <a:rPr lang="en-US" sz="1300" baseline="0" dirty="0" smtClean="0"/>
                        <a:t> Plane</a:t>
                      </a:r>
                      <a:endParaRPr lang="en-US" sz="1300" dirty="0" smtClean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mplemented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r>
                        <a:rPr lang="en-US" sz="1300" kern="1200" dirty="0" smtClean="0"/>
                        <a:t>draft-rabadan-l2vpn-evpn-evpn-prefix-advertisement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IP Prefix Advertisement in E-VPN</a:t>
                      </a: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2</a:t>
                      </a: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VPN Control</a:t>
                      </a:r>
                      <a:r>
                        <a:rPr lang="en-US" sz="1300" baseline="0" dirty="0" smtClean="0"/>
                        <a:t> Plane</a:t>
                      </a:r>
                      <a:endParaRPr lang="en-US" sz="1300" dirty="0" smtClean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Implemented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8320"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Draft-tissa-nvo3-oam-fm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NVO3 Fault Management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1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err="1" smtClean="0"/>
                        <a:t>Mgmt</a:t>
                      </a:r>
                      <a:r>
                        <a:rPr lang="en-US" sz="1300" dirty="0" smtClean="0"/>
                        <a:t> Plane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300" dirty="0" smtClean="0"/>
                        <a:t>How much of this are</a:t>
                      </a:r>
                      <a:r>
                        <a:rPr lang="en-US" sz="1300" baseline="0" dirty="0" smtClean="0"/>
                        <a:t> we implementing in 2015 ? </a:t>
                      </a:r>
                      <a:r>
                        <a:rPr lang="en-US" sz="1300" baseline="0" dirty="0" err="1" smtClean="0"/>
                        <a:t>Vs</a:t>
                      </a:r>
                      <a:r>
                        <a:rPr lang="en-US" sz="1300" baseline="0" dirty="0" smtClean="0"/>
                        <a:t> ICMP based ? </a:t>
                      </a:r>
                      <a:r>
                        <a:rPr lang="en-US" sz="1300" baseline="0" dirty="0" err="1" smtClean="0"/>
                        <a:t>Vs</a:t>
                      </a:r>
                      <a:r>
                        <a:rPr lang="en-US" sz="1300" baseline="0" dirty="0" smtClean="0"/>
                        <a:t> Jain draft ?</a:t>
                      </a:r>
                      <a:endParaRPr lang="en-US" sz="13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16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XLAN Evolu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806603" y="6518532"/>
            <a:ext cx="511080" cy="366183"/>
          </a:xfrm>
          <a:prstGeom prst="rect">
            <a:avLst/>
          </a:prstGeom>
        </p:spPr>
        <p:txBody>
          <a:bodyPr/>
          <a:lstStyle/>
          <a:p>
            <a:fld id="{3945D0FD-48F1-4D72-80C5-FFB60B92A834}" type="slidenum">
              <a:rPr lang="en-US" smtClean="0"/>
              <a:pPr/>
              <a:t>11</a:t>
            </a:fld>
            <a:endParaRPr lang="en-US" dirty="0"/>
          </a:p>
        </p:txBody>
      </p:sp>
      <p:grpSp>
        <p:nvGrpSpPr>
          <p:cNvPr id="56" name="Group 55"/>
          <p:cNvGrpSpPr/>
          <p:nvPr/>
        </p:nvGrpSpPr>
        <p:grpSpPr>
          <a:xfrm>
            <a:off x="407884" y="1437216"/>
            <a:ext cx="2804124" cy="4425256"/>
            <a:chOff x="171937" y="1240032"/>
            <a:chExt cx="2103641" cy="3318942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171937" y="1240032"/>
              <a:ext cx="2103641" cy="644770"/>
            </a:xfrm>
            <a:prstGeom prst="roundRect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344"/>
              <a:r>
                <a:rPr lang="en-US" sz="19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ulticast Independent</a:t>
              </a:r>
            </a:p>
          </p:txBody>
        </p:sp>
        <p:sp>
          <p:nvSpPr>
            <p:cNvPr id="48" name="Rounded Rectangle 47"/>
            <p:cNvSpPr/>
            <p:nvPr/>
          </p:nvSpPr>
          <p:spPr bwMode="auto">
            <a:xfrm>
              <a:off x="171937" y="1934308"/>
              <a:ext cx="2103641" cy="2624666"/>
            </a:xfrm>
            <a:prstGeom prst="roundRect">
              <a:avLst>
                <a:gd name="adj" fmla="val 6015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t"/>
            <a:lstStyle/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Overlay Control-Plane provides dynamic VTEP discovery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ead-End Replication enables Unicast-only mode (aka ingress Replication)</a:t>
              </a:r>
            </a:p>
          </p:txBody>
        </p:sp>
      </p:grpSp>
      <p:sp>
        <p:nvSpPr>
          <p:cNvPr id="51" name="Rounded Rectangle 50"/>
          <p:cNvSpPr/>
          <p:nvPr/>
        </p:nvSpPr>
        <p:spPr bwMode="auto">
          <a:xfrm>
            <a:off x="8951556" y="2362918"/>
            <a:ext cx="2804124" cy="3499555"/>
          </a:xfrm>
          <a:prstGeom prst="roundRect">
            <a:avLst>
              <a:gd name="adj" fmla="val 6015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tIns="0" rIns="0" bIns="0" rtlCol="0" anchor="t"/>
          <a:lstStyle/>
          <a:p>
            <a:pPr marL="121835" indent="-121835" defTabSz="685344">
              <a:spcBef>
                <a:spcPts val="800"/>
              </a:spcBef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XLAN Hardware Gateway Redundancy (VPC)</a:t>
            </a:r>
          </a:p>
          <a:p>
            <a:pPr marL="121835" indent="-121835" defTabSz="685344">
              <a:spcBef>
                <a:spcPts val="800"/>
              </a:spcBef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Integrated physical and virtual Overlays (Hybrid Overlays)</a:t>
            </a:r>
          </a:p>
          <a:p>
            <a:pPr marL="121835" indent="-121835" defTabSz="685344">
              <a:spcBef>
                <a:spcPts val="800"/>
              </a:spcBef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Inter-Pod Connectivity</a:t>
            </a:r>
          </a:p>
          <a:p>
            <a:pPr marL="121835" indent="-121835" defTabSz="685344">
              <a:spcBef>
                <a:spcPts val="800"/>
              </a:spcBef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XLAN Gateway to other </a:t>
            </a:r>
            <a:r>
              <a:rPr lang="en-US" sz="1600" dirty="0" err="1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Encaps</a:t>
            </a:r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/Network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255773" y="1437216"/>
            <a:ext cx="2804124" cy="4425256"/>
            <a:chOff x="6868422" y="1240032"/>
            <a:chExt cx="2103641" cy="3318942"/>
          </a:xfrm>
        </p:grpSpPr>
        <p:sp>
          <p:nvSpPr>
            <p:cNvPr id="21" name="Rounded Rectangle 20"/>
            <p:cNvSpPr/>
            <p:nvPr/>
          </p:nvSpPr>
          <p:spPr bwMode="auto">
            <a:xfrm>
              <a:off x="6868422" y="1240032"/>
              <a:ext cx="2103641" cy="644770"/>
            </a:xfrm>
            <a:prstGeom prst="roundRect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344"/>
              <a:r>
                <a:rPr lang="en-US" sz="19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External Connectivity</a:t>
              </a:r>
            </a:p>
          </p:txBody>
        </p:sp>
        <p:sp>
          <p:nvSpPr>
            <p:cNvPr id="22" name="Rounded Rectangle 21"/>
            <p:cNvSpPr/>
            <p:nvPr/>
          </p:nvSpPr>
          <p:spPr bwMode="auto">
            <a:xfrm>
              <a:off x="6868422" y="1934308"/>
              <a:ext cx="2103641" cy="2624666"/>
            </a:xfrm>
            <a:prstGeom prst="roundRect">
              <a:avLst>
                <a:gd name="adj" fmla="val 6015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t"/>
            <a:lstStyle/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Hardware Gateway Redundancy (VPC)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Integrated physical and virtual Overlays (Hybrid Overlays)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Inter-Pod Connectivity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Gateway to other </a:t>
              </a:r>
              <a:r>
                <a:rPr lang="en-US" sz="1600" dirty="0" err="1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Encaps</a:t>
              </a: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/Networks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103663" y="1437216"/>
            <a:ext cx="2804124" cy="4425256"/>
            <a:chOff x="2404099" y="1240032"/>
            <a:chExt cx="2103641" cy="3318942"/>
          </a:xfrm>
        </p:grpSpPr>
        <p:sp>
          <p:nvSpPr>
            <p:cNvPr id="27" name="Rounded Rectangle 26"/>
            <p:cNvSpPr/>
            <p:nvPr/>
          </p:nvSpPr>
          <p:spPr bwMode="auto">
            <a:xfrm>
              <a:off x="2404099" y="1240032"/>
              <a:ext cx="2103641" cy="644770"/>
            </a:xfrm>
            <a:prstGeom prst="roundRect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344"/>
              <a:r>
                <a:rPr lang="en-US" sz="19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Protocol Learning</a:t>
              </a:r>
            </a:p>
          </p:txBody>
        </p:sp>
        <p:sp>
          <p:nvSpPr>
            <p:cNvPr id="28" name="Rounded Rectangle 27"/>
            <p:cNvSpPr/>
            <p:nvPr/>
          </p:nvSpPr>
          <p:spPr bwMode="auto">
            <a:xfrm>
              <a:off x="2404099" y="1934308"/>
              <a:ext cx="2103641" cy="2624666"/>
            </a:xfrm>
            <a:prstGeom prst="roundRect">
              <a:avLst>
                <a:gd name="adj" fmla="val 6015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t"/>
            <a:lstStyle/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Workload MAC and IP Addresses learnt by VXLAN Edge Devices (NVEs)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Advertises Layer-2 and Layer-3 Address-to-VTEP Association (Overlay Control-Plane)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Flood Prevention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Optimized ARP forwarding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8951556" y="1437216"/>
            <a:ext cx="2804124" cy="4425256"/>
            <a:chOff x="4636261" y="1240032"/>
            <a:chExt cx="2103641" cy="3318942"/>
          </a:xfrm>
        </p:grpSpPr>
        <p:sp>
          <p:nvSpPr>
            <p:cNvPr id="33" name="Rounded Rectangle 32"/>
            <p:cNvSpPr/>
            <p:nvPr/>
          </p:nvSpPr>
          <p:spPr bwMode="auto">
            <a:xfrm>
              <a:off x="4636261" y="1240032"/>
              <a:ext cx="2103641" cy="644770"/>
            </a:xfrm>
            <a:prstGeom prst="roundRect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344"/>
              <a:r>
                <a:rPr lang="en-US" sz="19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IP Services</a:t>
              </a:r>
            </a:p>
          </p:txBody>
        </p:sp>
        <p:sp>
          <p:nvSpPr>
            <p:cNvPr id="34" name="Rounded Rectangle 33"/>
            <p:cNvSpPr/>
            <p:nvPr/>
          </p:nvSpPr>
          <p:spPr bwMode="auto">
            <a:xfrm>
              <a:off x="4636261" y="1934308"/>
              <a:ext cx="2103641" cy="2624666"/>
            </a:xfrm>
            <a:prstGeom prst="roundRect">
              <a:avLst>
                <a:gd name="adj" fmla="val 6015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0" tIns="0" rIns="0" bIns="0" rtlCol="0" anchor="t"/>
            <a:lstStyle/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Routing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istributed </a:t>
              </a:r>
              <a:r>
                <a:rPr lang="en-US" sz="1600" dirty="0" err="1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Anycast</a:t>
              </a: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Gateway (requires Overlay Control-Plane)</a:t>
              </a:r>
            </a:p>
            <a:p>
              <a:pPr marL="121835" indent="-121835" defTabSz="685344">
                <a:spcBef>
                  <a:spcPts val="8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ulti-Tena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4944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V</a:t>
            </a:r>
            <a:r>
              <a:rPr lang="en-US" dirty="0" smtClean="0"/>
              <a:t>XLAN/EVPN </a:t>
            </a:r>
            <a:r>
              <a:rPr lang="en-US" dirty="0"/>
              <a:t>- Interoperability &amp; </a:t>
            </a:r>
            <a:r>
              <a:rPr lang="en-US" dirty="0" smtClean="0"/>
              <a:t>Feasibility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837397" y="1089359"/>
            <a:ext cx="7908675" cy="4354712"/>
          </a:xfrm>
        </p:spPr>
        <p:txBody>
          <a:bodyPr/>
          <a:lstStyle/>
          <a:p>
            <a:r>
              <a:rPr lang="en-US" sz="2400" dirty="0"/>
              <a:t>VXLAN/EVPN interoperability demonstrated during MPLS/SDN World Congress in Paris</a:t>
            </a:r>
          </a:p>
          <a:p>
            <a:r>
              <a:rPr lang="en-US" sz="2400" dirty="0"/>
              <a:t>Participating Vendors are Cisco, Juniper, Alcatel Lucent &amp; Ixia</a:t>
            </a:r>
          </a:p>
          <a:p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02" y="1676019"/>
            <a:ext cx="3746500" cy="34163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5116" y="2457295"/>
            <a:ext cx="1942087" cy="2743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1600" y="2832031"/>
            <a:ext cx="1932915" cy="2743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TextBox 11"/>
          <p:cNvSpPr txBox="1"/>
          <p:nvPr/>
        </p:nvSpPr>
        <p:spPr>
          <a:xfrm>
            <a:off x="2580973" y="5554396"/>
            <a:ext cx="7030136" cy="692374"/>
          </a:xfrm>
          <a:prstGeom prst="rect">
            <a:avLst/>
          </a:prstGeom>
          <a:noFill/>
        </p:spPr>
        <p:txBody>
          <a:bodyPr wrap="none" lIns="91316" tIns="45659" rIns="91316" bIns="45659" rtlCol="0">
            <a:spAutoFit/>
          </a:bodyPr>
          <a:lstStyle/>
          <a:p>
            <a:pPr algn="ctr"/>
            <a:r>
              <a:rPr lang="en-US" dirty="0"/>
              <a:t>Independently Tested at </a:t>
            </a:r>
            <a:r>
              <a:rPr lang="en-US" dirty="0" smtClean="0"/>
              <a:t>EANTC with public available </a:t>
            </a:r>
            <a:r>
              <a:rPr lang="en-US" sz="2100" dirty="0"/>
              <a:t>Whitepaper</a:t>
            </a:r>
          </a:p>
          <a:p>
            <a:pPr algn="ctr"/>
            <a:r>
              <a:rPr lang="en-US" dirty="0" smtClean="0">
                <a:hlinkClick r:id="rId5"/>
              </a:rPr>
              <a:t>http</a:t>
            </a:r>
            <a:r>
              <a:rPr lang="en-US" dirty="0">
                <a:hlinkClick r:id="rId5"/>
              </a:rPr>
              <a:t>://www.eantc.de/showcases/mpls_sdn_2015/</a:t>
            </a:r>
            <a:r>
              <a:rPr lang="en-US" dirty="0" smtClean="0">
                <a:hlinkClick r:id="rId5"/>
              </a:rPr>
              <a:t>intro.html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 rot="722138">
            <a:off x="10099569" y="443930"/>
            <a:ext cx="1581465" cy="369209"/>
          </a:xfrm>
          <a:prstGeom prst="rect">
            <a:avLst/>
          </a:prstGeom>
          <a:noFill/>
          <a:ln w="76200" cmpd="sng">
            <a:solidFill>
              <a:srgbClr val="FF0000"/>
            </a:solidFill>
          </a:ln>
        </p:spPr>
        <p:txBody>
          <a:bodyPr wrap="none" lIns="91316" tIns="45659" rIns="91316" bIns="45659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  <a:latin typeface="Arial Black"/>
                <a:cs typeface="Arial Black"/>
              </a:rPr>
              <a:t>APPROVED</a:t>
            </a:r>
            <a:endParaRPr lang="en-US" dirty="0">
              <a:solidFill>
                <a:srgbClr val="FF0000"/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574525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/>
        </p:nvSpPr>
        <p:spPr>
          <a:xfrm>
            <a:off x="3070032" y="1922263"/>
            <a:ext cx="1416183" cy="365195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6103610" y="1931129"/>
            <a:ext cx="1416183" cy="365195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0649257" y="2329463"/>
            <a:ext cx="1416183" cy="311015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3534" y="2315380"/>
            <a:ext cx="1416183" cy="311015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129" name="Rectangle 128"/>
          <p:cNvSpPr/>
          <p:nvPr/>
        </p:nvSpPr>
        <p:spPr>
          <a:xfrm>
            <a:off x="-85175" y="5540566"/>
            <a:ext cx="12194965" cy="45719"/>
          </a:xfrm>
          <a:prstGeom prst="rect">
            <a:avLst/>
          </a:prstGeom>
          <a:gradFill>
            <a:gsLst>
              <a:gs pos="0">
                <a:srgbClr val="000000">
                  <a:alpha val="26000"/>
                </a:srgb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7" tIns="60912" rIns="121827" bIns="60912" rtlCol="0" anchor="ctr"/>
          <a:lstStyle/>
          <a:p>
            <a:pPr algn="ctr" defTabSz="913528"/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1556043" y="2345198"/>
            <a:ext cx="1416183" cy="311015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584022" y="2389417"/>
            <a:ext cx="1416183" cy="3119885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7612001" y="1803400"/>
            <a:ext cx="1416183" cy="365195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9125991" y="1803400"/>
            <a:ext cx="1416183" cy="365195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7731" y="5491209"/>
            <a:ext cx="12188825" cy="706531"/>
          </a:xfrm>
          <a:prstGeom prst="rect">
            <a:avLst/>
          </a:prstGeom>
          <a:solidFill>
            <a:srgbClr val="272848"/>
          </a:solidFill>
          <a:ln w="12700" cap="flat">
            <a:noFill/>
            <a:miter lim="800000"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388" tIns="91388" rIns="91388" bIns="91388" rtlCol="0" anchor="t"/>
          <a:lstStyle/>
          <a:p>
            <a:pPr defTabSz="385582"/>
            <a:endParaRPr lang="en-US" sz="1100" dirty="0">
              <a:solidFill>
                <a:srgbClr val="FFFFFF"/>
              </a:solidFill>
              <a:latin typeface="CiscoSansTT ExtraLight"/>
              <a:ea typeface="Arial" pitchFamily="-107" charset="0"/>
              <a:cs typeface="Arial" pitchFamily="-107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1550" y="269502"/>
            <a:ext cx="10369774" cy="952499"/>
          </a:xfrm>
        </p:spPr>
        <p:txBody>
          <a:bodyPr>
            <a:normAutofit/>
          </a:bodyPr>
          <a:lstStyle/>
          <a:p>
            <a:r>
              <a:rPr lang="en-US" dirty="0" smtClean="0"/>
              <a:t>Cisco VXLAN Portfolio</a:t>
            </a:r>
            <a:endParaRPr lang="en-US" sz="2300" dirty="0">
              <a:solidFill>
                <a:srgbClr val="3C86EC"/>
              </a:solidFill>
            </a:endParaRPr>
          </a:p>
        </p:txBody>
      </p:sp>
      <p:sp>
        <p:nvSpPr>
          <p:cNvPr id="171" name="Text Box 49"/>
          <p:cNvSpPr txBox="1">
            <a:spLocks noChangeArrowheads="1"/>
          </p:cNvSpPr>
          <p:nvPr/>
        </p:nvSpPr>
        <p:spPr bwMode="auto">
          <a:xfrm>
            <a:off x="1699487" y="4819080"/>
            <a:ext cx="1231425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1000</a:t>
            </a:r>
          </a:p>
        </p:txBody>
      </p:sp>
      <p:pic>
        <p:nvPicPr>
          <p:cNvPr id="169" name="Picture 168" descr="N3k family Oct11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2323" y="3387375"/>
            <a:ext cx="1049559" cy="546264"/>
          </a:xfrm>
          <a:prstGeom prst="rect">
            <a:avLst/>
          </a:prstGeom>
        </p:spPr>
      </p:pic>
      <p:sp>
        <p:nvSpPr>
          <p:cNvPr id="170" name="Text Box 47"/>
          <p:cNvSpPr txBox="1">
            <a:spLocks noChangeArrowheads="1"/>
          </p:cNvSpPr>
          <p:nvPr/>
        </p:nvSpPr>
        <p:spPr bwMode="auto">
          <a:xfrm>
            <a:off x="4647209" y="4850916"/>
            <a:ext cx="1054672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3100</a:t>
            </a:r>
          </a:p>
        </p:txBody>
      </p:sp>
      <p:pic>
        <p:nvPicPr>
          <p:cNvPr id="178" name="Picture 17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6764" y="4059739"/>
            <a:ext cx="1004233" cy="4979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3" name="Picture 192" descr="KN59024.pn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3602" b="-22227"/>
          <a:stretch/>
        </p:blipFill>
        <p:spPr>
          <a:xfrm>
            <a:off x="4652322" y="3078296"/>
            <a:ext cx="1019048" cy="339680"/>
          </a:xfrm>
          <a:prstGeom prst="rect">
            <a:avLst/>
          </a:prstGeom>
        </p:spPr>
      </p:pic>
      <p:pic>
        <p:nvPicPr>
          <p:cNvPr id="161" name="Picture 2" descr="C:\Users\ddhillon\Documents\7000\images\Nexus family with 7004.png"/>
          <p:cNvPicPr>
            <a:picLocks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6597" y="3387377"/>
            <a:ext cx="1717934" cy="1141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Text Box 47"/>
          <p:cNvSpPr txBox="1">
            <a:spLocks noChangeArrowheads="1"/>
          </p:cNvSpPr>
          <p:nvPr/>
        </p:nvSpPr>
        <p:spPr bwMode="auto">
          <a:xfrm>
            <a:off x="7753211" y="4819080"/>
            <a:ext cx="1207284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7000</a:t>
            </a:r>
          </a:p>
        </p:txBody>
      </p:sp>
      <p:pic>
        <p:nvPicPr>
          <p:cNvPr id="196" name="Picture 19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7740084" y="2639644"/>
            <a:ext cx="795137" cy="857679"/>
          </a:xfrm>
          <a:prstGeom prst="rect">
            <a:avLst/>
          </a:prstGeom>
          <a:effectLst/>
        </p:spPr>
      </p:pic>
      <p:sp>
        <p:nvSpPr>
          <p:cNvPr id="162" name="Text Box 47"/>
          <p:cNvSpPr txBox="1">
            <a:spLocks noChangeArrowheads="1"/>
          </p:cNvSpPr>
          <p:nvPr/>
        </p:nvSpPr>
        <p:spPr bwMode="auto">
          <a:xfrm>
            <a:off x="6229375" y="4817347"/>
            <a:ext cx="1051209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5600</a:t>
            </a:r>
          </a:p>
        </p:txBody>
      </p:sp>
      <p:pic>
        <p:nvPicPr>
          <p:cNvPr id="165" name="Picture 164" descr="N5K Family photo 2 Mar11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377" y="4075586"/>
            <a:ext cx="1232694" cy="5032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12" name="Picture 21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05" b="32129"/>
          <a:stretch/>
        </p:blipFill>
        <p:spPr>
          <a:xfrm>
            <a:off x="6070154" y="3012829"/>
            <a:ext cx="1234409" cy="3897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05" name="Group 204"/>
          <p:cNvGrpSpPr>
            <a:grpSpLocks/>
          </p:cNvGrpSpPr>
          <p:nvPr/>
        </p:nvGrpSpPr>
        <p:grpSpPr>
          <a:xfrm>
            <a:off x="6066199" y="3710026"/>
            <a:ext cx="1187576" cy="315225"/>
            <a:chOff x="9053382" y="2522275"/>
            <a:chExt cx="1075447" cy="432374"/>
          </a:xfrm>
        </p:grpSpPr>
        <p:sp>
          <p:nvSpPr>
            <p:cNvPr id="206" name="Oval 205"/>
            <p:cNvSpPr/>
            <p:nvPr/>
          </p:nvSpPr>
          <p:spPr>
            <a:xfrm>
              <a:off x="9053382" y="2640968"/>
              <a:ext cx="1075447" cy="313681"/>
            </a:xfrm>
            <a:prstGeom prst="ellipse">
              <a:avLst/>
            </a:prstGeom>
            <a:gradFill flip="none" rotWithShape="1">
              <a:gsLst>
                <a:gs pos="100000">
                  <a:schemeClr val="bg1">
                    <a:alpha val="0"/>
                  </a:schemeClr>
                </a:gs>
                <a:gs pos="0">
                  <a:srgbClr val="000000">
                    <a:alpha val="75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1598"/>
              <a:endParaRPr lang="en-US" dirty="0">
                <a:solidFill>
                  <a:srgbClr val="E7E6E6"/>
                </a:solidFill>
                <a:sym typeface="Arial" pitchFamily="34" charset="0"/>
              </a:endParaRPr>
            </a:p>
          </p:txBody>
        </p:sp>
        <p:pic>
          <p:nvPicPr>
            <p:cNvPr id="207" name="Picture 206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01150" y="2522275"/>
              <a:ext cx="823836" cy="349390"/>
            </a:xfrm>
            <a:prstGeom prst="rect">
              <a:avLst/>
            </a:prstGeom>
          </p:spPr>
        </p:pic>
      </p:grpSp>
      <p:sp>
        <p:nvSpPr>
          <p:cNvPr id="93" name="Rectangle 92"/>
          <p:cNvSpPr/>
          <p:nvPr/>
        </p:nvSpPr>
        <p:spPr>
          <a:xfrm>
            <a:off x="7731" y="1972799"/>
            <a:ext cx="12188825" cy="666844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703" rIns="91388" bIns="45703" rtlCol="0" anchor="ctr"/>
          <a:lstStyle/>
          <a:p>
            <a:pPr defTabSz="913756">
              <a:lnSpc>
                <a:spcPct val="90000"/>
              </a:lnSpc>
            </a:pPr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-79037" y="5421188"/>
            <a:ext cx="12188826" cy="112907"/>
          </a:xfrm>
          <a:prstGeom prst="rect">
            <a:avLst/>
          </a:prstGeom>
          <a:blipFill dpi="0" rotWithShape="1">
            <a:blip r:embed="rId11">
              <a:alphaModFix amt="23000"/>
            </a:blip>
            <a:srcRect/>
            <a:tile tx="0" ty="4191000" sx="100000" sy="100000" flip="none" algn="ctr"/>
          </a:blipFill>
          <a:ln w="25400" cap="flat" cmpd="sng" algn="ctr">
            <a:noFill/>
            <a:prstDash val="solid"/>
          </a:ln>
          <a:effectLst/>
        </p:spPr>
        <p:txBody>
          <a:bodyPr spcFirstLastPara="0" vert="horz" wrap="none" lIns="132387" tIns="94326" rIns="132387" bIns="94326" numCol="1" spcCol="1270" anchor="ctr" anchorCtr="0">
            <a:noAutofit/>
          </a:bodyPr>
          <a:lstStyle/>
          <a:p>
            <a:pPr algn="ctr" defTabSz="888079">
              <a:lnSpc>
                <a:spcPct val="90000"/>
              </a:lnSpc>
              <a:spcAft>
                <a:spcPct val="35000"/>
              </a:spcAft>
            </a:pPr>
            <a:endParaRPr lang="en-US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94"/>
          <p:cNvSpPr/>
          <p:nvPr/>
        </p:nvSpPr>
        <p:spPr>
          <a:xfrm flipV="1">
            <a:off x="1592" y="5409039"/>
            <a:ext cx="12194965" cy="45719"/>
          </a:xfrm>
          <a:prstGeom prst="rect">
            <a:avLst/>
          </a:prstGeom>
          <a:gradFill>
            <a:gsLst>
              <a:gs pos="0">
                <a:srgbClr val="000000">
                  <a:alpha val="26000"/>
                </a:srgb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7" tIns="60912" rIns="121827" bIns="60912" rtlCol="0" anchor="ctr"/>
          <a:lstStyle/>
          <a:p>
            <a:pPr algn="ctr" defTabSz="913528"/>
            <a:endParaRPr lang="en-US" sz="1900" dirty="0">
              <a:gradFill>
                <a:gsLst>
                  <a:gs pos="0">
                    <a:srgbClr val="000000"/>
                  </a:gs>
                  <a:gs pos="100000">
                    <a:srgbClr val="000000">
                      <a:alpha val="0"/>
                    </a:srgbClr>
                  </a:gs>
                </a:gsLst>
                <a:lin ang="5400000" scaled="1"/>
              </a:gra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8616" y="5472547"/>
            <a:ext cx="12081798" cy="341598"/>
          </a:xfrm>
          <a:prstGeom prst="rect">
            <a:avLst/>
          </a:prstGeom>
        </p:spPr>
        <p:txBody>
          <a:bodyPr wrap="square" lIns="91404" tIns="45703" rIns="91404" bIns="45703">
            <a:spAutoFit/>
          </a:bodyPr>
          <a:lstStyle/>
          <a:p>
            <a:pPr algn="ctr" defTabSz="913900">
              <a:lnSpc>
                <a:spcPct val="90000"/>
              </a:lnSpc>
            </a:pPr>
            <a:endParaRPr lang="en-US" dirty="0">
              <a:ln w="1905"/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101" name="Text Box 57"/>
          <p:cNvSpPr txBox="1">
            <a:spLocks noChangeArrowheads="1"/>
          </p:cNvSpPr>
          <p:nvPr/>
        </p:nvSpPr>
        <p:spPr bwMode="auto">
          <a:xfrm>
            <a:off x="191259" y="5488136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L2 Gateway</a:t>
            </a:r>
          </a:p>
        </p:txBody>
      </p:sp>
      <p:sp>
        <p:nvSpPr>
          <p:cNvPr id="102" name="Text Box 57"/>
          <p:cNvSpPr txBox="1">
            <a:spLocks noChangeArrowheads="1"/>
          </p:cNvSpPr>
          <p:nvPr/>
        </p:nvSpPr>
        <p:spPr bwMode="auto">
          <a:xfrm>
            <a:off x="2552953" y="5488136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L3 Gateway</a:t>
            </a:r>
          </a:p>
        </p:txBody>
      </p:sp>
      <p:sp>
        <p:nvSpPr>
          <p:cNvPr id="103" name="Text Box 57"/>
          <p:cNvSpPr txBox="1">
            <a:spLocks noChangeArrowheads="1"/>
          </p:cNvSpPr>
          <p:nvPr/>
        </p:nvSpPr>
        <p:spPr bwMode="auto">
          <a:xfrm>
            <a:off x="4943497" y="5481612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BGP EVPN Control Plane</a:t>
            </a:r>
          </a:p>
        </p:txBody>
      </p:sp>
      <p:sp>
        <p:nvSpPr>
          <p:cNvPr id="104" name="Text Box 57"/>
          <p:cNvSpPr txBox="1">
            <a:spLocks noChangeArrowheads="1"/>
          </p:cNvSpPr>
          <p:nvPr/>
        </p:nvSpPr>
        <p:spPr bwMode="auto">
          <a:xfrm>
            <a:off x="7253777" y="5488136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 err="1">
                <a:solidFill>
                  <a:srgbClr val="FFFFFF"/>
                </a:solidFill>
                <a:latin typeface="+mj-lt"/>
                <a:cs typeface="Arial"/>
              </a:rPr>
              <a:t>Anycast</a:t>
            </a: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 Gateway</a:t>
            </a:r>
          </a:p>
        </p:txBody>
      </p:sp>
      <p:sp>
        <p:nvSpPr>
          <p:cNvPr id="105" name="Text Box 57"/>
          <p:cNvSpPr txBox="1">
            <a:spLocks noChangeArrowheads="1"/>
          </p:cNvSpPr>
          <p:nvPr/>
        </p:nvSpPr>
        <p:spPr bwMode="auto">
          <a:xfrm>
            <a:off x="9564057" y="5488136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Head End Replication</a:t>
            </a:r>
          </a:p>
        </p:txBody>
      </p:sp>
      <p:pic>
        <p:nvPicPr>
          <p:cNvPr id="187" name="Picture 186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65496" y="2341279"/>
            <a:ext cx="513553" cy="1162016"/>
          </a:xfrm>
          <a:prstGeom prst="rect">
            <a:avLst/>
          </a:prstGeom>
          <a:effectLst/>
        </p:spPr>
      </p:pic>
      <p:sp>
        <p:nvSpPr>
          <p:cNvPr id="70" name="Text Box 47"/>
          <p:cNvSpPr txBox="1">
            <a:spLocks noChangeArrowheads="1"/>
          </p:cNvSpPr>
          <p:nvPr/>
        </p:nvSpPr>
        <p:spPr bwMode="auto">
          <a:xfrm>
            <a:off x="9292115" y="4819080"/>
            <a:ext cx="1207284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9000</a:t>
            </a:r>
          </a:p>
        </p:txBody>
      </p:sp>
      <p:sp>
        <p:nvSpPr>
          <p:cNvPr id="2" name="Rectangle 1"/>
          <p:cNvSpPr/>
          <p:nvPr/>
        </p:nvSpPr>
        <p:spPr>
          <a:xfrm>
            <a:off x="-10692" y="1498602"/>
            <a:ext cx="12201106" cy="474199"/>
          </a:xfrm>
          <a:prstGeom prst="rect">
            <a:avLst/>
          </a:prstGeom>
          <a:solidFill>
            <a:srgbClr val="272848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algn="ctr" defTabSz="914083"/>
            <a:r>
              <a:rPr lang="en-US" sz="1900" dirty="0"/>
              <a:t>Cisco VXLAN Solutions</a:t>
            </a:r>
          </a:p>
        </p:txBody>
      </p:sp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489" y="3654683"/>
            <a:ext cx="1507634" cy="1164388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" name="Text Box 49"/>
          <p:cNvSpPr txBox="1">
            <a:spLocks noChangeArrowheads="1"/>
          </p:cNvSpPr>
          <p:nvPr/>
        </p:nvSpPr>
        <p:spPr bwMode="auto">
          <a:xfrm>
            <a:off x="194209" y="4819072"/>
            <a:ext cx="1231425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ASR1000</a:t>
            </a:r>
          </a:p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CSR1000</a:t>
            </a:r>
          </a:p>
        </p:txBody>
      </p:sp>
      <p:sp>
        <p:nvSpPr>
          <p:cNvPr id="47" name="Text Box 49"/>
          <p:cNvSpPr txBox="1">
            <a:spLocks noChangeArrowheads="1"/>
          </p:cNvSpPr>
          <p:nvPr/>
        </p:nvSpPr>
        <p:spPr bwMode="auto">
          <a:xfrm>
            <a:off x="10695483" y="4981744"/>
            <a:ext cx="1231425" cy="330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ASR9000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-518621" y="4287320"/>
            <a:ext cx="246157" cy="424048"/>
          </a:xfrm>
          <a:prstGeom prst="rect">
            <a:avLst/>
          </a:prstGeom>
          <a:noFill/>
        </p:spPr>
        <p:txBody>
          <a:bodyPr wrap="none" lIns="121899" tIns="60949" rIns="121899" bIns="60949" rtlCol="0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</a:pPr>
            <a:endParaRPr lang="en-US" sz="2100" dirty="0" err="1">
              <a:solidFill>
                <a:srgbClr val="000000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10740586" y="3406806"/>
            <a:ext cx="1212447" cy="1150923"/>
            <a:chOff x="5435600" y="1308508"/>
            <a:chExt cx="1788571" cy="1485492"/>
          </a:xfrm>
        </p:grpSpPr>
        <p:pic>
          <p:nvPicPr>
            <p:cNvPr id="52" name="Picture 51" descr="HKL44017.jpg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2455" b="97364" l="18409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427" t="2371" r="32542" b="2103"/>
            <a:stretch/>
          </p:blipFill>
          <p:spPr>
            <a:xfrm>
              <a:off x="5435600" y="1308508"/>
              <a:ext cx="604283" cy="1438197"/>
            </a:xfrm>
            <a:prstGeom prst="rect">
              <a:avLst/>
            </a:prstGeom>
          </p:spPr>
        </p:pic>
        <p:pic>
          <p:nvPicPr>
            <p:cNvPr id="53" name="Picture 21" descr="LKI020477.png"/>
            <p:cNvPicPr>
              <a:picLocks noChangeAspect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5835929" y="1828799"/>
              <a:ext cx="907864" cy="9652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" name="Picture 20" descr="LKI020500.png"/>
            <p:cNvPicPr>
              <a:picLocks noChangeAspect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550026" y="2171700"/>
              <a:ext cx="674145" cy="558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9" name="Picture 58" descr="KM13067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551" y="3457284"/>
            <a:ext cx="1274081" cy="1306421"/>
          </a:xfrm>
          <a:prstGeom prst="rect">
            <a:avLst/>
          </a:prstGeom>
        </p:spPr>
      </p:pic>
      <p:sp>
        <p:nvSpPr>
          <p:cNvPr id="55" name="Text Box 57"/>
          <p:cNvSpPr txBox="1">
            <a:spLocks noChangeArrowheads="1"/>
          </p:cNvSpPr>
          <p:nvPr/>
        </p:nvSpPr>
        <p:spPr bwMode="auto">
          <a:xfrm>
            <a:off x="484137" y="1937999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Scale</a:t>
            </a:r>
          </a:p>
        </p:txBody>
      </p:sp>
      <p:sp>
        <p:nvSpPr>
          <p:cNvPr id="57" name="Text Box 57"/>
          <p:cNvSpPr txBox="1">
            <a:spLocks noChangeArrowheads="1"/>
          </p:cNvSpPr>
          <p:nvPr/>
        </p:nvSpPr>
        <p:spPr bwMode="auto">
          <a:xfrm>
            <a:off x="3414310" y="1893248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Secure </a:t>
            </a:r>
          </a:p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Multi-tenancy</a:t>
            </a:r>
          </a:p>
        </p:txBody>
      </p:sp>
      <p:sp>
        <p:nvSpPr>
          <p:cNvPr id="58" name="Text Box 57"/>
          <p:cNvSpPr txBox="1">
            <a:spLocks noChangeArrowheads="1"/>
          </p:cNvSpPr>
          <p:nvPr/>
        </p:nvSpPr>
        <p:spPr bwMode="auto">
          <a:xfrm>
            <a:off x="6418534" y="1893248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Workload Mobility</a:t>
            </a:r>
          </a:p>
        </p:txBody>
      </p:sp>
      <p:sp>
        <p:nvSpPr>
          <p:cNvPr id="60" name="Text Box 57"/>
          <p:cNvSpPr txBox="1">
            <a:spLocks noChangeArrowheads="1"/>
          </p:cNvSpPr>
          <p:nvPr/>
        </p:nvSpPr>
        <p:spPr bwMode="auto">
          <a:xfrm>
            <a:off x="9486223" y="1908180"/>
            <a:ext cx="2143811" cy="814399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</a:ln>
          <a:effectLst/>
        </p:spPr>
        <p:txBody>
          <a:bodyPr lIns="91399" tIns="45703" rIns="91399" bIns="45703" rtlCol="0" anchor="ctr"/>
          <a:lstStyle>
            <a:defPPr>
              <a:defRPr lang="en-US"/>
            </a:defPPr>
            <a:lvl1pPr marR="0" lvl="0" indent="0" algn="ctr" defTabSz="91435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CiscoSans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2000" dirty="0">
                <a:solidFill>
                  <a:srgbClr val="FFFFFF"/>
                </a:solidFill>
                <a:latin typeface="+mj-lt"/>
                <a:cs typeface="Arial"/>
              </a:rPr>
              <a:t>Workload Anywhere</a:t>
            </a:r>
          </a:p>
        </p:txBody>
      </p:sp>
      <p:sp>
        <p:nvSpPr>
          <p:cNvPr id="63" name="Text Box 47"/>
          <p:cNvSpPr txBox="1">
            <a:spLocks noChangeArrowheads="1"/>
          </p:cNvSpPr>
          <p:nvPr/>
        </p:nvSpPr>
        <p:spPr bwMode="auto">
          <a:xfrm>
            <a:off x="3150368" y="4819080"/>
            <a:ext cx="1054672" cy="593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1408" tIns="30708" rIns="61408" bIns="30708">
            <a:spAutoFit/>
          </a:bodyPr>
          <a:lstStyle/>
          <a:p>
            <a:pPr algn="ctr" defTabSz="456567" eaLnBrk="0" hangingPunct="0">
              <a:lnSpc>
                <a:spcPct val="90000"/>
              </a:lnSpc>
            </a:pPr>
            <a:r>
              <a:rPr lang="en-US" sz="1900" b="1" dirty="0">
                <a:solidFill>
                  <a:srgbClr val="435153"/>
                </a:solidFill>
                <a:ea typeface="Apple LiGothic Medium" pitchFamily="2" charset="-120"/>
                <a:cs typeface="Arial" charset="0"/>
                <a:sym typeface="Arial" pitchFamily="34" charset="0"/>
              </a:rPr>
              <a:t>Nexus 2000</a:t>
            </a:r>
          </a:p>
        </p:txBody>
      </p:sp>
      <p:pic>
        <p:nvPicPr>
          <p:cNvPr id="65" name="Picture 11" descr="C:\Documents and Settings\nealm\My Documents\CMO\1000V-Box.gif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5032" y="3843136"/>
            <a:ext cx="428496" cy="654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67" descr="N2k family photo Oct11.png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523" y="3733269"/>
            <a:ext cx="942690" cy="640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952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8645" y="2677243"/>
            <a:ext cx="2751264" cy="1202904"/>
          </a:xfrm>
        </p:spPr>
        <p:txBody>
          <a:bodyPr/>
          <a:lstStyle/>
          <a:p>
            <a:r>
              <a:rPr lang="en-US" smtClean="0"/>
              <a:t>What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300524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9853" y="1918765"/>
            <a:ext cx="5488498" cy="3020519"/>
          </a:xfrm>
        </p:spPr>
        <p:txBody>
          <a:bodyPr/>
          <a:lstStyle/>
          <a:p>
            <a:r>
              <a:rPr lang="en-US" sz="4800" dirty="0">
                <a:latin typeface="+mn-lt"/>
              </a:rPr>
              <a:t>VXLAN/EVPN = Ingress Replic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342464" indent="-342464">
              <a:buFont typeface="Arial"/>
              <a:buChar char="•"/>
            </a:pPr>
            <a:r>
              <a:rPr lang="en-US" dirty="0" smtClean="0"/>
              <a:t>VXLAN with BGP EVPN Control-Plane still requires a technology for Broadcast/Unknown Unicast/Multicast (BUM) replication</a:t>
            </a:r>
          </a:p>
          <a:p>
            <a:pPr marL="342464" indent="-342464">
              <a:buFont typeface="Arial"/>
              <a:buChar char="•"/>
            </a:pPr>
            <a:r>
              <a:rPr lang="en-US" dirty="0" smtClean="0"/>
              <a:t>Cisco provides 2 Options</a:t>
            </a:r>
          </a:p>
          <a:p>
            <a:pPr marL="821508" lvl="1" indent="-342464"/>
            <a:r>
              <a:rPr lang="en-US" b="1" dirty="0" smtClean="0">
                <a:latin typeface="CiscoSansTT"/>
                <a:cs typeface="CiscoSansTT"/>
              </a:rPr>
              <a:t>Multicast</a:t>
            </a:r>
            <a:r>
              <a:rPr lang="en-US" dirty="0" smtClean="0"/>
              <a:t> – Efficient way of sending multi-destination </a:t>
            </a:r>
            <a:r>
              <a:rPr lang="en-US" dirty="0"/>
              <a:t>t</a:t>
            </a:r>
            <a:r>
              <a:rPr lang="en-US" dirty="0" smtClean="0"/>
              <a:t>raffic to all participating VTEP (1 Copy per Link)</a:t>
            </a:r>
          </a:p>
          <a:p>
            <a:pPr marL="821508" lvl="1" indent="-342464"/>
            <a:r>
              <a:rPr lang="en-US" b="1" dirty="0" smtClean="0">
                <a:latin typeface="CiscoSansTT"/>
                <a:cs typeface="CiscoSansTT"/>
              </a:rPr>
              <a:t>Unicast</a:t>
            </a:r>
            <a:r>
              <a:rPr lang="en-US" dirty="0" smtClean="0"/>
              <a:t> – Sending a copy of multi-destination traffic to all participating VTEP (1 copy per VTEP)</a:t>
            </a:r>
          </a:p>
        </p:txBody>
      </p:sp>
      <p:sp>
        <p:nvSpPr>
          <p:cNvPr id="6" name="&quot;No&quot; Symbol 5"/>
          <p:cNvSpPr/>
          <p:nvPr/>
        </p:nvSpPr>
        <p:spPr>
          <a:xfrm>
            <a:off x="1255343" y="1590440"/>
            <a:ext cx="3657601" cy="3657600"/>
          </a:xfrm>
          <a:prstGeom prst="noSmoking">
            <a:avLst/>
          </a:prstGeom>
          <a:solidFill>
            <a:srgbClr val="FF0000">
              <a:alpha val="50000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spcCol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4407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9853" y="1918765"/>
            <a:ext cx="5488498" cy="3020519"/>
          </a:xfrm>
        </p:spPr>
        <p:txBody>
          <a:bodyPr/>
          <a:lstStyle/>
          <a:p>
            <a:r>
              <a:rPr lang="en-US" sz="4800" dirty="0">
                <a:latin typeface="+mn-lt"/>
              </a:rPr>
              <a:t>VXLAN/EVPN was build for Data Center Interconnect (DCI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35909" y="872691"/>
            <a:ext cx="5481960" cy="5120640"/>
          </a:xfrm>
        </p:spPr>
        <p:txBody>
          <a:bodyPr/>
          <a:lstStyle/>
          <a:p>
            <a:pPr marL="342464" indent="-342464">
              <a:buFont typeface="Arial"/>
              <a:buChar char="•"/>
            </a:pPr>
            <a:r>
              <a:rPr lang="en-US" sz="2400" dirty="0" smtClean="0"/>
              <a:t>VXLAN with BGP EVPN Control-Plane uses the control-plane for integrated Route and Bridge (IRB) decisions</a:t>
            </a:r>
          </a:p>
          <a:p>
            <a:pPr marL="342464" indent="-342464">
              <a:buFont typeface="Arial"/>
              <a:buChar char="•"/>
            </a:pPr>
            <a:r>
              <a:rPr lang="en-US" sz="2400" dirty="0" smtClean="0"/>
              <a:t>VXLAN has now a Control-Plane like OTV but …</a:t>
            </a:r>
          </a:p>
          <a:p>
            <a:pPr marL="821508" lvl="1" indent="-342464"/>
            <a:r>
              <a:rPr lang="en-US" sz="2400" dirty="0" smtClean="0"/>
              <a:t>VXLAN was built for Local Area Network (LAN)</a:t>
            </a:r>
          </a:p>
          <a:p>
            <a:pPr marL="821508" lvl="1" indent="-342464"/>
            <a:r>
              <a:rPr lang="en-US" sz="2400" dirty="0" smtClean="0"/>
              <a:t>There are missing features/functions which are not there (we will talk about it)</a:t>
            </a:r>
          </a:p>
          <a:p>
            <a:pPr marL="821508" lvl="1" indent="-342464"/>
            <a:r>
              <a:rPr lang="en-US" sz="2400" dirty="0" smtClean="0"/>
              <a:t>VXLAN could be used for Inter-Pod communication</a:t>
            </a:r>
          </a:p>
        </p:txBody>
      </p:sp>
      <p:sp>
        <p:nvSpPr>
          <p:cNvPr id="6" name="&quot;No&quot; Symbol 5"/>
          <p:cNvSpPr/>
          <p:nvPr/>
        </p:nvSpPr>
        <p:spPr>
          <a:xfrm>
            <a:off x="1255343" y="1590440"/>
            <a:ext cx="3657601" cy="3657600"/>
          </a:xfrm>
          <a:prstGeom prst="noSmoking">
            <a:avLst/>
          </a:prstGeom>
          <a:solidFill>
            <a:srgbClr val="FF0000">
              <a:alpha val="50000"/>
            </a:srgbClr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6" tIns="45659" rIns="91316" bIns="45659" spcCol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7934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3688" y="1316860"/>
            <a:ext cx="11036459" cy="4224280"/>
          </a:xfrm>
        </p:spPr>
        <p:txBody>
          <a:bodyPr/>
          <a:lstStyle/>
          <a:p>
            <a:r>
              <a:rPr lang="en-US" sz="2800" dirty="0"/>
              <a:t>VXLAN is a network overlay technology</a:t>
            </a:r>
          </a:p>
          <a:p>
            <a:pPr lvl="1"/>
            <a:r>
              <a:rPr lang="en-US" sz="2500" dirty="0" smtClean="0"/>
              <a:t>Layer-2 </a:t>
            </a:r>
            <a:r>
              <a:rPr lang="en-US" sz="2500" dirty="0"/>
              <a:t>&amp; Layer-3 overlay network on top of an IP routed network</a:t>
            </a:r>
          </a:p>
          <a:p>
            <a:pPr lvl="1"/>
            <a:r>
              <a:rPr lang="en-US" sz="2500" dirty="0" smtClean="0"/>
              <a:t>MAC </a:t>
            </a:r>
            <a:r>
              <a:rPr lang="en-US" sz="2500" dirty="0"/>
              <a:t>in UDP encapsulation (UDP destination port 4789)</a:t>
            </a:r>
          </a:p>
          <a:p>
            <a:r>
              <a:rPr lang="en-US" dirty="0" smtClean="0"/>
              <a:t>Standards </a:t>
            </a:r>
            <a:r>
              <a:rPr lang="en-US" dirty="0"/>
              <a:t>based </a:t>
            </a:r>
            <a:r>
              <a:rPr lang="en-US" dirty="0" smtClean="0"/>
              <a:t>overlay </a:t>
            </a:r>
            <a:r>
              <a:rPr lang="en-US" dirty="0"/>
              <a:t>(VXLAN) with </a:t>
            </a:r>
            <a:r>
              <a:rPr lang="en-US" dirty="0" smtClean="0"/>
              <a:t>standards </a:t>
            </a:r>
            <a:r>
              <a:rPr lang="en-US" dirty="0"/>
              <a:t>based </a:t>
            </a:r>
            <a:r>
              <a:rPr lang="en-US" dirty="0" smtClean="0"/>
              <a:t>Control-plane </a:t>
            </a:r>
            <a:r>
              <a:rPr lang="en-US" dirty="0"/>
              <a:t>(BGP)</a:t>
            </a:r>
          </a:p>
          <a:p>
            <a:r>
              <a:rPr lang="en-US" dirty="0" smtClean="0"/>
              <a:t>Layer</a:t>
            </a:r>
            <a:r>
              <a:rPr lang="en-US" dirty="0"/>
              <a:t>-2 MAC and Layer-3 IP information distribution by Control-Plane (BGP)</a:t>
            </a:r>
          </a:p>
          <a:p>
            <a:r>
              <a:rPr lang="en-US" dirty="0" smtClean="0"/>
              <a:t>Forwarding </a:t>
            </a:r>
            <a:r>
              <a:rPr lang="en-US" dirty="0"/>
              <a:t>decision based on Control-Plane (minimizes flooding)</a:t>
            </a:r>
          </a:p>
          <a:p>
            <a:r>
              <a:rPr lang="en-US" dirty="0" smtClean="0"/>
              <a:t>Integrated </a:t>
            </a:r>
            <a:r>
              <a:rPr lang="en-US" dirty="0"/>
              <a:t>Routing/Bridging (IRB) for Optimized Forwarding in the </a:t>
            </a:r>
            <a:r>
              <a:rPr lang="en-US" dirty="0" smtClean="0"/>
              <a:t>Overlay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s VXLAN/EVPN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874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XLAN Gateway Typ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VXLAN to VLAN </a:t>
            </a:r>
            <a:r>
              <a:rPr lang="en-US" dirty="0" smtClean="0"/>
              <a:t>Bridging</a:t>
            </a:r>
          </a:p>
          <a:p>
            <a:pPr lvl="1"/>
            <a:r>
              <a:rPr lang="en-US" dirty="0" smtClean="0"/>
              <a:t>(Layer-2 </a:t>
            </a:r>
            <a:r>
              <a:rPr lang="en-US" dirty="0"/>
              <a:t>Gateway</a:t>
            </a:r>
            <a:r>
              <a:rPr lang="en-US" dirty="0" smtClean="0"/>
              <a:t>)</a:t>
            </a:r>
          </a:p>
          <a:p>
            <a:pPr lvl="1"/>
            <a:endParaRPr lang="en-US" dirty="0" smtClean="0"/>
          </a:p>
          <a:p>
            <a:pPr marL="2380" indent="0">
              <a:buNone/>
            </a:pPr>
            <a:endParaRPr lang="en-US" dirty="0" smtClean="0"/>
          </a:p>
          <a:p>
            <a:r>
              <a:rPr lang="en-US" dirty="0" smtClean="0"/>
              <a:t>VXLAN</a:t>
            </a:r>
            <a:r>
              <a:rPr lang="en-US" dirty="0"/>
              <a:t>-to-VXLAN </a:t>
            </a:r>
            <a:r>
              <a:rPr lang="en-US" dirty="0" smtClean="0"/>
              <a:t>Routing</a:t>
            </a:r>
          </a:p>
          <a:p>
            <a:pPr lvl="1"/>
            <a:r>
              <a:rPr lang="en-US" dirty="0" smtClean="0"/>
              <a:t>(Layer-3 </a:t>
            </a:r>
            <a:r>
              <a:rPr lang="en-US" dirty="0"/>
              <a:t>Gateway</a:t>
            </a:r>
            <a:r>
              <a:rPr lang="en-US" dirty="0" smtClean="0"/>
              <a:t>)</a:t>
            </a:r>
          </a:p>
          <a:p>
            <a:pPr lvl="1"/>
            <a:endParaRPr lang="en-US" dirty="0" smtClean="0"/>
          </a:p>
          <a:p>
            <a:pPr marL="2380" indent="0">
              <a:buNone/>
            </a:pPr>
            <a:endParaRPr lang="en-US" dirty="0" smtClean="0"/>
          </a:p>
          <a:p>
            <a:r>
              <a:rPr lang="en-US" dirty="0" smtClean="0"/>
              <a:t>VXLAN</a:t>
            </a:r>
            <a:r>
              <a:rPr lang="en-US" dirty="0"/>
              <a:t>-to-VLAN </a:t>
            </a:r>
            <a:r>
              <a:rPr lang="en-US" dirty="0" smtClean="0"/>
              <a:t>Routing</a:t>
            </a:r>
          </a:p>
          <a:p>
            <a:pPr lvl="1"/>
            <a:r>
              <a:rPr lang="en-US" dirty="0" smtClean="0"/>
              <a:t>(Layer-3 </a:t>
            </a:r>
            <a:r>
              <a:rPr lang="en-US" dirty="0"/>
              <a:t>Gateway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VXLAN </a:t>
            </a:r>
            <a:r>
              <a:rPr lang="en-US" dirty="0" smtClean="0"/>
              <a:t>Taxonom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18</a:t>
            </a:fld>
            <a:endParaRPr lang="en-US" dirty="0"/>
          </a:p>
        </p:txBody>
      </p:sp>
      <p:grpSp>
        <p:nvGrpSpPr>
          <p:cNvPr id="50" name="Group 49"/>
          <p:cNvGrpSpPr/>
          <p:nvPr/>
        </p:nvGrpSpPr>
        <p:grpSpPr>
          <a:xfrm>
            <a:off x="5630704" y="3110912"/>
            <a:ext cx="5178667" cy="1449431"/>
            <a:chOff x="4932852" y="2344259"/>
            <a:chExt cx="3885012" cy="1087073"/>
          </a:xfrm>
        </p:grpSpPr>
        <p:grpSp>
          <p:nvGrpSpPr>
            <p:cNvPr id="9" name="Group 8"/>
            <p:cNvGrpSpPr/>
            <p:nvPr/>
          </p:nvGrpSpPr>
          <p:grpSpPr>
            <a:xfrm>
              <a:off x="4932852" y="2344259"/>
              <a:ext cx="3885012" cy="778494"/>
              <a:chOff x="2618077" y="2637330"/>
              <a:chExt cx="3885012" cy="778494"/>
            </a:xfrm>
          </p:grpSpPr>
          <p:cxnSp>
            <p:nvCxnSpPr>
              <p:cNvPr id="31" name="Straight Connector 30"/>
              <p:cNvCxnSpPr/>
              <p:nvPr/>
            </p:nvCxnSpPr>
            <p:spPr bwMode="auto">
              <a:xfrm flipV="1">
                <a:off x="4674289" y="3026577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76200" cap="rnd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p:spPr>
          </p:cxnSp>
          <p:cxnSp>
            <p:nvCxnSpPr>
              <p:cNvPr id="32" name="Straight Connector 31"/>
              <p:cNvCxnSpPr/>
              <p:nvPr/>
            </p:nvCxnSpPr>
            <p:spPr bwMode="auto">
              <a:xfrm flipV="1">
                <a:off x="2618077" y="3026577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76200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cxnSp>
          <p:grpSp>
            <p:nvGrpSpPr>
              <p:cNvPr id="33" name="Group 32"/>
              <p:cNvGrpSpPr/>
              <p:nvPr/>
            </p:nvGrpSpPr>
            <p:grpSpPr>
              <a:xfrm>
                <a:off x="4252920" y="2637330"/>
                <a:ext cx="615327" cy="778494"/>
                <a:chOff x="5197809" y="1470085"/>
                <a:chExt cx="615327" cy="778494"/>
              </a:xfrm>
            </p:grpSpPr>
            <p:grpSp>
              <p:nvGrpSpPr>
                <p:cNvPr id="34" name="Group 33"/>
                <p:cNvGrpSpPr/>
                <p:nvPr/>
              </p:nvGrpSpPr>
              <p:grpSpPr>
                <a:xfrm>
                  <a:off x="5197809" y="1644810"/>
                  <a:ext cx="615327" cy="603769"/>
                  <a:chOff x="4517870" y="2651692"/>
                  <a:chExt cx="615327" cy="603769"/>
                </a:xfrm>
              </p:grpSpPr>
              <p:pic>
                <p:nvPicPr>
                  <p:cNvPr id="3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17870" y="2651692"/>
                    <a:ext cx="615327" cy="603769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39" name="Group 38"/>
                  <p:cNvGrpSpPr/>
                  <p:nvPr/>
                </p:nvGrpSpPr>
                <p:grpSpPr>
                  <a:xfrm>
                    <a:off x="4670085" y="2798128"/>
                    <a:ext cx="310896" cy="310896"/>
                    <a:chOff x="3200400" y="3562350"/>
                    <a:chExt cx="310896" cy="310896"/>
                  </a:xfrm>
                </p:grpSpPr>
                <p:sp>
                  <p:nvSpPr>
                    <p:cNvPr id="40" name="Hexagon 39"/>
                    <p:cNvSpPr/>
                    <p:nvPr/>
                  </p:nvSpPr>
                  <p:spPr bwMode="auto">
                    <a:xfrm>
                      <a:off x="3200400" y="3562350"/>
                      <a:ext cx="310896" cy="310896"/>
                    </a:xfrm>
                    <a:prstGeom prst="hexagon">
                      <a:avLst/>
                    </a:prstGeom>
                    <a:solidFill>
                      <a:schemeClr val="accent3">
                        <a:lumMod val="40000"/>
                        <a:lumOff val="60000"/>
                      </a:schemeClr>
                    </a:solidFill>
                    <a:ln w="12700">
                      <a:solidFill>
                        <a:schemeClr val="accent3">
                          <a:lumMod val="75000"/>
                        </a:schemeClr>
                      </a:solidFill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b="1" dirty="0" err="1">
                        <a:solidFill>
                          <a:schemeClr val="bg1"/>
                        </a:solidFill>
                        <a:latin typeface="+mj-lt"/>
                        <a:sym typeface="Arial" pitchFamily="-107" charset="0"/>
                      </a:endParaRPr>
                    </a:p>
                  </p:txBody>
                </p:sp>
                <p:sp>
                  <p:nvSpPr>
                    <p:cNvPr id="41" name="TextBox 40"/>
                    <p:cNvSpPr txBox="1"/>
                    <p:nvPr/>
                  </p:nvSpPr>
                  <p:spPr>
                    <a:xfrm>
                      <a:off x="3288471" y="3604947"/>
                      <a:ext cx="134753" cy="222176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800"/>
                        </a:spcBef>
                      </a:pPr>
                      <a:r>
                        <a:rPr lang="en-US" sz="2100" b="1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V</a:t>
                      </a:r>
                      <a:endParaRPr lang="en-US" sz="2100" b="1" baseline="3000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p:txBody>
                </p:sp>
              </p:grpSp>
            </p:grpSp>
            <p:grpSp>
              <p:nvGrpSpPr>
                <p:cNvPr id="35" name="Group 34"/>
                <p:cNvGrpSpPr/>
                <p:nvPr/>
              </p:nvGrpSpPr>
              <p:grpSpPr>
                <a:xfrm>
                  <a:off x="5354783" y="1470085"/>
                  <a:ext cx="307164" cy="307160"/>
                  <a:chOff x="3352800" y="3943350"/>
                  <a:chExt cx="307164" cy="307160"/>
                </a:xfrm>
              </p:grpSpPr>
              <p:sp>
                <p:nvSpPr>
                  <p:cNvPr id="36" name="Oval 35"/>
                  <p:cNvSpPr/>
                  <p:nvPr/>
                </p:nvSpPr>
                <p:spPr>
                  <a:xfrm>
                    <a:off x="3352800" y="3943350"/>
                    <a:ext cx="307164" cy="307160"/>
                  </a:xfrm>
                  <a:prstGeom prst="ellipse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 w="12700">
                    <a:solidFill>
                      <a:schemeClr val="accent1">
                        <a:lumMod val="60000"/>
                        <a:lumOff val="40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37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3420300" y="4012206"/>
                    <a:ext cx="172165" cy="169448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13" name="Rounded Rectangle 41"/>
            <p:cNvSpPr/>
            <p:nvPr/>
          </p:nvSpPr>
          <p:spPr>
            <a:xfrm>
              <a:off x="6370330" y="3118208"/>
              <a:ext cx="1010056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Router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968647" y="2387816"/>
              <a:ext cx="13405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Ingress VXLAN packet</a:t>
              </a: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on RED segment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02717" y="2374692"/>
              <a:ext cx="149961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Egress VXLAN packet is ROUTED to new segment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630704" y="4950820"/>
            <a:ext cx="5178667" cy="1461053"/>
            <a:chOff x="4932852" y="3495038"/>
            <a:chExt cx="3885012" cy="1095790"/>
          </a:xfrm>
        </p:grpSpPr>
        <p:grpSp>
          <p:nvGrpSpPr>
            <p:cNvPr id="10" name="Group 9"/>
            <p:cNvGrpSpPr/>
            <p:nvPr/>
          </p:nvGrpSpPr>
          <p:grpSpPr>
            <a:xfrm>
              <a:off x="4932852" y="3503755"/>
              <a:ext cx="3885012" cy="778494"/>
              <a:chOff x="2618077" y="3649252"/>
              <a:chExt cx="3885012" cy="778494"/>
            </a:xfrm>
          </p:grpSpPr>
          <p:cxnSp>
            <p:nvCxnSpPr>
              <p:cNvPr id="20" name="Straight Connector 19"/>
              <p:cNvCxnSpPr/>
              <p:nvPr/>
            </p:nvCxnSpPr>
            <p:spPr bwMode="auto">
              <a:xfrm>
                <a:off x="4674289" y="4038499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254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1" name="Straight Connector 20"/>
              <p:cNvCxnSpPr/>
              <p:nvPr/>
            </p:nvCxnSpPr>
            <p:spPr bwMode="auto">
              <a:xfrm flipV="1">
                <a:off x="2618077" y="4038499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76200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cxnSp>
          <p:grpSp>
            <p:nvGrpSpPr>
              <p:cNvPr id="22" name="Group 21"/>
              <p:cNvGrpSpPr/>
              <p:nvPr/>
            </p:nvGrpSpPr>
            <p:grpSpPr>
              <a:xfrm>
                <a:off x="4264211" y="3649252"/>
                <a:ext cx="615327" cy="778494"/>
                <a:chOff x="5197809" y="1470085"/>
                <a:chExt cx="615327" cy="778494"/>
              </a:xfrm>
            </p:grpSpPr>
            <p:grpSp>
              <p:nvGrpSpPr>
                <p:cNvPr id="23" name="Group 22"/>
                <p:cNvGrpSpPr/>
                <p:nvPr/>
              </p:nvGrpSpPr>
              <p:grpSpPr>
                <a:xfrm>
                  <a:off x="5197809" y="1644810"/>
                  <a:ext cx="615327" cy="603769"/>
                  <a:chOff x="4517870" y="2651692"/>
                  <a:chExt cx="615327" cy="603769"/>
                </a:xfrm>
              </p:grpSpPr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17870" y="2651692"/>
                    <a:ext cx="615327" cy="603769"/>
                  </a:xfrm>
                  <a:prstGeom prst="rect">
                    <a:avLst/>
                  </a:prstGeom>
                  <a:noFill/>
                </p:spPr>
              </p:pic>
              <p:grpSp>
                <p:nvGrpSpPr>
                  <p:cNvPr id="28" name="Group 27"/>
                  <p:cNvGrpSpPr/>
                  <p:nvPr/>
                </p:nvGrpSpPr>
                <p:grpSpPr>
                  <a:xfrm>
                    <a:off x="4670085" y="2798128"/>
                    <a:ext cx="310896" cy="310896"/>
                    <a:chOff x="3200400" y="3562350"/>
                    <a:chExt cx="310896" cy="310896"/>
                  </a:xfrm>
                </p:grpSpPr>
                <p:sp>
                  <p:nvSpPr>
                    <p:cNvPr id="29" name="Hexagon 28"/>
                    <p:cNvSpPr/>
                    <p:nvPr/>
                  </p:nvSpPr>
                  <p:spPr bwMode="auto">
                    <a:xfrm>
                      <a:off x="3200400" y="3562350"/>
                      <a:ext cx="310896" cy="310896"/>
                    </a:xfrm>
                    <a:prstGeom prst="hexagon">
                      <a:avLst/>
                    </a:prstGeom>
                    <a:solidFill>
                      <a:schemeClr val="accent3">
                        <a:lumMod val="40000"/>
                        <a:lumOff val="60000"/>
                      </a:schemeClr>
                    </a:solidFill>
                    <a:ln w="12700">
                      <a:solidFill>
                        <a:schemeClr val="accent3">
                          <a:lumMod val="75000"/>
                        </a:schemeClr>
                      </a:solidFill>
                    </a:ln>
                    <a:effectLst/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b="1" dirty="0" err="1">
                        <a:solidFill>
                          <a:schemeClr val="bg1"/>
                        </a:solidFill>
                        <a:latin typeface="+mj-lt"/>
                        <a:sym typeface="Arial" pitchFamily="-107" charset="0"/>
                      </a:endParaRPr>
                    </a:p>
                  </p:txBody>
                </p:sp>
                <p:sp>
                  <p:nvSpPr>
                    <p:cNvPr id="30" name="TextBox 29"/>
                    <p:cNvSpPr txBox="1"/>
                    <p:nvPr/>
                  </p:nvSpPr>
                  <p:spPr>
                    <a:xfrm>
                      <a:off x="3288471" y="3604947"/>
                      <a:ext cx="134753" cy="222176"/>
                    </a:xfrm>
                    <a:prstGeom prst="rect">
                      <a:avLst/>
                    </a:prstGeom>
                    <a:noFill/>
                  </p:spPr>
                  <p:txBody>
                    <a:bodyPr wrap="none" lIns="0" tIns="0" rIns="0" bIns="0" rtlCol="0">
                      <a:spAutoFit/>
                    </a:bodyPr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800"/>
                        </a:spcBef>
                      </a:pPr>
                      <a:r>
                        <a:rPr lang="en-US" sz="2100" b="1" dirty="0">
                          <a:solidFill>
                            <a:schemeClr val="bg1"/>
                          </a:solidFill>
                          <a:latin typeface="+mj-lt"/>
                          <a:cs typeface="Arial"/>
                        </a:rPr>
                        <a:t>V</a:t>
                      </a:r>
                      <a:endParaRPr lang="en-US" sz="2100" b="1" baseline="30000" dirty="0">
                        <a:solidFill>
                          <a:schemeClr val="bg1"/>
                        </a:solidFill>
                        <a:latin typeface="+mj-lt"/>
                        <a:cs typeface="Arial"/>
                      </a:endParaRPr>
                    </a:p>
                  </p:txBody>
                </p:sp>
              </p:grpSp>
            </p:grpSp>
            <p:grpSp>
              <p:nvGrpSpPr>
                <p:cNvPr id="24" name="Group 23"/>
                <p:cNvGrpSpPr/>
                <p:nvPr/>
              </p:nvGrpSpPr>
              <p:grpSpPr>
                <a:xfrm>
                  <a:off x="5354783" y="1470085"/>
                  <a:ext cx="307164" cy="307160"/>
                  <a:chOff x="3352800" y="3943350"/>
                  <a:chExt cx="307164" cy="307160"/>
                </a:xfrm>
              </p:grpSpPr>
              <p:sp>
                <p:nvSpPr>
                  <p:cNvPr id="25" name="Oval 24"/>
                  <p:cNvSpPr/>
                  <p:nvPr/>
                </p:nvSpPr>
                <p:spPr>
                  <a:xfrm>
                    <a:off x="3352800" y="3943350"/>
                    <a:ext cx="307164" cy="307160"/>
                  </a:xfrm>
                  <a:prstGeom prst="ellipse">
                    <a:avLst/>
                  </a:prstGeom>
                  <a:solidFill>
                    <a:schemeClr val="accent1">
                      <a:lumMod val="40000"/>
                      <a:lumOff val="60000"/>
                    </a:schemeClr>
                  </a:solidFill>
                  <a:ln w="12700">
                    <a:solidFill>
                      <a:schemeClr val="accent1">
                        <a:lumMod val="60000"/>
                        <a:lumOff val="40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6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3420300" y="4012206"/>
                    <a:ext cx="172165" cy="169448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12" name="Rounded Rectangle 41"/>
            <p:cNvSpPr/>
            <p:nvPr/>
          </p:nvSpPr>
          <p:spPr>
            <a:xfrm>
              <a:off x="6370330" y="4277704"/>
              <a:ext cx="1010056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Router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968647" y="3547268"/>
              <a:ext cx="13405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Ingress VXLAN packet</a:t>
              </a: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on RED segment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302717" y="3495038"/>
              <a:ext cx="1499616" cy="38087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Egress packet is IEEE 802.1q tagged interface. packet is ROUTED to new VLAN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5630704" y="1408071"/>
            <a:ext cx="5178667" cy="1338829"/>
            <a:chOff x="4932852" y="1261300"/>
            <a:chExt cx="3885012" cy="1004122"/>
          </a:xfrm>
        </p:grpSpPr>
        <p:grpSp>
          <p:nvGrpSpPr>
            <p:cNvPr id="8" name="Group 7"/>
            <p:cNvGrpSpPr/>
            <p:nvPr/>
          </p:nvGrpSpPr>
          <p:grpSpPr>
            <a:xfrm>
              <a:off x="4932852" y="1359488"/>
              <a:ext cx="3885012" cy="603769"/>
              <a:chOff x="2618077" y="1594874"/>
              <a:chExt cx="3885012" cy="603769"/>
            </a:xfrm>
          </p:grpSpPr>
          <p:cxnSp>
            <p:nvCxnSpPr>
              <p:cNvPr id="42" name="Straight Connector 41"/>
              <p:cNvCxnSpPr/>
              <p:nvPr/>
            </p:nvCxnSpPr>
            <p:spPr bwMode="auto">
              <a:xfrm>
                <a:off x="4674289" y="1896758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25400" cap="flat" cmpd="sng" algn="ctr">
                <a:solidFill>
                  <a:schemeClr val="bg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3" name="Straight Connector 42"/>
              <p:cNvCxnSpPr/>
              <p:nvPr/>
            </p:nvCxnSpPr>
            <p:spPr bwMode="auto">
              <a:xfrm flipV="1">
                <a:off x="2618077" y="1896758"/>
                <a:ext cx="1828800" cy="0"/>
              </a:xfrm>
              <a:prstGeom prst="line">
                <a:avLst/>
              </a:prstGeom>
              <a:solidFill>
                <a:srgbClr val="0183B7"/>
              </a:solidFill>
              <a:ln w="76200" cap="rnd" cmpd="sng" algn="ctr">
                <a:solidFill>
                  <a:schemeClr val="accent4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p:spPr>
          </p:cxnSp>
          <p:grpSp>
            <p:nvGrpSpPr>
              <p:cNvPr id="44" name="Group 43"/>
              <p:cNvGrpSpPr/>
              <p:nvPr/>
            </p:nvGrpSpPr>
            <p:grpSpPr>
              <a:xfrm>
                <a:off x="4252920" y="1594874"/>
                <a:ext cx="615327" cy="603769"/>
                <a:chOff x="4517870" y="2651692"/>
                <a:chExt cx="615327" cy="603769"/>
              </a:xfrm>
            </p:grpSpPr>
            <p:pic>
              <p:nvPicPr>
                <p:cNvPr id="45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46" name="Group 45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47" name="Hexagon 4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b="1" dirty="0" err="1">
                      <a:solidFill>
                        <a:schemeClr val="bg1"/>
                      </a:solidFill>
                      <a:latin typeface="+mj-lt"/>
                      <a:sym typeface="Arial" pitchFamily="-107" charset="0"/>
                    </a:endParaRPr>
                  </a:p>
                </p:txBody>
              </p:sp>
              <p:sp>
                <p:nvSpPr>
                  <p:cNvPr id="48" name="TextBox 47"/>
                  <p:cNvSpPr txBox="1"/>
                  <p:nvPr/>
                </p:nvSpPr>
                <p:spPr>
                  <a:xfrm>
                    <a:off x="3288471" y="3604947"/>
                    <a:ext cx="134753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>
                      <a:lnSpc>
                        <a:spcPct val="90000"/>
                      </a:lnSpc>
                      <a:spcBef>
                        <a:spcPts val="800"/>
                      </a:spcBef>
                    </a:pPr>
                    <a:r>
                      <a:rPr lang="en-US" sz="2100" b="1" dirty="0">
                        <a:solidFill>
                          <a:schemeClr val="bg1"/>
                        </a:solidFill>
                        <a:latin typeface="+mj-lt"/>
                        <a:cs typeface="Arial"/>
                      </a:rPr>
                      <a:t>V</a:t>
                    </a:r>
                    <a:endPara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endParaRPr>
                  </a:p>
                </p:txBody>
              </p:sp>
            </p:grpSp>
          </p:grpSp>
        </p:grpSp>
        <p:sp>
          <p:nvSpPr>
            <p:cNvPr id="11" name="Rounded Rectangle 41"/>
            <p:cNvSpPr/>
            <p:nvPr/>
          </p:nvSpPr>
          <p:spPr>
            <a:xfrm>
              <a:off x="6370330" y="1952298"/>
              <a:ext cx="1010056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XLAN Layer-2 Gateway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4968647" y="1318165"/>
              <a:ext cx="1340532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Ingress VXLAN packet</a:t>
              </a:r>
            </a:p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on RED segment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302717" y="1261300"/>
              <a:ext cx="1499616" cy="38087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cs typeface="Apple Symbols"/>
                </a:rPr>
                <a:t>Egress packet is IEEE 802.1q tagged interface. packet is BRIDGED to new VL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71622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19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10416161" y="3621101"/>
            <a:ext cx="620578" cy="1019984"/>
            <a:chOff x="807667" y="2504215"/>
            <a:chExt cx="359997" cy="591541"/>
          </a:xfrm>
        </p:grpSpPr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667" y="2504215"/>
              <a:ext cx="359997" cy="359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2" name="Group 175"/>
            <p:cNvGrpSpPr>
              <a:grpSpLocks noChangeAspect="1"/>
            </p:cNvGrpSpPr>
            <p:nvPr/>
          </p:nvGrpSpPr>
          <p:grpSpPr>
            <a:xfrm>
              <a:off x="884286" y="2880970"/>
              <a:ext cx="206771" cy="214786"/>
              <a:chOff x="3204760" y="3975458"/>
              <a:chExt cx="227523" cy="285683"/>
            </a:xfrm>
          </p:grpSpPr>
          <p:sp>
            <p:nvSpPr>
              <p:cNvPr id="63" name="Rounded Rectangle 62"/>
              <p:cNvSpPr/>
              <p:nvPr/>
            </p:nvSpPr>
            <p:spPr>
              <a:xfrm>
                <a:off x="3204760" y="3975458"/>
                <a:ext cx="227523" cy="285683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64" name="Group 165"/>
              <p:cNvGrpSpPr/>
              <p:nvPr/>
            </p:nvGrpSpPr>
            <p:grpSpPr>
              <a:xfrm>
                <a:off x="3211879" y="3995010"/>
                <a:ext cx="212364" cy="227338"/>
                <a:chOff x="6717118" y="3305151"/>
                <a:chExt cx="1013733" cy="1157303"/>
              </a:xfrm>
              <a:solidFill>
                <a:schemeClr val="bg1"/>
              </a:solidFill>
            </p:grpSpPr>
            <p:sp>
              <p:nvSpPr>
                <p:cNvPr id="66" name="Freeform 129"/>
                <p:cNvSpPr>
                  <a:spLocks noEditPoints="1"/>
                </p:cNvSpPr>
                <p:nvPr/>
              </p:nvSpPr>
              <p:spPr bwMode="auto">
                <a:xfrm>
                  <a:off x="6717118" y="3470252"/>
                  <a:ext cx="445218" cy="591013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67" name="Freeform 130"/>
                <p:cNvSpPr>
                  <a:spLocks noEditPoints="1"/>
                </p:cNvSpPr>
                <p:nvPr/>
              </p:nvSpPr>
              <p:spPr bwMode="auto">
                <a:xfrm>
                  <a:off x="7135370" y="3305151"/>
                  <a:ext cx="310386" cy="422431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68" name="Freeform 131"/>
                <p:cNvSpPr>
                  <a:spLocks noEditPoints="1"/>
                </p:cNvSpPr>
                <p:nvPr/>
              </p:nvSpPr>
              <p:spPr bwMode="auto">
                <a:xfrm>
                  <a:off x="7142377" y="3678224"/>
                  <a:ext cx="588474" cy="784230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65" name="Freeform 132"/>
              <p:cNvSpPr>
                <a:spLocks/>
              </p:cNvSpPr>
              <p:nvPr/>
            </p:nvSpPr>
            <p:spPr bwMode="auto">
              <a:xfrm>
                <a:off x="3312884" y="4085766"/>
                <a:ext cx="91795" cy="115799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</p:grpSp>
      </p:grpSp>
      <p:grpSp>
        <p:nvGrpSpPr>
          <p:cNvPr id="264" name="Group 263"/>
          <p:cNvGrpSpPr/>
          <p:nvPr/>
        </p:nvGrpSpPr>
        <p:grpSpPr>
          <a:xfrm>
            <a:off x="1542897" y="3221912"/>
            <a:ext cx="2170917" cy="1832688"/>
            <a:chOff x="1156282" y="2416434"/>
            <a:chExt cx="1628612" cy="1374516"/>
          </a:xfrm>
        </p:grpSpPr>
        <p:cxnSp>
          <p:nvCxnSpPr>
            <p:cNvPr id="116" name="Elbow Connector 115"/>
            <p:cNvCxnSpPr>
              <a:endCxn id="99" idx="0"/>
            </p:cNvCxnSpPr>
            <p:nvPr/>
          </p:nvCxnSpPr>
          <p:spPr bwMode="auto">
            <a:xfrm rot="10800000" flipV="1">
              <a:off x="1568743" y="2416434"/>
              <a:ext cx="1216151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5964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</p:grpSp>
        <p:sp>
          <p:nvSpPr>
            <p:cNvPr id="122" name="Rounded Rectangle 41"/>
            <p:cNvSpPr/>
            <p:nvPr/>
          </p:nvSpPr>
          <p:spPr>
            <a:xfrm>
              <a:off x="1779164" y="24872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sp>
          <p:nvSpPr>
            <p:cNvPr id="124" name="Rounded Rectangle 41"/>
            <p:cNvSpPr/>
            <p:nvPr/>
          </p:nvSpPr>
          <p:spPr>
            <a:xfrm>
              <a:off x="1156282" y="34778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Physical Host</a:t>
              </a:r>
            </a:p>
          </p:txBody>
        </p:sp>
      </p:grpSp>
      <p:grpSp>
        <p:nvGrpSpPr>
          <p:cNvPr id="262" name="Group 261"/>
          <p:cNvGrpSpPr/>
          <p:nvPr/>
        </p:nvGrpSpPr>
        <p:grpSpPr>
          <a:xfrm>
            <a:off x="8699043" y="3128100"/>
            <a:ext cx="2577210" cy="2028113"/>
            <a:chOff x="6524789" y="2346065"/>
            <a:chExt cx="1933411" cy="1521085"/>
          </a:xfrm>
        </p:grpSpPr>
        <p:cxnSp>
          <p:nvCxnSpPr>
            <p:cNvPr id="119" name="Elbow Connector 118"/>
            <p:cNvCxnSpPr>
              <a:endCxn id="61" idx="0"/>
            </p:cNvCxnSpPr>
            <p:nvPr/>
          </p:nvCxnSpPr>
          <p:spPr bwMode="auto">
            <a:xfrm>
              <a:off x="6524789" y="2346065"/>
              <a:ext cx="1520953" cy="369761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0" name="Rounded Rectangle 41"/>
            <p:cNvSpPr/>
            <p:nvPr/>
          </p:nvSpPr>
          <p:spPr>
            <a:xfrm>
              <a:off x="7176082" y="2411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sp>
          <p:nvSpPr>
            <p:cNvPr id="162" name="Rounded Rectangle 41"/>
            <p:cNvSpPr/>
            <p:nvPr/>
          </p:nvSpPr>
          <p:spPr>
            <a:xfrm>
              <a:off x="7633282" y="3554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Physical Host</a:t>
              </a:r>
            </a:p>
          </p:txBody>
        </p:sp>
      </p:grpSp>
      <p:cxnSp>
        <p:nvCxnSpPr>
          <p:cNvPr id="194" name="Straight Connector 193"/>
          <p:cNvCxnSpPr>
            <a:stCxn id="127" idx="6"/>
          </p:cNvCxnSpPr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>
            <a:stCxn id="142" idx="0"/>
          </p:cNvCxnSpPr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>
            <a:endCxn id="134" idx="1"/>
          </p:cNvCxnSpPr>
          <p:nvPr/>
        </p:nvCxnSpPr>
        <p:spPr bwMode="auto">
          <a:xfrm>
            <a:off x="5596335" y="228390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63" name="Group 262"/>
          <p:cNvGrpSpPr/>
          <p:nvPr/>
        </p:nvGrpSpPr>
        <p:grpSpPr>
          <a:xfrm>
            <a:off x="5799161" y="4855343"/>
            <a:ext cx="2328312" cy="1824913"/>
            <a:chOff x="4349311" y="3641465"/>
            <a:chExt cx="1746689" cy="1368685"/>
          </a:xfrm>
        </p:grpSpPr>
        <p:sp>
          <p:nvSpPr>
            <p:cNvPr id="125" name="Rounded Rectangle 41"/>
            <p:cNvSpPr/>
            <p:nvPr/>
          </p:nvSpPr>
          <p:spPr>
            <a:xfrm>
              <a:off x="5271082" y="4697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irtual Hosts</a:t>
              </a:r>
            </a:p>
          </p:txBody>
        </p:sp>
        <p:sp>
          <p:nvSpPr>
            <p:cNvPr id="182" name="Rounded Rectangle 41"/>
            <p:cNvSpPr/>
            <p:nvPr/>
          </p:nvSpPr>
          <p:spPr>
            <a:xfrm>
              <a:off x="4813882" y="37064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cxnSp>
          <p:nvCxnSpPr>
            <p:cNvPr id="211" name="Elbow Connector 210"/>
            <p:cNvCxnSpPr>
              <a:endCxn id="84" idx="0"/>
            </p:cNvCxnSpPr>
            <p:nvPr/>
          </p:nvCxnSpPr>
          <p:spPr bwMode="auto">
            <a:xfrm>
              <a:off x="4349311" y="3641465"/>
              <a:ext cx="1334230" cy="60884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69" name="Group 68"/>
            <p:cNvGrpSpPr/>
            <p:nvPr/>
          </p:nvGrpSpPr>
          <p:grpSpPr>
            <a:xfrm>
              <a:off x="5323541" y="4241313"/>
              <a:ext cx="720000" cy="402149"/>
              <a:chOff x="6215275" y="3577199"/>
              <a:chExt cx="720000" cy="402149"/>
            </a:xfrm>
          </p:grpSpPr>
          <p:sp>
            <p:nvSpPr>
              <p:cNvPr id="70" name="Rounded Rectangle 69"/>
              <p:cNvSpPr/>
              <p:nvPr/>
            </p:nvSpPr>
            <p:spPr>
              <a:xfrm>
                <a:off x="6698116" y="3825011"/>
                <a:ext cx="162013" cy="151806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71" name="Group 165"/>
              <p:cNvGrpSpPr/>
              <p:nvPr/>
            </p:nvGrpSpPr>
            <p:grpSpPr>
              <a:xfrm>
                <a:off x="6708365" y="3837219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91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92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93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72" name="Freeform 132"/>
              <p:cNvSpPr>
                <a:spLocks/>
              </p:cNvSpPr>
              <p:nvPr/>
            </p:nvSpPr>
            <p:spPr bwMode="auto">
              <a:xfrm>
                <a:off x="6772055" y="3894761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cxnSp>
            <p:nvCxnSpPr>
              <p:cNvPr id="73" name="Straight Connector 72"/>
              <p:cNvCxnSpPr/>
              <p:nvPr/>
            </p:nvCxnSpPr>
            <p:spPr>
              <a:xfrm>
                <a:off x="6371425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>
                <a:off x="6573666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6766905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Rounded Rectangle 75"/>
              <p:cNvSpPr/>
              <p:nvPr/>
            </p:nvSpPr>
            <p:spPr>
              <a:xfrm>
                <a:off x="6290418" y="3825011"/>
                <a:ext cx="162013" cy="151806"/>
              </a:xfrm>
              <a:prstGeom prst="roundRect">
                <a:avLst/>
              </a:prstGeom>
              <a:solidFill>
                <a:schemeClr val="accent6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77" name="Group 165"/>
              <p:cNvGrpSpPr/>
              <p:nvPr/>
            </p:nvGrpSpPr>
            <p:grpSpPr>
              <a:xfrm>
                <a:off x="6298419" y="3837351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88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89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90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78" name="Freeform 132"/>
              <p:cNvSpPr>
                <a:spLocks/>
              </p:cNvSpPr>
              <p:nvPr/>
            </p:nvSpPr>
            <p:spPr bwMode="auto">
              <a:xfrm>
                <a:off x="6362109" y="3894893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sp>
            <p:nvSpPr>
              <p:cNvPr id="79" name="Rounded Rectangle 78"/>
              <p:cNvSpPr/>
              <p:nvPr/>
            </p:nvSpPr>
            <p:spPr>
              <a:xfrm>
                <a:off x="6504264" y="3825012"/>
                <a:ext cx="152012" cy="154336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80" name="Group 165"/>
              <p:cNvGrpSpPr/>
              <p:nvPr/>
            </p:nvGrpSpPr>
            <p:grpSpPr>
              <a:xfrm>
                <a:off x="6504264" y="3837412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85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86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87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81" name="Freeform 132"/>
              <p:cNvSpPr>
                <a:spLocks/>
              </p:cNvSpPr>
              <p:nvPr/>
            </p:nvSpPr>
            <p:spPr bwMode="auto">
              <a:xfrm>
                <a:off x="6567953" y="3894954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6215275" y="3577199"/>
                <a:ext cx="720000" cy="189147"/>
                <a:chOff x="1470993" y="2648578"/>
                <a:chExt cx="720000" cy="189147"/>
              </a:xfrm>
            </p:grpSpPr>
            <p:sp>
              <p:nvSpPr>
                <p:cNvPr id="83" name="Rounded Rectangle 41"/>
                <p:cNvSpPr/>
                <p:nvPr/>
              </p:nvSpPr>
              <p:spPr>
                <a:xfrm>
                  <a:off x="1548156" y="2648578"/>
                  <a:ext cx="567692" cy="189147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84" name="Rectangle 83"/>
                <p:cNvSpPr/>
                <p:nvPr/>
              </p:nvSpPr>
              <p:spPr>
                <a:xfrm>
                  <a:off x="1470993" y="2657576"/>
                  <a:ext cx="720000" cy="15524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67853" tIns="33916" rIns="67853" bIns="33916" anchor="ctr">
                  <a:spAutoFit/>
                </a:bodyPr>
                <a:lstStyle/>
                <a:p>
                  <a:pPr algn="ctr" defTabSz="1074591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pple LiGothic Medium"/>
                    </a:rPr>
                    <a:t>Virtual Switch</a:t>
                  </a:r>
                </a:p>
              </p:txBody>
            </p:sp>
          </p:grpSp>
        </p:grpSp>
      </p:grpSp>
      <p:cxnSp>
        <p:nvCxnSpPr>
          <p:cNvPr id="216" name="Straight Connector 215"/>
          <p:cNvCxnSpPr>
            <a:stCxn id="127" idx="6"/>
          </p:cNvCxnSpPr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>
            <a:stCxn id="127" idx="6"/>
          </p:cNvCxnSpPr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>
            <a:stCxn id="127" idx="6"/>
          </p:cNvCxnSpPr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>
            <a:stCxn id="142" idx="0"/>
          </p:cNvCxnSpPr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>
            <a:stCxn id="142" idx="0"/>
          </p:cNvCxnSpPr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>
            <a:stCxn id="142" idx="0"/>
          </p:cNvCxnSpPr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>
            <a:endCxn id="134" idx="1"/>
          </p:cNvCxnSpPr>
          <p:nvPr/>
        </p:nvCxnSpPr>
        <p:spPr bwMode="auto">
          <a:xfrm>
            <a:off x="6239690" y="228390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>
            <a:endCxn id="134" idx="1"/>
          </p:cNvCxnSpPr>
          <p:nvPr/>
        </p:nvCxnSpPr>
        <p:spPr bwMode="auto">
          <a:xfrm>
            <a:off x="6882933" y="228390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>
            <a:endCxn id="134" idx="1"/>
          </p:cNvCxnSpPr>
          <p:nvPr/>
        </p:nvCxnSpPr>
        <p:spPr bwMode="auto">
          <a:xfrm>
            <a:off x="7526288" y="228390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  <p:txBody>
          <a:bodyPr vert="horz" wrap="square" lIns="121680" tIns="60840" rIns="121680" bIns="60840" numCol="1" anchor="ctr" anchorCtr="0" compatLnSpc="1">
            <a:prstTxWarp prst="textNoShape">
              <a:avLst/>
            </a:prstTxWarp>
          </a:bodyPr>
          <a:lstStyle/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IP Network</a:t>
            </a:r>
          </a:p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(Underlay)</a:t>
            </a:r>
          </a:p>
        </p:txBody>
      </p:sp>
      <p:sp>
        <p:nvSpPr>
          <p:cNvPr id="123" name="Rounded Rectangle 41"/>
          <p:cNvSpPr/>
          <p:nvPr/>
        </p:nvSpPr>
        <p:spPr>
          <a:xfrm>
            <a:off x="3371220" y="2401902"/>
            <a:ext cx="1099604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Edge Device</a:t>
            </a:r>
          </a:p>
        </p:txBody>
      </p:sp>
      <p:sp>
        <p:nvSpPr>
          <p:cNvPr id="180" name="Rounded Rectangle 41"/>
          <p:cNvSpPr/>
          <p:nvPr/>
        </p:nvSpPr>
        <p:spPr>
          <a:xfrm>
            <a:off x="4166103" y="4746478"/>
            <a:ext cx="1099604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Edge Device</a:t>
            </a:r>
          </a:p>
        </p:txBody>
      </p:sp>
      <p:sp>
        <p:nvSpPr>
          <p:cNvPr id="161" name="Rounded Rectangle 41"/>
          <p:cNvSpPr/>
          <p:nvPr/>
        </p:nvSpPr>
        <p:spPr>
          <a:xfrm>
            <a:off x="8551470" y="2319178"/>
            <a:ext cx="1099604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Edge Device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8081721" y="2725631"/>
            <a:ext cx="820222" cy="805025"/>
            <a:chOff x="6096000" y="3257550"/>
            <a:chExt cx="615327" cy="603769"/>
          </a:xfrm>
        </p:grpSpPr>
        <p:pic>
          <p:nvPicPr>
            <p:cNvPr id="135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096000" y="3257550"/>
              <a:ext cx="615327" cy="603769"/>
            </a:xfrm>
            <a:prstGeom prst="rect">
              <a:avLst/>
            </a:prstGeom>
            <a:noFill/>
          </p:spPr>
        </p:pic>
        <p:sp>
          <p:nvSpPr>
            <p:cNvPr id="134" name="Oval 133"/>
            <p:cNvSpPr>
              <a:spLocks noChangeAspect="1"/>
            </p:cNvSpPr>
            <p:nvPr/>
          </p:nvSpPr>
          <p:spPr bwMode="auto">
            <a:xfrm>
              <a:off x="6096000" y="3467994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endParaRPr lang="en-US" sz="1900" dirty="0" err="1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5181839" y="4351231"/>
            <a:ext cx="820222" cy="906625"/>
            <a:chOff x="4953000" y="1123950"/>
            <a:chExt cx="615327" cy="679969"/>
          </a:xfrm>
        </p:grpSpPr>
        <p:pic>
          <p:nvPicPr>
            <p:cNvPr id="143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53000" y="1200150"/>
              <a:ext cx="615327" cy="603769"/>
            </a:xfrm>
            <a:prstGeom prst="rect">
              <a:avLst/>
            </a:prstGeom>
            <a:noFill/>
          </p:spPr>
        </p:pic>
        <p:sp>
          <p:nvSpPr>
            <p:cNvPr id="142" name="Oval 141"/>
            <p:cNvSpPr>
              <a:spLocks noChangeAspect="1"/>
            </p:cNvSpPr>
            <p:nvPr/>
          </p:nvSpPr>
          <p:spPr bwMode="auto">
            <a:xfrm>
              <a:off x="5169223" y="1123950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endParaRPr lang="en-US" sz="1900" dirty="0" err="1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3510912" y="2819457"/>
            <a:ext cx="820222" cy="805025"/>
            <a:chOff x="3048000" y="2791272"/>
            <a:chExt cx="615327" cy="603769"/>
          </a:xfrm>
        </p:grpSpPr>
        <p:pic>
          <p:nvPicPr>
            <p:cNvPr id="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048000" y="2791272"/>
              <a:ext cx="615327" cy="603769"/>
            </a:xfrm>
            <a:prstGeom prst="rect">
              <a:avLst/>
            </a:prstGeom>
            <a:noFill/>
          </p:spPr>
        </p:pic>
        <p:sp>
          <p:nvSpPr>
            <p:cNvPr id="127" name="Oval 126"/>
            <p:cNvSpPr>
              <a:spLocks noChangeAspect="1"/>
            </p:cNvSpPr>
            <p:nvPr/>
          </p:nvSpPr>
          <p:spPr bwMode="auto">
            <a:xfrm>
              <a:off x="3480447" y="3001716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endParaRPr lang="en-US" sz="1900" dirty="0" err="1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261" name="Group 260"/>
          <p:cNvGrpSpPr/>
          <p:nvPr/>
        </p:nvGrpSpPr>
        <p:grpSpPr>
          <a:xfrm>
            <a:off x="4331190" y="3128087"/>
            <a:ext cx="3750587" cy="1223088"/>
            <a:chOff x="3248005" y="2346065"/>
            <a:chExt cx="2813673" cy="917316"/>
          </a:xfrm>
        </p:grpSpPr>
        <p:cxnSp>
          <p:nvCxnSpPr>
            <p:cNvPr id="172" name="Straight Arrow Connector 171"/>
            <p:cNvCxnSpPr>
              <a:endCxn id="134" idx="2"/>
            </p:cNvCxnSpPr>
            <p:nvPr/>
          </p:nvCxnSpPr>
          <p:spPr bwMode="auto">
            <a:xfrm flipV="1">
              <a:off x="5042482" y="2346065"/>
              <a:ext cx="1019196" cy="30604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9" name="Straight Arrow Connector 168"/>
            <p:cNvCxnSpPr>
              <a:endCxn id="127" idx="6"/>
            </p:cNvCxnSpPr>
            <p:nvPr/>
          </p:nvCxnSpPr>
          <p:spPr bwMode="auto">
            <a:xfrm flipH="1" flipV="1">
              <a:off x="3248005" y="2416434"/>
              <a:ext cx="1794477" cy="235678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8" name="Straight Arrow Connector 167"/>
            <p:cNvCxnSpPr>
              <a:endCxn id="142" idx="0"/>
            </p:cNvCxnSpPr>
            <p:nvPr/>
          </p:nvCxnSpPr>
          <p:spPr bwMode="auto">
            <a:xfrm flipH="1">
              <a:off x="4193863" y="2652112"/>
              <a:ext cx="848620" cy="611269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94" name="Rounded Rectangle 41"/>
          <p:cNvSpPr/>
          <p:nvPr/>
        </p:nvSpPr>
        <p:spPr>
          <a:xfrm>
            <a:off x="5994427" y="3327402"/>
            <a:ext cx="1099604" cy="417499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IP Interfa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LAN Overview </a:t>
            </a:r>
            <a:r>
              <a:rPr lang="en-US" dirty="0" smtClean="0"/>
              <a:t>(1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6659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29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82761" y="2662253"/>
            <a:ext cx="2426477" cy="1202904"/>
          </a:xfrm>
        </p:spPr>
        <p:txBody>
          <a:bodyPr/>
          <a:lstStyle/>
          <a:p>
            <a:r>
              <a:rPr lang="en-US" smtClean="0"/>
              <a:t>Why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574113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10912" y="2819457"/>
            <a:ext cx="820222" cy="805025"/>
          </a:xfrm>
          <a:prstGeom prst="rect">
            <a:avLst/>
          </a:prstGeom>
          <a:noFill/>
        </p:spPr>
      </p:pic>
      <p:sp>
        <p:nvSpPr>
          <p:cNvPr id="94" name="Title 93"/>
          <p:cNvSpPr>
            <a:spLocks noGrp="1"/>
          </p:cNvSpPr>
          <p:nvPr>
            <p:ph type="title"/>
          </p:nvPr>
        </p:nvSpPr>
        <p:spPr>
          <a:xfrm>
            <a:off x="407882" y="290287"/>
            <a:ext cx="11347796" cy="1020576"/>
          </a:xfrm>
        </p:spPr>
        <p:txBody>
          <a:bodyPr/>
          <a:lstStyle/>
          <a:p>
            <a:r>
              <a:rPr lang="en-US" dirty="0" smtClean="0"/>
              <a:t>VXLAN Overview (2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20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10416161" y="3621101"/>
            <a:ext cx="620578" cy="1019984"/>
            <a:chOff x="807667" y="2504215"/>
            <a:chExt cx="359997" cy="591541"/>
          </a:xfrm>
        </p:grpSpPr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667" y="2504215"/>
              <a:ext cx="359997" cy="359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2" name="Group 175"/>
            <p:cNvGrpSpPr>
              <a:grpSpLocks noChangeAspect="1"/>
            </p:cNvGrpSpPr>
            <p:nvPr/>
          </p:nvGrpSpPr>
          <p:grpSpPr>
            <a:xfrm>
              <a:off x="884286" y="2880970"/>
              <a:ext cx="206771" cy="214786"/>
              <a:chOff x="3204760" y="3975458"/>
              <a:chExt cx="227523" cy="285683"/>
            </a:xfrm>
          </p:grpSpPr>
          <p:sp>
            <p:nvSpPr>
              <p:cNvPr id="63" name="Rounded Rectangle 62"/>
              <p:cNvSpPr/>
              <p:nvPr/>
            </p:nvSpPr>
            <p:spPr>
              <a:xfrm>
                <a:off x="3204760" y="3975458"/>
                <a:ext cx="227523" cy="285683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64" name="Group 165"/>
              <p:cNvGrpSpPr/>
              <p:nvPr/>
            </p:nvGrpSpPr>
            <p:grpSpPr>
              <a:xfrm>
                <a:off x="3211879" y="3995010"/>
                <a:ext cx="212364" cy="227338"/>
                <a:chOff x="6717118" y="3305151"/>
                <a:chExt cx="1013733" cy="1157303"/>
              </a:xfrm>
              <a:solidFill>
                <a:schemeClr val="bg1"/>
              </a:solidFill>
            </p:grpSpPr>
            <p:sp>
              <p:nvSpPr>
                <p:cNvPr id="66" name="Freeform 129"/>
                <p:cNvSpPr>
                  <a:spLocks noEditPoints="1"/>
                </p:cNvSpPr>
                <p:nvPr/>
              </p:nvSpPr>
              <p:spPr bwMode="auto">
                <a:xfrm>
                  <a:off x="6717118" y="3470252"/>
                  <a:ext cx="445218" cy="591013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67" name="Freeform 130"/>
                <p:cNvSpPr>
                  <a:spLocks noEditPoints="1"/>
                </p:cNvSpPr>
                <p:nvPr/>
              </p:nvSpPr>
              <p:spPr bwMode="auto">
                <a:xfrm>
                  <a:off x="7135370" y="3305151"/>
                  <a:ext cx="310386" cy="422431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68" name="Freeform 131"/>
                <p:cNvSpPr>
                  <a:spLocks noEditPoints="1"/>
                </p:cNvSpPr>
                <p:nvPr/>
              </p:nvSpPr>
              <p:spPr bwMode="auto">
                <a:xfrm>
                  <a:off x="7142377" y="3678224"/>
                  <a:ext cx="588474" cy="784230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65" name="Freeform 132"/>
              <p:cNvSpPr>
                <a:spLocks/>
              </p:cNvSpPr>
              <p:nvPr/>
            </p:nvSpPr>
            <p:spPr bwMode="auto">
              <a:xfrm>
                <a:off x="3312884" y="4085766"/>
                <a:ext cx="91795" cy="115799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</p:grpSp>
      </p:grpSp>
      <p:grpSp>
        <p:nvGrpSpPr>
          <p:cNvPr id="264" name="Group 263"/>
          <p:cNvGrpSpPr/>
          <p:nvPr/>
        </p:nvGrpSpPr>
        <p:grpSpPr>
          <a:xfrm>
            <a:off x="1542897" y="3221912"/>
            <a:ext cx="2170917" cy="1832688"/>
            <a:chOff x="1156282" y="2416434"/>
            <a:chExt cx="1628612" cy="1374516"/>
          </a:xfrm>
        </p:grpSpPr>
        <p:cxnSp>
          <p:nvCxnSpPr>
            <p:cNvPr id="116" name="Elbow Connector 115"/>
            <p:cNvCxnSpPr>
              <a:stCxn id="2" idx="3"/>
              <a:endCxn id="99" idx="0"/>
            </p:cNvCxnSpPr>
            <p:nvPr/>
          </p:nvCxnSpPr>
          <p:spPr bwMode="auto">
            <a:xfrm rot="10800000" flipV="1">
              <a:off x="1568743" y="2416434"/>
              <a:ext cx="1216151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5964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1541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</p:grpSp>
        <p:sp>
          <p:nvSpPr>
            <p:cNvPr id="122" name="Rounded Rectangle 41"/>
            <p:cNvSpPr/>
            <p:nvPr/>
          </p:nvSpPr>
          <p:spPr>
            <a:xfrm>
              <a:off x="1779164" y="24872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sp>
          <p:nvSpPr>
            <p:cNvPr id="124" name="Rounded Rectangle 41"/>
            <p:cNvSpPr/>
            <p:nvPr/>
          </p:nvSpPr>
          <p:spPr>
            <a:xfrm>
              <a:off x="1156282" y="34778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Physical Host</a:t>
              </a:r>
            </a:p>
          </p:txBody>
        </p:sp>
      </p:grpSp>
      <p:grpSp>
        <p:nvGrpSpPr>
          <p:cNvPr id="262" name="Group 261"/>
          <p:cNvGrpSpPr/>
          <p:nvPr/>
        </p:nvGrpSpPr>
        <p:grpSpPr>
          <a:xfrm>
            <a:off x="8699043" y="3128100"/>
            <a:ext cx="2577210" cy="2028113"/>
            <a:chOff x="6524789" y="2346065"/>
            <a:chExt cx="1933411" cy="1521085"/>
          </a:xfrm>
        </p:grpSpPr>
        <p:cxnSp>
          <p:nvCxnSpPr>
            <p:cNvPr id="119" name="Elbow Connector 118"/>
            <p:cNvCxnSpPr>
              <a:stCxn id="137" idx="0"/>
              <a:endCxn id="61" idx="0"/>
            </p:cNvCxnSpPr>
            <p:nvPr/>
          </p:nvCxnSpPr>
          <p:spPr bwMode="auto">
            <a:xfrm>
              <a:off x="6524789" y="2346065"/>
              <a:ext cx="1520953" cy="369761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0" name="Rounded Rectangle 41"/>
            <p:cNvSpPr/>
            <p:nvPr/>
          </p:nvSpPr>
          <p:spPr>
            <a:xfrm>
              <a:off x="7176082" y="2411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sp>
          <p:nvSpPr>
            <p:cNvPr id="162" name="Rounded Rectangle 41"/>
            <p:cNvSpPr/>
            <p:nvPr/>
          </p:nvSpPr>
          <p:spPr>
            <a:xfrm>
              <a:off x="7633282" y="3554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Physical Host</a:t>
              </a:r>
            </a:p>
          </p:txBody>
        </p:sp>
      </p:grpSp>
      <p:cxnSp>
        <p:nvCxnSpPr>
          <p:cNvPr id="194" name="Straight Connector 193"/>
          <p:cNvCxnSpPr/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/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>
            <a:off x="5596335" y="228390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/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/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/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/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/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/>
          <p:nvPr/>
        </p:nvCxnSpPr>
        <p:spPr bwMode="auto">
          <a:xfrm>
            <a:off x="6239690" y="228390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/>
          <p:nvPr/>
        </p:nvCxnSpPr>
        <p:spPr bwMode="auto">
          <a:xfrm>
            <a:off x="6882933" y="228390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/>
          <p:nvPr/>
        </p:nvCxnSpPr>
        <p:spPr bwMode="auto">
          <a:xfrm>
            <a:off x="7526288" y="228390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680" tIns="60840" rIns="121680" bIns="60840" numCol="1" anchor="ctr" anchorCtr="0" compatLnSpc="1">
            <a:prstTxWarp prst="textNoShape">
              <a:avLst/>
            </a:prstTxWarp>
          </a:bodyPr>
          <a:lstStyle/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Apple LiGothic Medium"/>
              <a:cs typeface="Cambria"/>
            </a:endParaRPr>
          </a:p>
        </p:txBody>
      </p:sp>
      <p:sp>
        <p:nvSpPr>
          <p:cNvPr id="123" name="Rounded Rectangle 41"/>
          <p:cNvSpPr/>
          <p:nvPr/>
        </p:nvSpPr>
        <p:spPr>
          <a:xfrm>
            <a:off x="3371220" y="2401902"/>
            <a:ext cx="1099604" cy="41749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TEP</a:t>
            </a:r>
          </a:p>
        </p:txBody>
      </p:sp>
      <p:sp>
        <p:nvSpPr>
          <p:cNvPr id="180" name="Rounded Rectangle 41"/>
          <p:cNvSpPr/>
          <p:nvPr/>
        </p:nvSpPr>
        <p:spPr>
          <a:xfrm>
            <a:off x="4166103" y="4746478"/>
            <a:ext cx="1099604" cy="41749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TEP</a:t>
            </a:r>
          </a:p>
        </p:txBody>
      </p:sp>
      <p:sp>
        <p:nvSpPr>
          <p:cNvPr id="120" name="Freeform 6"/>
          <p:cNvSpPr>
            <a:spLocks noChangeAspect="1"/>
          </p:cNvSpPr>
          <p:nvPr/>
        </p:nvSpPr>
        <p:spPr bwMode="auto">
          <a:xfrm>
            <a:off x="2949258" y="94116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rgbClr val="6E3548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  <p:txBody>
          <a:bodyPr vert="horz" wrap="square" lIns="121680" tIns="60840" rIns="121680" bIns="60840" numCol="1" anchor="ctr" anchorCtr="0" compatLnSpc="1">
            <a:prstTxWarp prst="textNoShape">
              <a:avLst/>
            </a:prstTxWarp>
          </a:bodyPr>
          <a:lstStyle/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VXLAN</a:t>
            </a:r>
          </a:p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		(Overlay)</a:t>
            </a:r>
          </a:p>
          <a:p>
            <a:pPr algn="ctr" defTabSz="1216655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Apple LiGothic Medium"/>
              <a:cs typeface="Cambria"/>
            </a:endParaRPr>
          </a:p>
        </p:txBody>
      </p:sp>
      <p:pic>
        <p:nvPicPr>
          <p:cNvPr id="135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081721" y="2725631"/>
            <a:ext cx="820222" cy="805025"/>
          </a:xfrm>
          <a:prstGeom prst="rect">
            <a:avLst/>
          </a:prstGeom>
          <a:noFill/>
        </p:spPr>
      </p:pic>
      <p:pic>
        <p:nvPicPr>
          <p:cNvPr id="143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81839" y="4452831"/>
            <a:ext cx="820222" cy="805025"/>
          </a:xfrm>
          <a:prstGeom prst="rect">
            <a:avLst/>
          </a:prstGeom>
          <a:noFill/>
        </p:spPr>
      </p:pic>
      <p:sp>
        <p:nvSpPr>
          <p:cNvPr id="161" name="Rounded Rectangle 41"/>
          <p:cNvSpPr/>
          <p:nvPr/>
        </p:nvSpPr>
        <p:spPr>
          <a:xfrm>
            <a:off x="8551470" y="2319178"/>
            <a:ext cx="1099604" cy="41749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TEP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3713813" y="2920823"/>
            <a:ext cx="4985229" cy="2141728"/>
            <a:chOff x="2784893" y="2190617"/>
            <a:chExt cx="3739896" cy="1606296"/>
          </a:xfrm>
        </p:grpSpPr>
        <p:cxnSp>
          <p:nvCxnSpPr>
            <p:cNvPr id="128" name="Straight Connector 127"/>
            <p:cNvCxnSpPr/>
            <p:nvPr/>
          </p:nvCxnSpPr>
          <p:spPr bwMode="auto">
            <a:xfrm flipV="1">
              <a:off x="4193863" y="2450398"/>
              <a:ext cx="0" cy="1097802"/>
            </a:xfrm>
            <a:prstGeom prst="line">
              <a:avLst/>
            </a:prstGeom>
            <a:solidFill>
              <a:srgbClr val="0183B7"/>
            </a:solidFill>
            <a:ln w="76200" cap="rnd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</p:cxnSp>
        <p:cxnSp>
          <p:nvCxnSpPr>
            <p:cNvPr id="129" name="Straight Connector 128"/>
            <p:cNvCxnSpPr/>
            <p:nvPr/>
          </p:nvCxnSpPr>
          <p:spPr bwMode="auto">
            <a:xfrm flipV="1">
              <a:off x="3023697" y="2419350"/>
              <a:ext cx="3262288" cy="0"/>
            </a:xfrm>
            <a:prstGeom prst="line">
              <a:avLst/>
            </a:prstGeom>
            <a:solidFill>
              <a:srgbClr val="0183B7"/>
            </a:solidFill>
            <a:ln w="76200" cap="rnd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63500">
                <a:schemeClr val="accent3">
                  <a:satMod val="175000"/>
                  <a:alpha val="40000"/>
                </a:schemeClr>
              </a:glow>
            </a:effectLst>
          </p:spPr>
        </p:cxnSp>
        <p:grpSp>
          <p:nvGrpSpPr>
            <p:cNvPr id="136" name="Group 135"/>
            <p:cNvGrpSpPr/>
            <p:nvPr/>
          </p:nvGrpSpPr>
          <p:grpSpPr>
            <a:xfrm>
              <a:off x="6213893" y="2190617"/>
              <a:ext cx="310896" cy="310896"/>
              <a:chOff x="3200400" y="3562350"/>
              <a:chExt cx="310896" cy="310896"/>
            </a:xfrm>
          </p:grpSpPr>
          <p:sp>
            <p:nvSpPr>
              <p:cNvPr id="137" name="Hexagon 136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691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>
                <a:off x="3288471" y="3604947"/>
                <a:ext cx="134753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1216910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21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2784893" y="2260986"/>
              <a:ext cx="310896" cy="310896"/>
              <a:chOff x="3200400" y="3562350"/>
              <a:chExt cx="310896" cy="310896"/>
            </a:xfrm>
          </p:grpSpPr>
          <p:sp>
            <p:nvSpPr>
              <p:cNvPr id="2" name="Hexagon 1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691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3288471" y="3604947"/>
                <a:ext cx="134753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1216910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21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4038415" y="3486017"/>
              <a:ext cx="310896" cy="310896"/>
              <a:chOff x="3200400" y="3562350"/>
              <a:chExt cx="310896" cy="310896"/>
            </a:xfrm>
          </p:grpSpPr>
          <p:sp>
            <p:nvSpPr>
              <p:cNvPr id="145" name="Hexagon 144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691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146" name="TextBox 145"/>
              <p:cNvSpPr txBox="1"/>
              <p:nvPr/>
            </p:nvSpPr>
            <p:spPr>
              <a:xfrm>
                <a:off x="3288471" y="3604947"/>
                <a:ext cx="134753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1216910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21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</a:p>
            </p:txBody>
          </p:sp>
        </p:grpSp>
      </p:grpSp>
      <p:sp>
        <p:nvSpPr>
          <p:cNvPr id="140" name="Rounded Rectangle 41"/>
          <p:cNvSpPr/>
          <p:nvPr/>
        </p:nvSpPr>
        <p:spPr>
          <a:xfrm>
            <a:off x="5793628" y="3402418"/>
            <a:ext cx="1239189" cy="417499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21680" tIns="60840" rIns="121680" bIns="60840" rtlCol="0" anchor="ctr"/>
          <a:lstStyle/>
          <a:p>
            <a:pPr algn="ctr" defTabSz="684531" fontAlgn="auto"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Encapsulation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5799161" y="4855343"/>
            <a:ext cx="2328312" cy="1824913"/>
            <a:chOff x="4349311" y="3641465"/>
            <a:chExt cx="1746689" cy="1368685"/>
          </a:xfrm>
        </p:grpSpPr>
        <p:sp>
          <p:nvSpPr>
            <p:cNvPr id="107" name="Rounded Rectangle 41"/>
            <p:cNvSpPr/>
            <p:nvPr/>
          </p:nvSpPr>
          <p:spPr>
            <a:xfrm>
              <a:off x="5271082" y="46970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irtual Hosts</a:t>
              </a:r>
            </a:p>
          </p:txBody>
        </p:sp>
        <p:sp>
          <p:nvSpPr>
            <p:cNvPr id="108" name="Rounded Rectangle 41"/>
            <p:cNvSpPr/>
            <p:nvPr/>
          </p:nvSpPr>
          <p:spPr>
            <a:xfrm>
              <a:off x="4813882" y="3706426"/>
              <a:ext cx="824918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4531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Local LAN Segment</a:t>
              </a:r>
            </a:p>
          </p:txBody>
        </p:sp>
        <p:cxnSp>
          <p:nvCxnSpPr>
            <p:cNvPr id="109" name="Elbow Connector 108"/>
            <p:cNvCxnSpPr>
              <a:endCxn id="134" idx="0"/>
            </p:cNvCxnSpPr>
            <p:nvPr/>
          </p:nvCxnSpPr>
          <p:spPr bwMode="auto">
            <a:xfrm>
              <a:off x="4349311" y="3641465"/>
              <a:ext cx="1334230" cy="60884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10" name="Group 109"/>
            <p:cNvGrpSpPr/>
            <p:nvPr/>
          </p:nvGrpSpPr>
          <p:grpSpPr>
            <a:xfrm>
              <a:off x="5323541" y="4241313"/>
              <a:ext cx="720000" cy="402149"/>
              <a:chOff x="6215275" y="3577199"/>
              <a:chExt cx="720000" cy="402149"/>
            </a:xfrm>
          </p:grpSpPr>
          <p:sp>
            <p:nvSpPr>
              <p:cNvPr id="111" name="Rounded Rectangle 110"/>
              <p:cNvSpPr/>
              <p:nvPr/>
            </p:nvSpPr>
            <p:spPr>
              <a:xfrm>
                <a:off x="6698116" y="3825011"/>
                <a:ext cx="162013" cy="151806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2" name="Group 165"/>
              <p:cNvGrpSpPr/>
              <p:nvPr/>
            </p:nvGrpSpPr>
            <p:grpSpPr>
              <a:xfrm>
                <a:off x="6708365" y="3837219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50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5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5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113" name="Freeform 132"/>
              <p:cNvSpPr>
                <a:spLocks/>
              </p:cNvSpPr>
              <p:nvPr/>
            </p:nvSpPr>
            <p:spPr bwMode="auto">
              <a:xfrm>
                <a:off x="6772055" y="3894761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cxnSp>
            <p:nvCxnSpPr>
              <p:cNvPr id="114" name="Straight Connector 113"/>
              <p:cNvCxnSpPr/>
              <p:nvPr/>
            </p:nvCxnSpPr>
            <p:spPr>
              <a:xfrm>
                <a:off x="6371425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6573666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6766905" y="3681537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8" name="Rounded Rectangle 117"/>
              <p:cNvSpPr/>
              <p:nvPr/>
            </p:nvSpPr>
            <p:spPr>
              <a:xfrm>
                <a:off x="6290418" y="3825011"/>
                <a:ext cx="162013" cy="151806"/>
              </a:xfrm>
              <a:prstGeom prst="roundRect">
                <a:avLst/>
              </a:prstGeom>
              <a:solidFill>
                <a:schemeClr val="accent6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21" name="Group 165"/>
              <p:cNvGrpSpPr/>
              <p:nvPr/>
            </p:nvGrpSpPr>
            <p:grpSpPr>
              <a:xfrm>
                <a:off x="6298419" y="3837351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47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48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49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126" name="Freeform 132"/>
              <p:cNvSpPr>
                <a:spLocks/>
              </p:cNvSpPr>
              <p:nvPr/>
            </p:nvSpPr>
            <p:spPr bwMode="auto">
              <a:xfrm>
                <a:off x="6362109" y="3894893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sp>
            <p:nvSpPr>
              <p:cNvPr id="127" name="Rounded Rectangle 126"/>
              <p:cNvSpPr/>
              <p:nvPr/>
            </p:nvSpPr>
            <p:spPr>
              <a:xfrm>
                <a:off x="6504264" y="3825012"/>
                <a:ext cx="152012" cy="154336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30" name="Group 165"/>
              <p:cNvGrpSpPr/>
              <p:nvPr/>
            </p:nvGrpSpPr>
            <p:grpSpPr>
              <a:xfrm>
                <a:off x="6504264" y="3837412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39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4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  <p:sp>
              <p:nvSpPr>
                <p:cNvPr id="14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  <p:sp>
            <p:nvSpPr>
              <p:cNvPr id="131" name="Freeform 132"/>
              <p:cNvSpPr>
                <a:spLocks/>
              </p:cNvSpPr>
              <p:nvPr/>
            </p:nvSpPr>
            <p:spPr bwMode="auto">
              <a:xfrm>
                <a:off x="6567953" y="3894954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154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  <a:cs typeface="Apple LiGothic Medium"/>
                </a:endParaRPr>
              </a:p>
            </p:txBody>
          </p:sp>
          <p:grpSp>
            <p:nvGrpSpPr>
              <p:cNvPr id="132" name="Group 131"/>
              <p:cNvGrpSpPr/>
              <p:nvPr/>
            </p:nvGrpSpPr>
            <p:grpSpPr>
              <a:xfrm>
                <a:off x="6215275" y="3577199"/>
                <a:ext cx="720000" cy="189147"/>
                <a:chOff x="1470993" y="2648578"/>
                <a:chExt cx="720000" cy="189147"/>
              </a:xfrm>
            </p:grpSpPr>
            <p:sp>
              <p:nvSpPr>
                <p:cNvPr id="133" name="Rounded Rectangle 41"/>
                <p:cNvSpPr/>
                <p:nvPr/>
              </p:nvSpPr>
              <p:spPr>
                <a:xfrm>
                  <a:off x="1548156" y="2648578"/>
                  <a:ext cx="567692" cy="189147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1541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34" name="Rectangle 133"/>
                <p:cNvSpPr/>
                <p:nvPr/>
              </p:nvSpPr>
              <p:spPr>
                <a:xfrm>
                  <a:off x="1470993" y="2657576"/>
                  <a:ext cx="720000" cy="15524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67853" tIns="33916" rIns="67853" bIns="33916" anchor="ctr">
                  <a:spAutoFit/>
                </a:bodyPr>
                <a:lstStyle/>
                <a:p>
                  <a:pPr algn="ctr" defTabSz="1074591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pple LiGothic Medium"/>
                    </a:rPr>
                    <a:t>Virtual Switch</a:t>
                  </a:r>
                </a:p>
              </p:txBody>
            </p:sp>
          </p:grpSp>
        </p:grpSp>
      </p:grpSp>
      <p:sp>
        <p:nvSpPr>
          <p:cNvPr id="125" name="TextBox 124"/>
          <p:cNvSpPr txBox="1"/>
          <p:nvPr/>
        </p:nvSpPr>
        <p:spPr>
          <a:xfrm>
            <a:off x="407882" y="5838602"/>
            <a:ext cx="2845392" cy="561179"/>
          </a:xfrm>
          <a:prstGeom prst="rect">
            <a:avLst/>
          </a:prstGeom>
          <a:noFill/>
        </p:spPr>
        <p:txBody>
          <a:bodyPr wrap="none" lIns="121680" tIns="60840" rIns="121680" bIns="60840" rtlCol="0">
            <a:spAutoFit/>
          </a:bodyPr>
          <a:lstStyle/>
          <a:p>
            <a:pPr defTabSz="121691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TEP – VXLAN Tunnel End-Point</a:t>
            </a:r>
          </a:p>
          <a:p>
            <a:pPr defTabSz="121691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NI/VNID – VXLAN Network Identifier</a:t>
            </a:r>
          </a:p>
        </p:txBody>
      </p:sp>
    </p:spTree>
    <p:extLst>
      <p:ext uri="{BB962C8B-B14F-4D97-AF65-F5344CB8AC3E}">
        <p14:creationId xmlns:p14="http://schemas.microsoft.com/office/powerpoint/2010/main" val="17131572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/>
      <p:bldP spid="180" grpId="0" animBg="1"/>
      <p:bldP spid="120" grpId="0" animBg="1"/>
      <p:bldP spid="161" grpId="0" animBg="1"/>
      <p:bldP spid="14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VXLAN Frame Format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AC-in-IP Encapsul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21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48" name="Group 47"/>
          <p:cNvGrpSpPr>
            <a:grpSpLocks noChangeAspect="1"/>
          </p:cNvGrpSpPr>
          <p:nvPr/>
        </p:nvGrpSpPr>
        <p:grpSpPr>
          <a:xfrm>
            <a:off x="760059" y="1588710"/>
            <a:ext cx="4129216" cy="4687899"/>
            <a:chOff x="2217527" y="2917661"/>
            <a:chExt cx="1464638" cy="1662370"/>
          </a:xfrm>
        </p:grpSpPr>
        <p:grpSp>
          <p:nvGrpSpPr>
            <p:cNvPr id="52" name="Group 51"/>
            <p:cNvGrpSpPr/>
            <p:nvPr/>
          </p:nvGrpSpPr>
          <p:grpSpPr>
            <a:xfrm>
              <a:off x="2217527" y="2917661"/>
              <a:ext cx="1464638" cy="809744"/>
              <a:chOff x="2217527" y="2917661"/>
              <a:chExt cx="1464638" cy="809744"/>
            </a:xfrm>
          </p:grpSpPr>
          <p:sp>
            <p:nvSpPr>
              <p:cNvPr id="60" name="Rounded Rectangle 59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2217527" y="2917661"/>
                <a:ext cx="1464638" cy="809744"/>
              </a:xfrm>
              <a:prstGeom prst="roundRect">
                <a:avLst>
                  <a:gd name="adj" fmla="val 4036"/>
                </a:avLst>
              </a:prstGeom>
              <a:solidFill>
                <a:schemeClr val="bg1">
                  <a:lumMod val="85000"/>
                </a:schemeClr>
              </a:solidFill>
              <a:ln w="3175" cmpd="sng">
                <a:solidFill>
                  <a:schemeClr val="tx1"/>
                </a:solidFill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6655"/>
                <a:endParaRPr lang="en-US" sz="59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  <a:sym typeface="Arial" pitchFamily="-107" charset="0"/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 rot="16200000">
                <a:off x="3428477" y="3268632"/>
                <a:ext cx="342882" cy="10780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1216910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1500" dirty="0">
                    <a:solidFill>
                      <a:srgbClr val="000000"/>
                    </a:solidFill>
                    <a:latin typeface="Arial"/>
                    <a:ea typeface="Apple LiGothic Medium"/>
                    <a:cs typeface="Apple LiGothic Medium"/>
                  </a:rPr>
                  <a:t>Underlay</a:t>
                </a: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2239463" y="2951231"/>
                <a:ext cx="1316504" cy="742604"/>
                <a:chOff x="2239463" y="2949648"/>
                <a:chExt cx="1316504" cy="742604"/>
              </a:xfrm>
            </p:grpSpPr>
            <p:sp>
              <p:nvSpPr>
                <p:cNvPr id="63" name="Rounded Rectangle 62"/>
                <p:cNvSpPr/>
                <p:nvPr>
                  <p:custDataLst>
                    <p:tags r:id="rId6"/>
                  </p:custDataLst>
                </p:nvPr>
              </p:nvSpPr>
              <p:spPr bwMode="auto">
                <a:xfrm>
                  <a:off x="2239463" y="3252370"/>
                  <a:ext cx="1311320" cy="274320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algn="ctr" defTabSz="684531">
                    <a:spcBef>
                      <a:spcPts val="800"/>
                    </a:spcBef>
                  </a:pPr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rial" pitchFamily="-107" charset="0"/>
                      <a:cs typeface="Arial" pitchFamily="-107" charset="0"/>
                      <a:sym typeface="Arial" pitchFamily="-107" charset="0"/>
                    </a:rPr>
                    <a:t>Outer IP Header</a:t>
                  </a:r>
                </a:p>
              </p:txBody>
            </p:sp>
            <p:sp>
              <p:nvSpPr>
                <p:cNvPr id="64" name="Rounded Rectangle 63"/>
                <p:cNvSpPr/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2239463" y="2949648"/>
                  <a:ext cx="1311320" cy="274320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algn="ctr" defTabSz="684531">
                    <a:spcBef>
                      <a:spcPts val="800"/>
                    </a:spcBef>
                  </a:pPr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rial" pitchFamily="-107" charset="0"/>
                      <a:cs typeface="Arial" pitchFamily="-107" charset="0"/>
                      <a:sym typeface="Arial" pitchFamily="-107" charset="0"/>
                    </a:rPr>
                    <a:t>Outer MAC Header</a:t>
                  </a:r>
                </a:p>
              </p:txBody>
            </p:sp>
            <p:sp>
              <p:nvSpPr>
                <p:cNvPr id="65" name="Rounded Rectangle 64"/>
                <p:cNvSpPr/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2244647" y="3555092"/>
                  <a:ext cx="1311320" cy="137160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algn="ctr" defTabSz="684531"/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rial" pitchFamily="-107" charset="0"/>
                      <a:cs typeface="Arial" pitchFamily="-107" charset="0"/>
                      <a:sym typeface="Arial" pitchFamily="-107" charset="0"/>
                    </a:rPr>
                    <a:t>UDP Header</a:t>
                  </a:r>
                </a:p>
              </p:txBody>
            </p:sp>
          </p:grpSp>
        </p:grpSp>
        <p:grpSp>
          <p:nvGrpSpPr>
            <p:cNvPr id="53" name="Group 52"/>
            <p:cNvGrpSpPr/>
            <p:nvPr/>
          </p:nvGrpSpPr>
          <p:grpSpPr>
            <a:xfrm>
              <a:off x="2217527" y="3746193"/>
              <a:ext cx="1464638" cy="833838"/>
              <a:chOff x="2217527" y="3746193"/>
              <a:chExt cx="1464638" cy="833838"/>
            </a:xfrm>
          </p:grpSpPr>
          <p:sp>
            <p:nvSpPr>
              <p:cNvPr id="54" name="Rounded Rectangle 53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2217527" y="3746193"/>
                <a:ext cx="1464638" cy="833838"/>
              </a:xfrm>
              <a:prstGeom prst="roundRect">
                <a:avLst>
                  <a:gd name="adj" fmla="val 4036"/>
                </a:avLst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91440" tIns="0" rIns="91440" bIns="0" rtlCol="0" anchor="ctr"/>
              <a:lstStyle/>
              <a:p>
                <a:pPr defTabSz="684531"/>
                <a:endParaRPr lang="en-US" sz="1600" dirty="0">
                  <a:solidFill>
                    <a:srgbClr val="000000"/>
                  </a:solidFill>
                  <a:latin typeface="Arial"/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2244647" y="3782652"/>
                <a:ext cx="1311320" cy="761049"/>
                <a:chOff x="2244647" y="3787538"/>
                <a:chExt cx="1311320" cy="761049"/>
              </a:xfrm>
            </p:grpSpPr>
            <p:sp>
              <p:nvSpPr>
                <p:cNvPr id="57" name="Rounded Rectangle 56"/>
                <p:cNvSpPr/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2244647" y="3787538"/>
                  <a:ext cx="1311320" cy="137160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algn="ctr" defTabSz="684531"/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rial" pitchFamily="-107" charset="0"/>
                      <a:cs typeface="Arial" pitchFamily="-107" charset="0"/>
                      <a:sym typeface="Arial" pitchFamily="-107" charset="0"/>
                    </a:rPr>
                    <a:t>VXLAN Header</a:t>
                  </a:r>
                </a:p>
              </p:txBody>
            </p:sp>
            <p:sp>
              <p:nvSpPr>
                <p:cNvPr id="58" name="Rounded Rectangle 57"/>
                <p:cNvSpPr/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2244647" y="3962258"/>
                  <a:ext cx="1311320" cy="586329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algn="ctr" defTabSz="684531">
                    <a:spcBef>
                      <a:spcPts val="800"/>
                    </a:spcBef>
                  </a:pPr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rial" pitchFamily="-107" charset="0"/>
                      <a:cs typeface="Arial" pitchFamily="-107" charset="0"/>
                      <a:sym typeface="Arial" pitchFamily="-107" charset="0"/>
                    </a:rPr>
                    <a:t>Original Layer-2 Frame</a:t>
                  </a:r>
                </a:p>
              </p:txBody>
            </p:sp>
          </p:grpSp>
          <p:sp>
            <p:nvSpPr>
              <p:cNvPr id="56" name="TextBox 55"/>
              <p:cNvSpPr txBox="1"/>
              <p:nvPr/>
            </p:nvSpPr>
            <p:spPr>
              <a:xfrm rot="16200000">
                <a:off x="3448942" y="4109211"/>
                <a:ext cx="301955" cy="10780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1216910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1500" dirty="0">
                    <a:solidFill>
                      <a:srgbClr val="000000"/>
                    </a:solidFill>
                    <a:latin typeface="Arial"/>
                    <a:ea typeface="Apple LiGothic Medium"/>
                    <a:cs typeface="Apple LiGothic Medium"/>
                  </a:rPr>
                  <a:t>Overlay</a:t>
                </a:r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5601845" y="650166"/>
            <a:ext cx="2941743" cy="1955017"/>
            <a:chOff x="4409608" y="1510095"/>
            <a:chExt cx="2206882" cy="1466263"/>
          </a:xfrm>
        </p:grpSpPr>
        <p:sp>
          <p:nvSpPr>
            <p:cNvPr id="77" name="TextBox 76"/>
            <p:cNvSpPr txBox="1"/>
            <p:nvPr/>
          </p:nvSpPr>
          <p:spPr>
            <a:xfrm>
              <a:off x="5630987" y="2071593"/>
              <a:ext cx="985503" cy="3432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085245">
                <a:lnSpc>
                  <a:spcPct val="90000"/>
                </a:lnSpc>
                <a:spcBef>
                  <a:spcPts val="451"/>
                </a:spcBef>
                <a:defRPr/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rPr>
                <a:t>14 Bytes</a:t>
              </a:r>
            </a:p>
            <a:p>
              <a:pPr defTabSz="1085245">
                <a:lnSpc>
                  <a:spcPct val="90000"/>
                </a:lnSpc>
                <a:spcBef>
                  <a:spcPts val="451"/>
                </a:spcBef>
                <a:defRPr/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rPr>
                <a:t>(4 Bytes Optional)</a:t>
              </a:r>
            </a:p>
          </p:txBody>
        </p:sp>
        <p:grpSp>
          <p:nvGrpSpPr>
            <p:cNvPr id="100" name="Group 99"/>
            <p:cNvGrpSpPr/>
            <p:nvPr/>
          </p:nvGrpSpPr>
          <p:grpSpPr>
            <a:xfrm>
              <a:off x="4409608" y="1510095"/>
              <a:ext cx="1263059" cy="1466263"/>
              <a:chOff x="4409608" y="1510095"/>
              <a:chExt cx="1263059" cy="1466263"/>
            </a:xfrm>
          </p:grpSpPr>
          <p:sp>
            <p:nvSpPr>
              <p:cNvPr id="88" name="Right Brace 87"/>
              <p:cNvSpPr/>
              <p:nvPr/>
            </p:nvSpPr>
            <p:spPr bwMode="auto">
              <a:xfrm>
                <a:off x="5579860" y="1510095"/>
                <a:ext cx="92807" cy="1466263"/>
              </a:xfrm>
              <a:prstGeom prst="rightBrace">
                <a:avLst>
                  <a:gd name="adj1" fmla="val 30788"/>
                  <a:gd name="adj2" fmla="val 49788"/>
                </a:avLst>
              </a:prstGeom>
              <a:noFill/>
              <a:ln w="9525" cap="flat" cmpd="sng" algn="ctr">
                <a:solidFill>
                  <a:srgbClr val="0065B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1085245">
                  <a:defRPr/>
                </a:pPr>
                <a:endParaRPr lang="en-US" sz="2100" kern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endParaRPr>
              </a:p>
            </p:txBody>
          </p:sp>
          <p:grpSp>
            <p:nvGrpSpPr>
              <p:cNvPr id="89" name="Group 88"/>
              <p:cNvGrpSpPr/>
              <p:nvPr/>
            </p:nvGrpSpPr>
            <p:grpSpPr>
              <a:xfrm>
                <a:off x="4409608" y="1546779"/>
                <a:ext cx="1182057" cy="1392895"/>
                <a:chOff x="4409608" y="1549173"/>
                <a:chExt cx="1182057" cy="1392895"/>
              </a:xfrm>
            </p:grpSpPr>
            <p:sp>
              <p:nvSpPr>
                <p:cNvPr id="90" name="Rectangle 89"/>
                <p:cNvSpPr/>
                <p:nvPr/>
              </p:nvSpPr>
              <p:spPr bwMode="auto">
                <a:xfrm>
                  <a:off x="4409608" y="2663489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Ether Type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0x0800</a:t>
                  </a:r>
                </a:p>
              </p:txBody>
            </p:sp>
            <p:sp>
              <p:nvSpPr>
                <p:cNvPr id="91" name="Rectangle 90"/>
                <p:cNvSpPr/>
                <p:nvPr/>
              </p:nvSpPr>
              <p:spPr bwMode="auto">
                <a:xfrm>
                  <a:off x="4409608" y="2384910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VLAN ID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Tag</a:t>
                  </a:r>
                </a:p>
              </p:txBody>
            </p:sp>
            <p:sp>
              <p:nvSpPr>
                <p:cNvPr id="92" name="Rectangle 91"/>
                <p:cNvSpPr/>
                <p:nvPr/>
              </p:nvSpPr>
              <p:spPr bwMode="auto">
                <a:xfrm>
                  <a:off x="4409608" y="2106331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VLAN Type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0x8100</a:t>
                  </a:r>
                </a:p>
              </p:txBody>
            </p:sp>
            <p:sp>
              <p:nvSpPr>
                <p:cNvPr id="93" name="Rectangle 92"/>
                <p:cNvSpPr/>
                <p:nvPr/>
              </p:nvSpPr>
              <p:spPr bwMode="auto">
                <a:xfrm>
                  <a:off x="4409608" y="1827752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Src. MAC  Address</a:t>
                  </a:r>
                </a:p>
              </p:txBody>
            </p:sp>
            <p:sp>
              <p:nvSpPr>
                <p:cNvPr id="94" name="Rectangle 93"/>
                <p:cNvSpPr/>
                <p:nvPr/>
              </p:nvSpPr>
              <p:spPr bwMode="auto">
                <a:xfrm>
                  <a:off x="4409608" y="1549173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Dest. MAC Address</a:t>
                  </a:r>
                </a:p>
              </p:txBody>
            </p:sp>
            <p:sp>
              <p:nvSpPr>
                <p:cNvPr id="95" name="TextBox 94"/>
                <p:cNvSpPr txBox="1"/>
                <p:nvPr/>
              </p:nvSpPr>
              <p:spPr>
                <a:xfrm>
                  <a:off x="5356821" y="1592923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48</a:t>
                  </a:r>
                </a:p>
              </p:txBody>
            </p:sp>
            <p:sp>
              <p:nvSpPr>
                <p:cNvPr id="96" name="TextBox 95"/>
                <p:cNvSpPr txBox="1"/>
                <p:nvPr/>
              </p:nvSpPr>
              <p:spPr>
                <a:xfrm>
                  <a:off x="5356821" y="1871502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48</a:t>
                  </a:r>
                </a:p>
              </p:txBody>
            </p:sp>
            <p:sp>
              <p:nvSpPr>
                <p:cNvPr id="97" name="TextBox 96"/>
                <p:cNvSpPr txBox="1"/>
                <p:nvPr/>
              </p:nvSpPr>
              <p:spPr>
                <a:xfrm>
                  <a:off x="5356821" y="2150081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98" name="TextBox 97"/>
                <p:cNvSpPr txBox="1"/>
                <p:nvPr/>
              </p:nvSpPr>
              <p:spPr>
                <a:xfrm>
                  <a:off x="5356821" y="2428660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99" name="TextBox 98"/>
                <p:cNvSpPr txBox="1"/>
                <p:nvPr/>
              </p:nvSpPr>
              <p:spPr>
                <a:xfrm>
                  <a:off x="5356821" y="2707239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</p:grpSp>
        </p:grpSp>
      </p:grpSp>
      <p:grpSp>
        <p:nvGrpSpPr>
          <p:cNvPr id="102" name="Group 101"/>
          <p:cNvGrpSpPr/>
          <p:nvPr/>
        </p:nvGrpSpPr>
        <p:grpSpPr>
          <a:xfrm>
            <a:off x="8549381" y="1532461"/>
            <a:ext cx="2352963" cy="1955017"/>
            <a:chOff x="4409608" y="1510095"/>
            <a:chExt cx="1765182" cy="1466263"/>
          </a:xfrm>
        </p:grpSpPr>
        <p:sp>
          <p:nvSpPr>
            <p:cNvPr id="103" name="TextBox 102"/>
            <p:cNvSpPr txBox="1"/>
            <p:nvPr/>
          </p:nvSpPr>
          <p:spPr>
            <a:xfrm>
              <a:off x="5624474" y="2150412"/>
              <a:ext cx="550316" cy="18562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085245">
                <a:lnSpc>
                  <a:spcPct val="90000"/>
                </a:lnSpc>
                <a:spcBef>
                  <a:spcPts val="451"/>
                </a:spcBef>
                <a:defRPr/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rPr>
                <a:t>20 Bytes</a:t>
              </a:r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4409608" y="1510095"/>
              <a:ext cx="1263059" cy="1466263"/>
              <a:chOff x="4409608" y="1510095"/>
              <a:chExt cx="1263059" cy="1466263"/>
            </a:xfrm>
          </p:grpSpPr>
          <p:sp>
            <p:nvSpPr>
              <p:cNvPr id="105" name="Right Brace 104"/>
              <p:cNvSpPr/>
              <p:nvPr/>
            </p:nvSpPr>
            <p:spPr bwMode="auto">
              <a:xfrm>
                <a:off x="5579860" y="1510095"/>
                <a:ext cx="92807" cy="1466263"/>
              </a:xfrm>
              <a:prstGeom prst="rightBrace">
                <a:avLst>
                  <a:gd name="adj1" fmla="val 30788"/>
                  <a:gd name="adj2" fmla="val 49788"/>
                </a:avLst>
              </a:prstGeom>
              <a:noFill/>
              <a:ln w="9525" cap="flat" cmpd="sng" algn="ctr">
                <a:solidFill>
                  <a:srgbClr val="0065B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1085245">
                  <a:defRPr/>
                </a:pPr>
                <a:endParaRPr lang="en-US" sz="2100" kern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endParaRP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4409608" y="1546779"/>
                <a:ext cx="1182057" cy="1392895"/>
                <a:chOff x="4409608" y="1549173"/>
                <a:chExt cx="1182057" cy="1392895"/>
              </a:xfrm>
            </p:grpSpPr>
            <p:sp>
              <p:nvSpPr>
                <p:cNvPr id="107" name="Rectangle 106"/>
                <p:cNvSpPr/>
                <p:nvPr/>
              </p:nvSpPr>
              <p:spPr bwMode="auto">
                <a:xfrm>
                  <a:off x="4409608" y="2663489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 err="1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Dest</a:t>
                  </a: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. IP</a:t>
                  </a:r>
                </a:p>
              </p:txBody>
            </p:sp>
            <p:sp>
              <p:nvSpPr>
                <p:cNvPr id="108" name="Rectangle 107"/>
                <p:cNvSpPr/>
                <p:nvPr/>
              </p:nvSpPr>
              <p:spPr bwMode="auto">
                <a:xfrm>
                  <a:off x="4409608" y="2384910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Source IP</a:t>
                  </a:r>
                </a:p>
              </p:txBody>
            </p:sp>
            <p:sp>
              <p:nvSpPr>
                <p:cNvPr id="109" name="Rectangle 108"/>
                <p:cNvSpPr/>
                <p:nvPr/>
              </p:nvSpPr>
              <p:spPr bwMode="auto">
                <a:xfrm>
                  <a:off x="4409608" y="2106331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Header 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Checksum</a:t>
                  </a:r>
                </a:p>
              </p:txBody>
            </p:sp>
            <p:sp>
              <p:nvSpPr>
                <p:cNvPr id="110" name="Rectangle 109"/>
                <p:cNvSpPr/>
                <p:nvPr/>
              </p:nvSpPr>
              <p:spPr bwMode="auto">
                <a:xfrm>
                  <a:off x="4409608" y="1827752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Protocol 0x11 (UDP)</a:t>
                  </a:r>
                </a:p>
              </p:txBody>
            </p:sp>
            <p:sp>
              <p:nvSpPr>
                <p:cNvPr id="111" name="Rectangle 110"/>
                <p:cNvSpPr/>
                <p:nvPr/>
              </p:nvSpPr>
              <p:spPr bwMode="auto">
                <a:xfrm>
                  <a:off x="4409608" y="1549173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dk1"/>
                </a:lnRef>
                <a:fillRef idx="2">
                  <a:schemeClr val="dk1"/>
                </a:fillRef>
                <a:effectRef idx="1">
                  <a:schemeClr val="dk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IP Header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Misc. Data</a:t>
                  </a:r>
                </a:p>
              </p:txBody>
            </p:sp>
            <p:sp>
              <p:nvSpPr>
                <p:cNvPr id="112" name="TextBox 111"/>
                <p:cNvSpPr txBox="1"/>
                <p:nvPr/>
              </p:nvSpPr>
              <p:spPr>
                <a:xfrm>
                  <a:off x="5356821" y="1592923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72</a:t>
                  </a:r>
                </a:p>
              </p:txBody>
            </p:sp>
            <p:sp>
              <p:nvSpPr>
                <p:cNvPr id="113" name="TextBox 112"/>
                <p:cNvSpPr txBox="1"/>
                <p:nvPr/>
              </p:nvSpPr>
              <p:spPr>
                <a:xfrm>
                  <a:off x="5356821" y="1871502"/>
                  <a:ext cx="186690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8</a:t>
                  </a:r>
                </a:p>
              </p:txBody>
            </p:sp>
            <p:sp>
              <p:nvSpPr>
                <p:cNvPr id="114" name="TextBox 113"/>
                <p:cNvSpPr txBox="1"/>
                <p:nvPr/>
              </p:nvSpPr>
              <p:spPr>
                <a:xfrm>
                  <a:off x="5356821" y="2150081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115" name="TextBox 114"/>
                <p:cNvSpPr txBox="1"/>
                <p:nvPr/>
              </p:nvSpPr>
              <p:spPr>
                <a:xfrm>
                  <a:off x="5356821" y="2428660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32</a:t>
                  </a:r>
                </a:p>
              </p:txBody>
            </p:sp>
            <p:sp>
              <p:nvSpPr>
                <p:cNvPr id="116" name="TextBox 115"/>
                <p:cNvSpPr txBox="1"/>
                <p:nvPr/>
              </p:nvSpPr>
              <p:spPr>
                <a:xfrm>
                  <a:off x="5356821" y="2707239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32</a:t>
                  </a:r>
                </a:p>
              </p:txBody>
            </p:sp>
          </p:grpSp>
        </p:grpSp>
      </p:grpSp>
      <p:grpSp>
        <p:nvGrpSpPr>
          <p:cNvPr id="132" name="Group 131"/>
          <p:cNvGrpSpPr/>
          <p:nvPr/>
        </p:nvGrpSpPr>
        <p:grpSpPr>
          <a:xfrm>
            <a:off x="5593077" y="3074683"/>
            <a:ext cx="2274509" cy="1584960"/>
            <a:chOff x="4291074" y="3312844"/>
            <a:chExt cx="1706326" cy="1188720"/>
          </a:xfrm>
        </p:grpSpPr>
        <p:sp>
          <p:nvSpPr>
            <p:cNvPr id="118" name="TextBox 117"/>
            <p:cNvSpPr txBox="1"/>
            <p:nvPr/>
          </p:nvSpPr>
          <p:spPr>
            <a:xfrm>
              <a:off x="5505940" y="3814390"/>
              <a:ext cx="491460" cy="18562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085245">
                <a:lnSpc>
                  <a:spcPct val="90000"/>
                </a:lnSpc>
                <a:spcBef>
                  <a:spcPts val="451"/>
                </a:spcBef>
                <a:defRPr/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rPr>
                <a:t>8 Bytes</a:t>
              </a:r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4291074" y="3312844"/>
              <a:ext cx="1263059" cy="1188720"/>
              <a:chOff x="4409608" y="1510095"/>
              <a:chExt cx="1263059" cy="1188720"/>
            </a:xfrm>
          </p:grpSpPr>
          <p:sp>
            <p:nvSpPr>
              <p:cNvPr id="120" name="Right Brace 119"/>
              <p:cNvSpPr/>
              <p:nvPr/>
            </p:nvSpPr>
            <p:spPr bwMode="auto">
              <a:xfrm>
                <a:off x="5579860" y="1510095"/>
                <a:ext cx="92807" cy="1188720"/>
              </a:xfrm>
              <a:prstGeom prst="rightBrace">
                <a:avLst>
                  <a:gd name="adj1" fmla="val 30788"/>
                  <a:gd name="adj2" fmla="val 49788"/>
                </a:avLst>
              </a:prstGeom>
              <a:noFill/>
              <a:ln w="9525" cap="flat" cmpd="sng" algn="ctr">
                <a:solidFill>
                  <a:srgbClr val="0065B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1085245">
                  <a:defRPr/>
                </a:pPr>
                <a:endParaRPr lang="en-US" sz="2100" kern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endParaRPr>
              </a:p>
            </p:txBody>
          </p:sp>
          <p:grpSp>
            <p:nvGrpSpPr>
              <p:cNvPr id="121" name="Group 120"/>
              <p:cNvGrpSpPr/>
              <p:nvPr/>
            </p:nvGrpSpPr>
            <p:grpSpPr>
              <a:xfrm>
                <a:off x="4409608" y="1546779"/>
                <a:ext cx="1182057" cy="1114316"/>
                <a:chOff x="4409608" y="1549173"/>
                <a:chExt cx="1182057" cy="1114316"/>
              </a:xfrm>
            </p:grpSpPr>
            <p:sp>
              <p:nvSpPr>
                <p:cNvPr id="123" name="Rectangle 122"/>
                <p:cNvSpPr/>
                <p:nvPr/>
              </p:nvSpPr>
              <p:spPr bwMode="auto">
                <a:xfrm>
                  <a:off x="4409608" y="2384910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Checksum 0x0000</a:t>
                  </a:r>
                </a:p>
              </p:txBody>
            </p:sp>
            <p:sp>
              <p:nvSpPr>
                <p:cNvPr id="124" name="Rectangle 123"/>
                <p:cNvSpPr/>
                <p:nvPr/>
              </p:nvSpPr>
              <p:spPr bwMode="auto">
                <a:xfrm>
                  <a:off x="4409608" y="2106331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UDP Length</a:t>
                  </a:r>
                </a:p>
              </p:txBody>
            </p:sp>
            <p:sp>
              <p:nvSpPr>
                <p:cNvPr id="125" name="Rectangle 124"/>
                <p:cNvSpPr/>
                <p:nvPr/>
              </p:nvSpPr>
              <p:spPr bwMode="auto">
                <a:xfrm>
                  <a:off x="4409608" y="1827752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VXLAN Port</a:t>
                  </a:r>
                </a:p>
              </p:txBody>
            </p:sp>
            <p:sp>
              <p:nvSpPr>
                <p:cNvPr id="126" name="Rectangle 125"/>
                <p:cNvSpPr/>
                <p:nvPr/>
              </p:nvSpPr>
              <p:spPr bwMode="auto">
                <a:xfrm>
                  <a:off x="4409608" y="1549173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Source </a:t>
                  </a:r>
                </a:p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Port</a:t>
                  </a:r>
                </a:p>
              </p:txBody>
            </p:sp>
            <p:sp>
              <p:nvSpPr>
                <p:cNvPr id="127" name="TextBox 126"/>
                <p:cNvSpPr txBox="1"/>
                <p:nvPr/>
              </p:nvSpPr>
              <p:spPr>
                <a:xfrm>
                  <a:off x="5356821" y="1592923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128" name="TextBox 127"/>
                <p:cNvSpPr txBox="1"/>
                <p:nvPr/>
              </p:nvSpPr>
              <p:spPr>
                <a:xfrm>
                  <a:off x="5356821" y="1871502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129" name="TextBox 128"/>
                <p:cNvSpPr txBox="1"/>
                <p:nvPr/>
              </p:nvSpPr>
              <p:spPr>
                <a:xfrm>
                  <a:off x="5356821" y="2150081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  <p:sp>
              <p:nvSpPr>
                <p:cNvPr id="130" name="TextBox 129"/>
                <p:cNvSpPr txBox="1"/>
                <p:nvPr/>
              </p:nvSpPr>
              <p:spPr>
                <a:xfrm>
                  <a:off x="5356821" y="2428660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16</a:t>
                  </a:r>
                </a:p>
              </p:txBody>
            </p:sp>
          </p:grpSp>
        </p:grpSp>
      </p:grpSp>
      <p:grpSp>
        <p:nvGrpSpPr>
          <p:cNvPr id="133" name="Group 132"/>
          <p:cNvGrpSpPr/>
          <p:nvPr/>
        </p:nvGrpSpPr>
        <p:grpSpPr>
          <a:xfrm>
            <a:off x="6917241" y="4985044"/>
            <a:ext cx="2274509" cy="1584960"/>
            <a:chOff x="4291074" y="3312844"/>
            <a:chExt cx="1706326" cy="1188720"/>
          </a:xfrm>
        </p:grpSpPr>
        <p:sp>
          <p:nvSpPr>
            <p:cNvPr id="134" name="TextBox 133"/>
            <p:cNvSpPr txBox="1"/>
            <p:nvPr/>
          </p:nvSpPr>
          <p:spPr>
            <a:xfrm>
              <a:off x="5505940" y="3814390"/>
              <a:ext cx="491460" cy="18562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085245">
                <a:lnSpc>
                  <a:spcPct val="90000"/>
                </a:lnSpc>
                <a:spcBef>
                  <a:spcPts val="451"/>
                </a:spcBef>
                <a:defRPr/>
              </a:pPr>
              <a:r>
                <a:rPr lang="en-US" sz="1100" kern="0" dirty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rPr>
                <a:t>8 Bytes</a:t>
              </a:r>
            </a:p>
          </p:txBody>
        </p:sp>
        <p:grpSp>
          <p:nvGrpSpPr>
            <p:cNvPr id="135" name="Group 134"/>
            <p:cNvGrpSpPr/>
            <p:nvPr/>
          </p:nvGrpSpPr>
          <p:grpSpPr>
            <a:xfrm>
              <a:off x="4291074" y="3312844"/>
              <a:ext cx="1263059" cy="1188720"/>
              <a:chOff x="4409608" y="1510095"/>
              <a:chExt cx="1263059" cy="1188720"/>
            </a:xfrm>
          </p:grpSpPr>
          <p:sp>
            <p:nvSpPr>
              <p:cNvPr id="136" name="Right Brace 135"/>
              <p:cNvSpPr/>
              <p:nvPr/>
            </p:nvSpPr>
            <p:spPr bwMode="auto">
              <a:xfrm>
                <a:off x="5579860" y="1510095"/>
                <a:ext cx="92807" cy="1188720"/>
              </a:xfrm>
              <a:prstGeom prst="rightBrace">
                <a:avLst>
                  <a:gd name="adj1" fmla="val 30788"/>
                  <a:gd name="adj2" fmla="val 49788"/>
                </a:avLst>
              </a:prstGeom>
              <a:noFill/>
              <a:ln w="9525" cap="flat" cmpd="sng" algn="ctr">
                <a:solidFill>
                  <a:srgbClr val="0065B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 defTabSz="1085245">
                  <a:defRPr/>
                </a:pPr>
                <a:endParaRPr lang="en-US" sz="2100" kern="0">
                  <a:solidFill>
                    <a:srgbClr val="595959"/>
                  </a:solidFill>
                  <a:latin typeface="Arial"/>
                  <a:ea typeface="Apple LiGothic Medium"/>
                  <a:cs typeface="Calibri"/>
                </a:endParaRPr>
              </a:p>
            </p:txBody>
          </p:sp>
          <p:grpSp>
            <p:nvGrpSpPr>
              <p:cNvPr id="137" name="Group 136"/>
              <p:cNvGrpSpPr/>
              <p:nvPr/>
            </p:nvGrpSpPr>
            <p:grpSpPr>
              <a:xfrm>
                <a:off x="4409608" y="1546779"/>
                <a:ext cx="1182057" cy="1114316"/>
                <a:chOff x="4409608" y="1549173"/>
                <a:chExt cx="1182057" cy="1114316"/>
              </a:xfrm>
            </p:grpSpPr>
            <p:sp>
              <p:nvSpPr>
                <p:cNvPr id="138" name="Rectangle 137"/>
                <p:cNvSpPr/>
                <p:nvPr/>
              </p:nvSpPr>
              <p:spPr bwMode="auto">
                <a:xfrm>
                  <a:off x="4409608" y="2384910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Reserved</a:t>
                  </a:r>
                </a:p>
              </p:txBody>
            </p:sp>
            <p:sp>
              <p:nvSpPr>
                <p:cNvPr id="139" name="Rectangle 138"/>
                <p:cNvSpPr/>
                <p:nvPr/>
              </p:nvSpPr>
              <p:spPr bwMode="auto">
                <a:xfrm>
                  <a:off x="4409608" y="2106331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VNI</a:t>
                  </a:r>
                </a:p>
              </p:txBody>
            </p:sp>
            <p:sp>
              <p:nvSpPr>
                <p:cNvPr id="140" name="Rectangle 139"/>
                <p:cNvSpPr/>
                <p:nvPr/>
              </p:nvSpPr>
              <p:spPr bwMode="auto">
                <a:xfrm>
                  <a:off x="4409608" y="1827752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Reserved</a:t>
                  </a:r>
                </a:p>
              </p:txBody>
            </p:sp>
            <p:sp>
              <p:nvSpPr>
                <p:cNvPr id="141" name="Rectangle 140"/>
                <p:cNvSpPr/>
                <p:nvPr/>
              </p:nvSpPr>
              <p:spPr bwMode="auto">
                <a:xfrm>
                  <a:off x="4409608" y="1549173"/>
                  <a:ext cx="996033" cy="278579"/>
                </a:xfrm>
                <a:prstGeom prst="rect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4"/>
                </a:lnRef>
                <a:fillRef idx="2">
                  <a:schemeClr val="accent4"/>
                </a:fillRef>
                <a:effectRef idx="1">
                  <a:schemeClr val="accent4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 defTabSz="384962"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rial" pitchFamily="-107" charset="0"/>
                      <a:cs typeface="Calibri"/>
                      <a:sym typeface="Arial" pitchFamily="-107" charset="0"/>
                    </a:rPr>
                    <a:t>VXLAN Flags RRRRIRRR</a:t>
                  </a:r>
                </a:p>
              </p:txBody>
            </p:sp>
            <p:sp>
              <p:nvSpPr>
                <p:cNvPr id="142" name="TextBox 141"/>
                <p:cNvSpPr txBox="1"/>
                <p:nvPr/>
              </p:nvSpPr>
              <p:spPr>
                <a:xfrm>
                  <a:off x="5356821" y="1592923"/>
                  <a:ext cx="186690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8</a:t>
                  </a:r>
                </a:p>
              </p:txBody>
            </p:sp>
            <p:sp>
              <p:nvSpPr>
                <p:cNvPr id="143" name="TextBox 142"/>
                <p:cNvSpPr txBox="1"/>
                <p:nvPr/>
              </p:nvSpPr>
              <p:spPr>
                <a:xfrm>
                  <a:off x="5356821" y="1871502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24</a:t>
                  </a:r>
                </a:p>
              </p:txBody>
            </p:sp>
            <p:sp>
              <p:nvSpPr>
                <p:cNvPr id="144" name="TextBox 143"/>
                <p:cNvSpPr txBox="1"/>
                <p:nvPr/>
              </p:nvSpPr>
              <p:spPr>
                <a:xfrm>
                  <a:off x="5356821" y="2150081"/>
                  <a:ext cx="234844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24</a:t>
                  </a:r>
                </a:p>
              </p:txBody>
            </p:sp>
            <p:sp>
              <p:nvSpPr>
                <p:cNvPr id="145" name="TextBox 144"/>
                <p:cNvSpPr txBox="1"/>
                <p:nvPr/>
              </p:nvSpPr>
              <p:spPr>
                <a:xfrm>
                  <a:off x="5356821" y="2428660"/>
                  <a:ext cx="186690" cy="16446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defTabSz="1085245">
                    <a:lnSpc>
                      <a:spcPct val="90000"/>
                    </a:lnSpc>
                    <a:spcBef>
                      <a:spcPts val="451"/>
                    </a:spcBef>
                    <a:defRPr/>
                  </a:pPr>
                  <a:r>
                    <a:rPr lang="en-US" sz="900" kern="0" dirty="0">
                      <a:solidFill>
                        <a:srgbClr val="595959"/>
                      </a:solidFill>
                      <a:latin typeface="Arial"/>
                      <a:ea typeface="Apple LiGothic Medium"/>
                      <a:cs typeface="Calibri"/>
                    </a:rPr>
                    <a:t>8</a:t>
                  </a:r>
                </a:p>
              </p:txBody>
            </p:sp>
          </p:grpSp>
        </p:grpSp>
      </p:grpSp>
      <p:cxnSp>
        <p:nvCxnSpPr>
          <p:cNvPr id="166" name="Straight Connector 165"/>
          <p:cNvCxnSpPr>
            <a:stCxn id="64" idx="3"/>
            <a:endCxn id="92" idx="1"/>
          </p:cNvCxnSpPr>
          <p:nvPr/>
        </p:nvCxnSpPr>
        <p:spPr bwMode="auto">
          <a:xfrm flipV="1">
            <a:off x="4518874" y="1627619"/>
            <a:ext cx="1082886" cy="442548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stealth" w="lg" len="lg"/>
          </a:ln>
          <a:effectLst/>
        </p:spPr>
      </p:cxnSp>
      <p:cxnSp>
        <p:nvCxnSpPr>
          <p:cNvPr id="192" name="Straight Connector 191"/>
          <p:cNvCxnSpPr>
            <a:stCxn id="63" idx="3"/>
            <a:endCxn id="109" idx="1"/>
          </p:cNvCxnSpPr>
          <p:nvPr/>
        </p:nvCxnSpPr>
        <p:spPr bwMode="auto">
          <a:xfrm flipV="1">
            <a:off x="4518875" y="2509915"/>
            <a:ext cx="4030505" cy="413932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stealth" w="lg" len="lg"/>
          </a:ln>
          <a:effectLst/>
        </p:spPr>
      </p:cxnSp>
      <p:cxnSp>
        <p:nvCxnSpPr>
          <p:cNvPr id="195" name="Straight Connector 194"/>
          <p:cNvCxnSpPr>
            <a:stCxn id="65" idx="3"/>
            <a:endCxn id="125" idx="1"/>
          </p:cNvCxnSpPr>
          <p:nvPr/>
        </p:nvCxnSpPr>
        <p:spPr bwMode="auto">
          <a:xfrm>
            <a:off x="4533489" y="3584132"/>
            <a:ext cx="1059532" cy="96625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stealth" w="lg" len="lg"/>
          </a:ln>
          <a:effectLst/>
        </p:spPr>
      </p:cxnSp>
      <p:cxnSp>
        <p:nvCxnSpPr>
          <p:cNvPr id="198" name="Straight Connector 197"/>
          <p:cNvCxnSpPr>
            <a:stCxn id="57" idx="3"/>
            <a:endCxn id="140" idx="1"/>
          </p:cNvCxnSpPr>
          <p:nvPr/>
        </p:nvCxnSpPr>
        <p:spPr bwMode="auto">
          <a:xfrm>
            <a:off x="4533487" y="4221442"/>
            <a:ext cx="2383750" cy="1369729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1"/>
            </a:solidFill>
            <a:prstDash val="solid"/>
            <a:round/>
            <a:headEnd type="oval" w="med" len="med"/>
            <a:tailEnd type="stealth" w="lg" len="lg"/>
          </a:ln>
          <a:effectLst/>
        </p:spPr>
      </p:cxnSp>
      <p:grpSp>
        <p:nvGrpSpPr>
          <p:cNvPr id="201" name="Group 200"/>
          <p:cNvGrpSpPr/>
          <p:nvPr/>
        </p:nvGrpSpPr>
        <p:grpSpPr>
          <a:xfrm>
            <a:off x="6864465" y="279586"/>
            <a:ext cx="2771016" cy="958913"/>
            <a:chOff x="-739117" y="3432744"/>
            <a:chExt cx="2078803" cy="719185"/>
          </a:xfrm>
        </p:grpSpPr>
        <p:sp>
          <p:nvSpPr>
            <p:cNvPr id="202" name="TextBox 201"/>
            <p:cNvSpPr txBox="1"/>
            <p:nvPr/>
          </p:nvSpPr>
          <p:spPr>
            <a:xfrm>
              <a:off x="44286" y="3675867"/>
              <a:ext cx="1295400" cy="196208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Src VTEP MAC Address</a:t>
              </a:r>
            </a:p>
          </p:txBody>
        </p:sp>
        <p:cxnSp>
          <p:nvCxnSpPr>
            <p:cNvPr id="203" name="Straight Arrow Connector 202"/>
            <p:cNvCxnSpPr>
              <a:stCxn id="202" idx="1"/>
              <a:endCxn id="96" idx="1"/>
            </p:cNvCxnSpPr>
            <p:nvPr/>
          </p:nvCxnSpPr>
          <p:spPr bwMode="auto">
            <a:xfrm flipH="1">
              <a:off x="-739117" y="3773971"/>
              <a:ext cx="783403" cy="377958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04" name="TextBox 203"/>
            <p:cNvSpPr txBox="1"/>
            <p:nvPr/>
          </p:nvSpPr>
          <p:spPr>
            <a:xfrm>
              <a:off x="-223389" y="3432744"/>
              <a:ext cx="1295400" cy="196208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Next-Hop MAC Address</a:t>
              </a:r>
            </a:p>
          </p:txBody>
        </p:sp>
        <p:cxnSp>
          <p:nvCxnSpPr>
            <p:cNvPr id="205" name="Straight Arrow Connector 204"/>
            <p:cNvCxnSpPr>
              <a:stCxn id="204" idx="1"/>
              <a:endCxn id="95" idx="1"/>
            </p:cNvCxnSpPr>
            <p:nvPr/>
          </p:nvCxnSpPr>
          <p:spPr bwMode="auto">
            <a:xfrm flipH="1">
              <a:off x="-739117" y="3530849"/>
              <a:ext cx="515728" cy="342499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11" name="Group 210"/>
          <p:cNvGrpSpPr/>
          <p:nvPr/>
        </p:nvGrpSpPr>
        <p:grpSpPr>
          <a:xfrm>
            <a:off x="9812003" y="2841787"/>
            <a:ext cx="2256873" cy="430886"/>
            <a:chOff x="2214589" y="3401481"/>
            <a:chExt cx="1693102" cy="323165"/>
          </a:xfrm>
        </p:grpSpPr>
        <p:sp>
          <p:nvSpPr>
            <p:cNvPr id="212" name="TextBox 211"/>
            <p:cNvSpPr txBox="1"/>
            <p:nvPr/>
          </p:nvSpPr>
          <p:spPr>
            <a:xfrm>
              <a:off x="2697609" y="3401481"/>
              <a:ext cx="1210082" cy="323165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Src and Dst addresses of the VTEPs</a:t>
              </a:r>
            </a:p>
          </p:txBody>
        </p:sp>
        <p:cxnSp>
          <p:nvCxnSpPr>
            <p:cNvPr id="213" name="Straight Arrow Connector 212"/>
            <p:cNvCxnSpPr>
              <a:stCxn id="212" idx="1"/>
              <a:endCxn id="115" idx="1"/>
            </p:cNvCxnSpPr>
            <p:nvPr/>
          </p:nvCxnSpPr>
          <p:spPr bwMode="auto">
            <a:xfrm flipH="1" flipV="1">
              <a:off x="2214589" y="3417891"/>
              <a:ext cx="483020" cy="145172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214" name="Straight Arrow Connector 213"/>
            <p:cNvCxnSpPr>
              <a:stCxn id="212" idx="1"/>
              <a:endCxn id="116" idx="1"/>
            </p:cNvCxnSpPr>
            <p:nvPr/>
          </p:nvCxnSpPr>
          <p:spPr bwMode="auto">
            <a:xfrm flipH="1">
              <a:off x="2214589" y="3563064"/>
              <a:ext cx="483020" cy="133407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19" name="Group 218"/>
          <p:cNvGrpSpPr/>
          <p:nvPr/>
        </p:nvGrpSpPr>
        <p:grpSpPr>
          <a:xfrm>
            <a:off x="8179860" y="5192678"/>
            <a:ext cx="2352388" cy="752139"/>
            <a:chOff x="5086764" y="3562350"/>
            <a:chExt cx="1764751" cy="564103"/>
          </a:xfrm>
        </p:grpSpPr>
        <p:sp>
          <p:nvSpPr>
            <p:cNvPr id="220" name="TextBox 219"/>
            <p:cNvSpPr txBox="1"/>
            <p:nvPr/>
          </p:nvSpPr>
          <p:spPr>
            <a:xfrm>
              <a:off x="5814892" y="3562350"/>
              <a:ext cx="1036623" cy="323165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Allows for 16M possible Segments</a:t>
              </a:r>
            </a:p>
          </p:txBody>
        </p:sp>
        <p:cxnSp>
          <p:nvCxnSpPr>
            <p:cNvPr id="221" name="Straight Arrow Connector 220"/>
            <p:cNvCxnSpPr>
              <a:stCxn id="220" idx="1"/>
              <a:endCxn id="144" idx="1"/>
            </p:cNvCxnSpPr>
            <p:nvPr/>
          </p:nvCxnSpPr>
          <p:spPr bwMode="auto">
            <a:xfrm flipH="1">
              <a:off x="5086764" y="3723933"/>
              <a:ext cx="728128" cy="402520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29" name="Group 228"/>
          <p:cNvGrpSpPr/>
          <p:nvPr/>
        </p:nvGrpSpPr>
        <p:grpSpPr>
          <a:xfrm>
            <a:off x="6855696" y="3663013"/>
            <a:ext cx="1470915" cy="729273"/>
            <a:chOff x="4497187" y="3287805"/>
            <a:chExt cx="1103478" cy="546951"/>
          </a:xfrm>
        </p:grpSpPr>
        <p:sp>
          <p:nvSpPr>
            <p:cNvPr id="230" name="TextBox 229"/>
            <p:cNvSpPr txBox="1"/>
            <p:nvPr/>
          </p:nvSpPr>
          <p:spPr>
            <a:xfrm>
              <a:off x="4914865" y="3638550"/>
              <a:ext cx="685800" cy="196206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Calibri" pitchFamily="34" charset="0"/>
                  <a:ea typeface="Apple LiGothic Medium"/>
                  <a:cs typeface="Apple Symbols"/>
                </a:rPr>
                <a:t>UDP 4789</a:t>
              </a:r>
            </a:p>
          </p:txBody>
        </p:sp>
        <p:cxnSp>
          <p:nvCxnSpPr>
            <p:cNvPr id="231" name="Straight Arrow Connector 230"/>
            <p:cNvCxnSpPr>
              <a:stCxn id="230" idx="1"/>
              <a:endCxn id="128" idx="1"/>
            </p:cNvCxnSpPr>
            <p:nvPr/>
          </p:nvCxnSpPr>
          <p:spPr bwMode="auto">
            <a:xfrm flipH="1" flipV="1">
              <a:off x="4497187" y="3287805"/>
              <a:ext cx="417678" cy="448848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35" name="Group 234"/>
          <p:cNvGrpSpPr/>
          <p:nvPr/>
        </p:nvGrpSpPr>
        <p:grpSpPr>
          <a:xfrm>
            <a:off x="6855699" y="3291575"/>
            <a:ext cx="4331185" cy="1061296"/>
            <a:chOff x="2276240" y="3530256"/>
            <a:chExt cx="3249233" cy="795969"/>
          </a:xfrm>
        </p:grpSpPr>
        <p:sp>
          <p:nvSpPr>
            <p:cNvPr id="236" name="TextBox 235"/>
            <p:cNvSpPr txBox="1"/>
            <p:nvPr/>
          </p:nvSpPr>
          <p:spPr>
            <a:xfrm>
              <a:off x="3468074" y="3741449"/>
              <a:ext cx="2057399" cy="584776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Hash of the inner L2/L3/L4 headers of the original frame. </a:t>
              </a:r>
            </a:p>
            <a:p>
              <a:pPr algn="just" defTabSz="1085245">
                <a:defRPr/>
              </a:pPr>
              <a:r>
                <a:rPr lang="en-US" sz="1100" kern="0" dirty="0">
                  <a:solidFill>
                    <a:srgbClr val="000000"/>
                  </a:solidFill>
                  <a:latin typeface="Arial"/>
                  <a:ea typeface="Apple LiGothic Medium"/>
                  <a:cs typeface="Arial"/>
                </a:rPr>
                <a:t>Enables entropy for ECMP Load balancing in the Network.</a:t>
              </a:r>
            </a:p>
          </p:txBody>
        </p:sp>
        <p:cxnSp>
          <p:nvCxnSpPr>
            <p:cNvPr id="237" name="Straight Arrow Connector 236"/>
            <p:cNvCxnSpPr>
              <a:stCxn id="236" idx="1"/>
              <a:endCxn id="127" idx="1"/>
            </p:cNvCxnSpPr>
            <p:nvPr/>
          </p:nvCxnSpPr>
          <p:spPr bwMode="auto">
            <a:xfrm flipH="1" flipV="1">
              <a:off x="2276240" y="3530256"/>
              <a:ext cx="1191834" cy="503581"/>
            </a:xfrm>
            <a:prstGeom prst="straightConnector1">
              <a:avLst/>
            </a:prstGeom>
            <a:solidFill>
              <a:srgbClr val="0183B7"/>
            </a:solidFill>
            <a:ln w="1905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sp>
        <p:nvSpPr>
          <p:cNvPr id="247" name="Rounded Rectangle 246"/>
          <p:cNvSpPr/>
          <p:nvPr>
            <p:custDataLst>
              <p:tags r:id="rId1"/>
            </p:custDataLst>
          </p:nvPr>
        </p:nvSpPr>
        <p:spPr bwMode="auto">
          <a:xfrm rot="16200000">
            <a:off x="-1861186" y="3738722"/>
            <a:ext cx="4689231" cy="390042"/>
          </a:xfrm>
          <a:prstGeom prst="roundRect">
            <a:avLst>
              <a:gd name="adj" fmla="val 4036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21680" tIns="0" rIns="121680" bIns="0" rtlCol="0" anchor="ctr"/>
          <a:lstStyle/>
          <a:p>
            <a:pPr algn="ctr" defTabSz="684531">
              <a:spcBef>
                <a:spcPts val="800"/>
              </a:spcBef>
            </a:pPr>
            <a:r>
              <a:rPr lang="en-US" sz="1500" dirty="0">
                <a:solidFill>
                  <a:srgbClr val="000000"/>
                </a:solidFill>
                <a:latin typeface="Arial"/>
                <a:ea typeface="Arial" pitchFamily="-107" charset="0"/>
                <a:cs typeface="Arial" pitchFamily="-107" charset="0"/>
                <a:sym typeface="Arial" pitchFamily="-107" charset="0"/>
              </a:rPr>
              <a:t>50 (54) Bytes of Overhead</a:t>
            </a:r>
          </a:p>
        </p:txBody>
      </p:sp>
    </p:spTree>
    <p:extLst>
      <p:ext uri="{BB962C8B-B14F-4D97-AF65-F5344CB8AC3E}">
        <p14:creationId xmlns:p14="http://schemas.microsoft.com/office/powerpoint/2010/main" val="3570676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9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XLAN </a:t>
            </a:r>
            <a:r>
              <a:rPr lang="en-US" dirty="0" err="1" smtClean="0"/>
              <a:t>Flood&amp;Lear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5806603" y="6518532"/>
            <a:ext cx="511080" cy="366183"/>
          </a:xfrm>
          <a:prstGeom prst="rect">
            <a:avLst/>
          </a:prstGeom>
        </p:spPr>
        <p:txBody>
          <a:bodyPr/>
          <a:lstStyle/>
          <a:p>
            <a:fld id="{3945D0FD-48F1-4D72-80C5-FFB60B92A834}" type="slidenum">
              <a:rPr lang="en-US" smtClean="0"/>
              <a:pPr/>
              <a:t>22</a:t>
            </a:fld>
            <a:endParaRPr lang="en-US" dirty="0"/>
          </a:p>
        </p:txBody>
      </p:sp>
      <p:cxnSp>
        <p:nvCxnSpPr>
          <p:cNvPr id="194" name="Straight Connector 193"/>
          <p:cNvCxnSpPr>
            <a:stCxn id="127" idx="6"/>
          </p:cNvCxnSpPr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>
            <a:stCxn id="142" idx="0"/>
          </p:cNvCxnSpPr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>
            <a:endCxn id="134" idx="1"/>
          </p:cNvCxnSpPr>
          <p:nvPr/>
        </p:nvCxnSpPr>
        <p:spPr bwMode="auto">
          <a:xfrm>
            <a:off x="5596335" y="2283870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>
            <a:stCxn id="127" idx="6"/>
          </p:cNvCxnSpPr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>
            <a:stCxn id="127" idx="6"/>
          </p:cNvCxnSpPr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>
            <a:stCxn id="127" idx="6"/>
          </p:cNvCxnSpPr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>
            <a:stCxn id="142" idx="0"/>
          </p:cNvCxnSpPr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>
            <a:stCxn id="142" idx="0"/>
          </p:cNvCxnSpPr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>
            <a:stCxn id="142" idx="0"/>
          </p:cNvCxnSpPr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>
            <a:endCxn id="134" idx="1"/>
          </p:cNvCxnSpPr>
          <p:nvPr/>
        </p:nvCxnSpPr>
        <p:spPr bwMode="auto">
          <a:xfrm>
            <a:off x="6239653" y="2283870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>
            <a:endCxn id="134" idx="1"/>
          </p:cNvCxnSpPr>
          <p:nvPr/>
        </p:nvCxnSpPr>
        <p:spPr bwMode="auto">
          <a:xfrm>
            <a:off x="6882933" y="2283870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>
            <a:endCxn id="134" idx="1"/>
          </p:cNvCxnSpPr>
          <p:nvPr/>
        </p:nvCxnSpPr>
        <p:spPr bwMode="auto">
          <a:xfrm>
            <a:off x="7526251" y="2283870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29" tIns="60915" rIns="121829" bIns="60915" numCol="1" anchor="ctr" anchorCtr="0" compatLnSpc="1">
            <a:prstTxWarp prst="textNoShape">
              <a:avLst/>
            </a:prstTxWarp>
          </a:bodyPr>
          <a:lstStyle/>
          <a:p>
            <a:pPr algn="ctr" defTabSz="1218073"/>
            <a:endParaRPr lang="en-US" sz="3200" dirty="0">
              <a:cs typeface="Cambria"/>
            </a:endParaRPr>
          </a:p>
        </p:txBody>
      </p:sp>
      <p:cxnSp>
        <p:nvCxnSpPr>
          <p:cNvPr id="16" name="Straight Connector 15"/>
          <p:cNvCxnSpPr>
            <a:stCxn id="4" idx="3"/>
          </p:cNvCxnSpPr>
          <p:nvPr/>
        </p:nvCxnSpPr>
        <p:spPr bwMode="auto">
          <a:xfrm flipV="1">
            <a:off x="4060759" y="2965648"/>
            <a:ext cx="1703576" cy="253933"/>
          </a:xfrm>
          <a:prstGeom prst="line">
            <a:avLst/>
          </a:prstGeom>
          <a:ln>
            <a:headEnd type="none" w="med" len="med"/>
            <a:tailEnd type="none" w="med" len="med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stCxn id="146" idx="0"/>
          </p:cNvCxnSpPr>
          <p:nvPr/>
        </p:nvCxnSpPr>
        <p:spPr bwMode="auto">
          <a:xfrm flipV="1">
            <a:off x="5591949" y="2948099"/>
            <a:ext cx="163616" cy="1756739"/>
          </a:xfrm>
          <a:prstGeom prst="line">
            <a:avLst/>
          </a:prstGeom>
          <a:ln>
            <a:headEnd type="none" w="med" len="med"/>
            <a:tailEnd type="none" w="med" len="med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31" name="Group 130"/>
          <p:cNvGrpSpPr/>
          <p:nvPr/>
        </p:nvGrpSpPr>
        <p:grpSpPr>
          <a:xfrm>
            <a:off x="3510912" y="2819419"/>
            <a:ext cx="820222" cy="805025"/>
            <a:chOff x="3048000" y="2791272"/>
            <a:chExt cx="615327" cy="603769"/>
          </a:xfrm>
        </p:grpSpPr>
        <p:grpSp>
          <p:nvGrpSpPr>
            <p:cNvPr id="130" name="Group 129"/>
            <p:cNvGrpSpPr/>
            <p:nvPr/>
          </p:nvGrpSpPr>
          <p:grpSpPr>
            <a:xfrm>
              <a:off x="3048000" y="2791272"/>
              <a:ext cx="615327" cy="603769"/>
              <a:chOff x="3048000" y="3676650"/>
              <a:chExt cx="615327" cy="603769"/>
            </a:xfrm>
          </p:grpSpPr>
          <p:pic>
            <p:nvPicPr>
              <p:cNvPr id="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5" name="Group 4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2" name="Hexagon 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4" name="TextBox 3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1</a:t>
                  </a:r>
                </a:p>
              </p:txBody>
            </p:sp>
          </p:grpSp>
        </p:grpSp>
        <p:sp>
          <p:nvSpPr>
            <p:cNvPr id="127" name="Oval 126"/>
            <p:cNvSpPr>
              <a:spLocks noChangeAspect="1"/>
            </p:cNvSpPr>
            <p:nvPr/>
          </p:nvSpPr>
          <p:spPr bwMode="auto">
            <a:xfrm>
              <a:off x="3480447" y="3001716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5181839" y="4351194"/>
            <a:ext cx="820222" cy="906625"/>
            <a:chOff x="4953000" y="1123950"/>
            <a:chExt cx="615327" cy="679969"/>
          </a:xfrm>
        </p:grpSpPr>
        <p:grpSp>
          <p:nvGrpSpPr>
            <p:cNvPr id="141" name="Group 140"/>
            <p:cNvGrpSpPr/>
            <p:nvPr/>
          </p:nvGrpSpPr>
          <p:grpSpPr>
            <a:xfrm>
              <a:off x="4953000" y="1200150"/>
              <a:ext cx="615327" cy="603769"/>
              <a:chOff x="3048000" y="3676650"/>
              <a:chExt cx="615327" cy="603769"/>
            </a:xfrm>
          </p:grpSpPr>
          <p:pic>
            <p:nvPicPr>
              <p:cNvPr id="143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44" name="Group 143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45" name="Hexagon 144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46" name="TextBox 145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3</a:t>
                  </a:r>
                </a:p>
              </p:txBody>
            </p:sp>
          </p:grpSp>
        </p:grpSp>
        <p:sp>
          <p:nvSpPr>
            <p:cNvPr id="142" name="Oval 141"/>
            <p:cNvSpPr>
              <a:spLocks noChangeAspect="1"/>
            </p:cNvSpPr>
            <p:nvPr/>
          </p:nvSpPr>
          <p:spPr bwMode="auto">
            <a:xfrm>
              <a:off x="5169223" y="1123950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aphicFrame>
        <p:nvGraphicFramePr>
          <p:cNvPr id="183" name="Table 182"/>
          <p:cNvGraphicFramePr>
            <a:graphicFrameLocks noGrp="1"/>
          </p:cNvGraphicFramePr>
          <p:nvPr>
            <p:extLst/>
          </p:nvPr>
        </p:nvGraphicFramePr>
        <p:xfrm>
          <a:off x="2873993" y="1813349"/>
          <a:ext cx="2136885" cy="6096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A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1/1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15" name="Group 114"/>
          <p:cNvGrpSpPr/>
          <p:nvPr/>
        </p:nvGrpSpPr>
        <p:grpSpPr>
          <a:xfrm>
            <a:off x="8699060" y="3128100"/>
            <a:ext cx="2647061" cy="2028113"/>
            <a:chOff x="6524789" y="2346065"/>
            <a:chExt cx="1985813" cy="1521085"/>
          </a:xfrm>
        </p:grpSpPr>
        <p:grpSp>
          <p:nvGrpSpPr>
            <p:cNvPr id="117" name="Group 116"/>
            <p:cNvGrpSpPr>
              <a:grpSpLocks noChangeAspect="1"/>
            </p:cNvGrpSpPr>
            <p:nvPr/>
          </p:nvGrpSpPr>
          <p:grpSpPr>
            <a:xfrm>
              <a:off x="7820625" y="2715826"/>
              <a:ext cx="465555" cy="764988"/>
              <a:chOff x="807667" y="2504215"/>
              <a:chExt cx="359997" cy="591541"/>
            </a:xfrm>
          </p:grpSpPr>
          <p:pic>
            <p:nvPicPr>
              <p:cNvPr id="120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21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22" name="Rounded Rectangle 121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064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23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26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28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32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25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064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cxnSp>
          <p:nvCxnSpPr>
            <p:cNvPr id="118" name="Elbow Connector 117"/>
            <p:cNvCxnSpPr>
              <a:endCxn id="120" idx="0"/>
            </p:cNvCxnSpPr>
            <p:nvPr/>
          </p:nvCxnSpPr>
          <p:spPr bwMode="auto">
            <a:xfrm>
              <a:off x="6524789" y="2346065"/>
              <a:ext cx="1528614" cy="369761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9" name="Rounded Rectangle 41"/>
            <p:cNvSpPr/>
            <p:nvPr/>
          </p:nvSpPr>
          <p:spPr>
            <a:xfrm>
              <a:off x="7596202" y="3554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B</a:t>
              </a:r>
            </a:p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B / IP_B</a:t>
              </a:r>
            </a:p>
          </p:txBody>
        </p:sp>
      </p:grpSp>
      <p:graphicFrame>
        <p:nvGraphicFramePr>
          <p:cNvPr id="162" name="Table 161"/>
          <p:cNvGraphicFramePr>
            <a:graphicFrameLocks noGrp="1"/>
          </p:cNvGraphicFramePr>
          <p:nvPr>
            <p:extLst/>
          </p:nvPr>
        </p:nvGraphicFramePr>
        <p:xfrm>
          <a:off x="8319569" y="1741748"/>
          <a:ext cx="2136885" cy="6096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B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1/4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90" name="Straight Connector 189"/>
          <p:cNvCxnSpPr/>
          <p:nvPr/>
        </p:nvCxnSpPr>
        <p:spPr>
          <a:xfrm>
            <a:off x="7305940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/>
          <p:cNvCxnSpPr/>
          <p:nvPr/>
        </p:nvCxnSpPr>
        <p:spPr>
          <a:xfrm>
            <a:off x="7575524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/>
          <p:cNvCxnSpPr/>
          <p:nvPr/>
        </p:nvCxnSpPr>
        <p:spPr>
          <a:xfrm>
            <a:off x="7833109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ounded Rectangle 192"/>
          <p:cNvSpPr/>
          <p:nvPr/>
        </p:nvSpPr>
        <p:spPr>
          <a:xfrm>
            <a:off x="7483012" y="5985505"/>
            <a:ext cx="202630" cy="205781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29" tIns="60915" rIns="121829" bIns="60915" rtlCol="0" anchor="ctr"/>
          <a:lstStyle/>
          <a:p>
            <a:pPr algn="ctr" defTabSz="452064"/>
            <a:endParaRPr lang="en-US" sz="210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196" name="Group 165"/>
          <p:cNvGrpSpPr/>
          <p:nvPr/>
        </p:nvGrpSpPr>
        <p:grpSpPr>
          <a:xfrm>
            <a:off x="7483012" y="6002035"/>
            <a:ext cx="190180" cy="171104"/>
            <a:chOff x="6688138" y="3305167"/>
            <a:chExt cx="1081087" cy="1030288"/>
          </a:xfrm>
          <a:solidFill>
            <a:schemeClr val="bg1"/>
          </a:solidFill>
        </p:grpSpPr>
        <p:sp>
          <p:nvSpPr>
            <p:cNvPr id="197" name="Freeform 129"/>
            <p:cNvSpPr>
              <a:spLocks noEditPoints="1"/>
            </p:cNvSpPr>
            <p:nvPr/>
          </p:nvSpPr>
          <p:spPr bwMode="auto">
            <a:xfrm>
              <a:off x="6688138" y="3470267"/>
              <a:ext cx="503237" cy="495300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064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198" name="Freeform 130"/>
            <p:cNvSpPr>
              <a:spLocks noEditPoints="1"/>
            </p:cNvSpPr>
            <p:nvPr/>
          </p:nvSpPr>
          <p:spPr bwMode="auto">
            <a:xfrm>
              <a:off x="7115175" y="3305167"/>
              <a:ext cx="350837" cy="354013"/>
            </a:xfrm>
            <a:custGeom>
              <a:avLst/>
              <a:gdLst/>
              <a:ahLst/>
              <a:cxnLst>
                <a:cxn ang="0">
                  <a:pos x="136" y="54"/>
                </a:cxn>
                <a:cxn ang="0">
                  <a:pos x="132" y="40"/>
                </a:cxn>
                <a:cxn ang="0">
                  <a:pos x="129" y="39"/>
                </a:cxn>
                <a:cxn ang="0">
                  <a:pos x="119" y="39"/>
                </a:cxn>
                <a:cxn ang="0">
                  <a:pos x="109" y="27"/>
                </a:cxn>
                <a:cxn ang="0">
                  <a:pos x="112" y="17"/>
                </a:cxn>
                <a:cxn ang="0">
                  <a:pos x="111" y="14"/>
                </a:cxn>
                <a:cxn ang="0">
                  <a:pos x="98" y="7"/>
                </a:cxn>
                <a:cxn ang="0">
                  <a:pos x="95" y="7"/>
                </a:cxn>
                <a:cxn ang="0">
                  <a:pos x="88" y="14"/>
                </a:cxn>
                <a:cxn ang="0">
                  <a:pos x="72" y="11"/>
                </a:cxn>
                <a:cxn ang="0">
                  <a:pos x="68" y="2"/>
                </a:cxn>
                <a:cxn ang="0">
                  <a:pos x="65" y="0"/>
                </a:cxn>
                <a:cxn ang="0">
                  <a:pos x="51" y="2"/>
                </a:cxn>
                <a:cxn ang="0">
                  <a:pos x="49" y="4"/>
                </a:cxn>
                <a:cxn ang="0">
                  <a:pos x="48" y="15"/>
                </a:cxn>
                <a:cxn ang="0">
                  <a:pos x="34" y="22"/>
                </a:cxn>
                <a:cxn ang="0">
                  <a:pos x="25" y="18"/>
                </a:cxn>
                <a:cxn ang="0">
                  <a:pos x="22" y="19"/>
                </a:cxn>
                <a:cxn ang="0">
                  <a:pos x="12" y="29"/>
                </a:cxn>
                <a:cxn ang="0">
                  <a:pos x="12" y="32"/>
                </a:cxn>
                <a:cxn ang="0">
                  <a:pos x="18" y="41"/>
                </a:cxn>
                <a:cxn ang="0">
                  <a:pos x="12" y="56"/>
                </a:cxn>
                <a:cxn ang="0">
                  <a:pos x="2" y="58"/>
                </a:cxn>
                <a:cxn ang="0">
                  <a:pos x="0" y="61"/>
                </a:cxn>
                <a:cxn ang="0">
                  <a:pos x="0" y="75"/>
                </a:cxn>
                <a:cxn ang="0">
                  <a:pos x="2" y="77"/>
                </a:cxn>
                <a:cxn ang="0">
                  <a:pos x="11" y="80"/>
                </a:cxn>
                <a:cxn ang="0">
                  <a:pos x="17" y="95"/>
                </a:cxn>
                <a:cxn ang="0">
                  <a:pos x="11" y="104"/>
                </a:cxn>
                <a:cxn ang="0">
                  <a:pos x="11" y="107"/>
                </a:cxn>
                <a:cxn ang="0">
                  <a:pos x="20" y="118"/>
                </a:cxn>
                <a:cxn ang="0">
                  <a:pos x="23" y="119"/>
                </a:cxn>
                <a:cxn ang="0">
                  <a:pos x="32" y="115"/>
                </a:cxn>
                <a:cxn ang="0">
                  <a:pos x="46" y="123"/>
                </a:cxn>
                <a:cxn ang="0">
                  <a:pos x="46" y="133"/>
                </a:cxn>
                <a:cxn ang="0">
                  <a:pos x="48" y="135"/>
                </a:cxn>
                <a:cxn ang="0">
                  <a:pos x="62" y="138"/>
                </a:cxn>
                <a:cxn ang="0">
                  <a:pos x="65" y="137"/>
                </a:cxn>
                <a:cxn ang="0">
                  <a:pos x="70" y="128"/>
                </a:cxn>
                <a:cxn ang="0">
                  <a:pos x="78" y="127"/>
                </a:cxn>
                <a:cxn ang="0">
                  <a:pos x="86" y="125"/>
                </a:cxn>
                <a:cxn ang="0">
                  <a:pos x="93" y="133"/>
                </a:cxn>
                <a:cxn ang="0">
                  <a:pos x="96" y="133"/>
                </a:cxn>
                <a:cxn ang="0">
                  <a:pos x="108" y="126"/>
                </a:cxn>
                <a:cxn ang="0">
                  <a:pos x="110" y="123"/>
                </a:cxn>
                <a:cxn ang="0">
                  <a:pos x="107" y="113"/>
                </a:cxn>
                <a:cxn ang="0">
                  <a:pos x="118" y="101"/>
                </a:cxn>
                <a:cxn ang="0">
                  <a:pos x="128" y="102"/>
                </a:cxn>
                <a:cxn ang="0">
                  <a:pos x="130" y="101"/>
                </a:cxn>
                <a:cxn ang="0">
                  <a:pos x="136" y="88"/>
                </a:cxn>
                <a:cxn ang="0">
                  <a:pos x="135" y="85"/>
                </a:cxn>
                <a:cxn ang="0">
                  <a:pos x="127" y="78"/>
                </a:cxn>
                <a:cxn ang="0">
                  <a:pos x="127" y="63"/>
                </a:cxn>
                <a:cxn ang="0">
                  <a:pos x="135" y="57"/>
                </a:cxn>
                <a:cxn ang="0">
                  <a:pos x="136" y="54"/>
                </a:cxn>
                <a:cxn ang="0">
                  <a:pos x="86" y="91"/>
                </a:cxn>
                <a:cxn ang="0">
                  <a:pos x="47" y="87"/>
                </a:cxn>
                <a:cxn ang="0">
                  <a:pos x="51" y="47"/>
                </a:cxn>
                <a:cxn ang="0">
                  <a:pos x="91" y="52"/>
                </a:cxn>
                <a:cxn ang="0">
                  <a:pos x="86" y="91"/>
                </a:cxn>
              </a:cxnLst>
              <a:rect l="0" t="0" r="r" b="b"/>
              <a:pathLst>
                <a:path w="137" h="138">
                  <a:moveTo>
                    <a:pt x="136" y="54"/>
                  </a:moveTo>
                  <a:cubicBezTo>
                    <a:pt x="136" y="53"/>
                    <a:pt x="132" y="41"/>
                    <a:pt x="132" y="40"/>
                  </a:cubicBezTo>
                  <a:cubicBezTo>
                    <a:pt x="131" y="39"/>
                    <a:pt x="130" y="38"/>
                    <a:pt x="129" y="39"/>
                  </a:cubicBezTo>
                  <a:cubicBezTo>
                    <a:pt x="128" y="39"/>
                    <a:pt x="120" y="39"/>
                    <a:pt x="119" y="39"/>
                  </a:cubicBezTo>
                  <a:cubicBezTo>
                    <a:pt x="116" y="35"/>
                    <a:pt x="113" y="30"/>
                    <a:pt x="109" y="27"/>
                  </a:cubicBezTo>
                  <a:cubicBezTo>
                    <a:pt x="109" y="26"/>
                    <a:pt x="111" y="18"/>
                    <a:pt x="112" y="17"/>
                  </a:cubicBezTo>
                  <a:cubicBezTo>
                    <a:pt x="112" y="16"/>
                    <a:pt x="112" y="15"/>
                    <a:pt x="111" y="14"/>
                  </a:cubicBezTo>
                  <a:cubicBezTo>
                    <a:pt x="110" y="14"/>
                    <a:pt x="99" y="7"/>
                    <a:pt x="98" y="7"/>
                  </a:cubicBezTo>
                  <a:cubicBezTo>
                    <a:pt x="97" y="6"/>
                    <a:pt x="96" y="6"/>
                    <a:pt x="95" y="7"/>
                  </a:cubicBezTo>
                  <a:cubicBezTo>
                    <a:pt x="94" y="8"/>
                    <a:pt x="89" y="13"/>
                    <a:pt x="88" y="14"/>
                  </a:cubicBezTo>
                  <a:cubicBezTo>
                    <a:pt x="83" y="12"/>
                    <a:pt x="78" y="11"/>
                    <a:pt x="72" y="11"/>
                  </a:cubicBezTo>
                  <a:cubicBezTo>
                    <a:pt x="72" y="10"/>
                    <a:pt x="69" y="3"/>
                    <a:pt x="68" y="2"/>
                  </a:cubicBezTo>
                  <a:cubicBezTo>
                    <a:pt x="68" y="1"/>
                    <a:pt x="67" y="0"/>
                    <a:pt x="65" y="0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49" y="3"/>
                    <a:pt x="49" y="4"/>
                  </a:cubicBezTo>
                  <a:cubicBezTo>
                    <a:pt x="49" y="6"/>
                    <a:pt x="48" y="13"/>
                    <a:pt x="48" y="15"/>
                  </a:cubicBezTo>
                  <a:cubicBezTo>
                    <a:pt x="43" y="17"/>
                    <a:pt x="38" y="19"/>
                    <a:pt x="34" y="22"/>
                  </a:cubicBezTo>
                  <a:cubicBezTo>
                    <a:pt x="33" y="22"/>
                    <a:pt x="26" y="19"/>
                    <a:pt x="25" y="18"/>
                  </a:cubicBezTo>
                  <a:cubicBezTo>
                    <a:pt x="24" y="17"/>
                    <a:pt x="23" y="17"/>
                    <a:pt x="22" y="19"/>
                  </a:cubicBezTo>
                  <a:cubicBezTo>
                    <a:pt x="21" y="19"/>
                    <a:pt x="13" y="29"/>
                    <a:pt x="12" y="29"/>
                  </a:cubicBezTo>
                  <a:cubicBezTo>
                    <a:pt x="11" y="30"/>
                    <a:pt x="11" y="31"/>
                    <a:pt x="12" y="32"/>
                  </a:cubicBezTo>
                  <a:cubicBezTo>
                    <a:pt x="13" y="34"/>
                    <a:pt x="17" y="40"/>
                    <a:pt x="18" y="41"/>
                  </a:cubicBezTo>
                  <a:cubicBezTo>
                    <a:pt x="15" y="46"/>
                    <a:pt x="13" y="50"/>
                    <a:pt x="12" y="56"/>
                  </a:cubicBezTo>
                  <a:cubicBezTo>
                    <a:pt x="11" y="56"/>
                    <a:pt x="4" y="58"/>
                    <a:pt x="2" y="58"/>
                  </a:cubicBezTo>
                  <a:cubicBezTo>
                    <a:pt x="1" y="59"/>
                    <a:pt x="0" y="59"/>
                    <a:pt x="0" y="61"/>
                  </a:cubicBezTo>
                  <a:cubicBezTo>
                    <a:pt x="0" y="61"/>
                    <a:pt x="0" y="74"/>
                    <a:pt x="0" y="75"/>
                  </a:cubicBezTo>
                  <a:cubicBezTo>
                    <a:pt x="0" y="76"/>
                    <a:pt x="1" y="77"/>
                    <a:pt x="2" y="77"/>
                  </a:cubicBezTo>
                  <a:cubicBezTo>
                    <a:pt x="3" y="78"/>
                    <a:pt x="10" y="80"/>
                    <a:pt x="11" y="80"/>
                  </a:cubicBezTo>
                  <a:cubicBezTo>
                    <a:pt x="12" y="86"/>
                    <a:pt x="14" y="91"/>
                    <a:pt x="17" y="95"/>
                  </a:cubicBezTo>
                  <a:cubicBezTo>
                    <a:pt x="16" y="96"/>
                    <a:pt x="11" y="102"/>
                    <a:pt x="11" y="104"/>
                  </a:cubicBezTo>
                  <a:cubicBezTo>
                    <a:pt x="10" y="105"/>
                    <a:pt x="10" y="106"/>
                    <a:pt x="11" y="107"/>
                  </a:cubicBezTo>
                  <a:cubicBezTo>
                    <a:pt x="11" y="107"/>
                    <a:pt x="19" y="118"/>
                    <a:pt x="20" y="118"/>
                  </a:cubicBezTo>
                  <a:cubicBezTo>
                    <a:pt x="21" y="119"/>
                    <a:pt x="22" y="119"/>
                    <a:pt x="23" y="119"/>
                  </a:cubicBezTo>
                  <a:cubicBezTo>
                    <a:pt x="24" y="118"/>
                    <a:pt x="31" y="115"/>
                    <a:pt x="32" y="115"/>
                  </a:cubicBezTo>
                  <a:cubicBezTo>
                    <a:pt x="36" y="118"/>
                    <a:pt x="41" y="121"/>
                    <a:pt x="46" y="123"/>
                  </a:cubicBezTo>
                  <a:cubicBezTo>
                    <a:pt x="46" y="124"/>
                    <a:pt x="46" y="132"/>
                    <a:pt x="46" y="133"/>
                  </a:cubicBezTo>
                  <a:cubicBezTo>
                    <a:pt x="46" y="134"/>
                    <a:pt x="47" y="135"/>
                    <a:pt x="48" y="135"/>
                  </a:cubicBezTo>
                  <a:cubicBezTo>
                    <a:pt x="49" y="136"/>
                    <a:pt x="62" y="138"/>
                    <a:pt x="62" y="138"/>
                  </a:cubicBezTo>
                  <a:cubicBezTo>
                    <a:pt x="64" y="138"/>
                    <a:pt x="65" y="138"/>
                    <a:pt x="65" y="137"/>
                  </a:cubicBezTo>
                  <a:cubicBezTo>
                    <a:pt x="66" y="135"/>
                    <a:pt x="69" y="129"/>
                    <a:pt x="70" y="128"/>
                  </a:cubicBezTo>
                  <a:cubicBezTo>
                    <a:pt x="72" y="128"/>
                    <a:pt x="75" y="127"/>
                    <a:pt x="78" y="127"/>
                  </a:cubicBezTo>
                  <a:cubicBezTo>
                    <a:pt x="80" y="127"/>
                    <a:pt x="83" y="126"/>
                    <a:pt x="86" y="125"/>
                  </a:cubicBezTo>
                  <a:cubicBezTo>
                    <a:pt x="86" y="126"/>
                    <a:pt x="92" y="132"/>
                    <a:pt x="93" y="133"/>
                  </a:cubicBezTo>
                  <a:cubicBezTo>
                    <a:pt x="93" y="133"/>
                    <a:pt x="95" y="134"/>
                    <a:pt x="96" y="133"/>
                  </a:cubicBezTo>
                  <a:cubicBezTo>
                    <a:pt x="96" y="133"/>
                    <a:pt x="108" y="126"/>
                    <a:pt x="108" y="126"/>
                  </a:cubicBezTo>
                  <a:cubicBezTo>
                    <a:pt x="110" y="126"/>
                    <a:pt x="110" y="124"/>
                    <a:pt x="110" y="123"/>
                  </a:cubicBezTo>
                  <a:cubicBezTo>
                    <a:pt x="109" y="122"/>
                    <a:pt x="108" y="115"/>
                    <a:pt x="107" y="113"/>
                  </a:cubicBezTo>
                  <a:cubicBezTo>
                    <a:pt x="111" y="110"/>
                    <a:pt x="115" y="106"/>
                    <a:pt x="118" y="101"/>
                  </a:cubicBezTo>
                  <a:cubicBezTo>
                    <a:pt x="119" y="102"/>
                    <a:pt x="126" y="102"/>
                    <a:pt x="128" y="102"/>
                  </a:cubicBezTo>
                  <a:cubicBezTo>
                    <a:pt x="129" y="103"/>
                    <a:pt x="130" y="102"/>
                    <a:pt x="130" y="101"/>
                  </a:cubicBezTo>
                  <a:cubicBezTo>
                    <a:pt x="131" y="100"/>
                    <a:pt x="135" y="88"/>
                    <a:pt x="136" y="88"/>
                  </a:cubicBezTo>
                  <a:cubicBezTo>
                    <a:pt x="136" y="86"/>
                    <a:pt x="136" y="85"/>
                    <a:pt x="135" y="85"/>
                  </a:cubicBezTo>
                  <a:cubicBezTo>
                    <a:pt x="133" y="84"/>
                    <a:pt x="128" y="79"/>
                    <a:pt x="127" y="78"/>
                  </a:cubicBezTo>
                  <a:cubicBezTo>
                    <a:pt x="127" y="73"/>
                    <a:pt x="128" y="68"/>
                    <a:pt x="127" y="63"/>
                  </a:cubicBezTo>
                  <a:cubicBezTo>
                    <a:pt x="128" y="62"/>
                    <a:pt x="134" y="58"/>
                    <a:pt x="135" y="57"/>
                  </a:cubicBezTo>
                  <a:cubicBezTo>
                    <a:pt x="136" y="56"/>
                    <a:pt x="137" y="55"/>
                    <a:pt x="136" y="54"/>
                  </a:cubicBezTo>
                  <a:close/>
                  <a:moveTo>
                    <a:pt x="86" y="91"/>
                  </a:moveTo>
                  <a:cubicBezTo>
                    <a:pt x="74" y="101"/>
                    <a:pt x="57" y="99"/>
                    <a:pt x="47" y="87"/>
                  </a:cubicBezTo>
                  <a:cubicBezTo>
                    <a:pt x="37" y="75"/>
                    <a:pt x="39" y="57"/>
                    <a:pt x="51" y="47"/>
                  </a:cubicBezTo>
                  <a:cubicBezTo>
                    <a:pt x="63" y="38"/>
                    <a:pt x="81" y="40"/>
                    <a:pt x="91" y="52"/>
                  </a:cubicBezTo>
                  <a:cubicBezTo>
                    <a:pt x="100" y="64"/>
                    <a:pt x="99" y="81"/>
                    <a:pt x="86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064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200" name="Freeform 131"/>
            <p:cNvSpPr>
              <a:spLocks noEditPoints="1"/>
            </p:cNvSpPr>
            <p:nvPr/>
          </p:nvSpPr>
          <p:spPr bwMode="auto">
            <a:xfrm>
              <a:off x="7104063" y="3678230"/>
              <a:ext cx="665162" cy="657225"/>
            </a:xfrm>
            <a:custGeom>
              <a:avLst/>
              <a:gdLst/>
              <a:ahLst/>
              <a:cxnLst>
                <a:cxn ang="0">
                  <a:pos x="259" y="120"/>
                </a:cxn>
                <a:cxn ang="0">
                  <a:pos x="254" y="93"/>
                </a:cxn>
                <a:cxn ang="0">
                  <a:pos x="250" y="89"/>
                </a:cxn>
                <a:cxn ang="0">
                  <a:pos x="231" y="87"/>
                </a:cxn>
                <a:cxn ang="0">
                  <a:pos x="216" y="62"/>
                </a:cxn>
                <a:cxn ang="0">
                  <a:pos x="224" y="44"/>
                </a:cxn>
                <a:cxn ang="0">
                  <a:pos x="222" y="39"/>
                </a:cxn>
                <a:cxn ang="0">
                  <a:pos x="202" y="22"/>
                </a:cxn>
                <a:cxn ang="0">
                  <a:pos x="196" y="21"/>
                </a:cxn>
                <a:cxn ang="0">
                  <a:pos x="180" y="32"/>
                </a:cxn>
                <a:cxn ang="0">
                  <a:pos x="152" y="22"/>
                </a:cxn>
                <a:cxn ang="0">
                  <a:pos x="147" y="4"/>
                </a:cxn>
                <a:cxn ang="0">
                  <a:pos x="143" y="0"/>
                </a:cxn>
                <a:cxn ang="0">
                  <a:pos x="116" y="0"/>
                </a:cxn>
                <a:cxn ang="0">
                  <a:pos x="111" y="4"/>
                </a:cxn>
                <a:cxn ang="0">
                  <a:pos x="106" y="22"/>
                </a:cxn>
                <a:cxn ang="0">
                  <a:pos x="78" y="32"/>
                </a:cxn>
                <a:cxn ang="0">
                  <a:pos x="62" y="22"/>
                </a:cxn>
                <a:cxn ang="0">
                  <a:pos x="56" y="22"/>
                </a:cxn>
                <a:cxn ang="0">
                  <a:pos x="36" y="39"/>
                </a:cxn>
                <a:cxn ang="0">
                  <a:pos x="35" y="45"/>
                </a:cxn>
                <a:cxn ang="0">
                  <a:pos x="43" y="62"/>
                </a:cxn>
                <a:cxn ang="0">
                  <a:pos x="28" y="88"/>
                </a:cxn>
                <a:cxn ang="0">
                  <a:pos x="9" y="90"/>
                </a:cxn>
                <a:cxn ang="0">
                  <a:pos x="5" y="94"/>
                </a:cxn>
                <a:cxn ang="0">
                  <a:pos x="0" y="120"/>
                </a:cxn>
                <a:cxn ang="0">
                  <a:pos x="3" y="126"/>
                </a:cxn>
                <a:cxn ang="0">
                  <a:pos x="20" y="134"/>
                </a:cxn>
                <a:cxn ang="0">
                  <a:pos x="25" y="163"/>
                </a:cxn>
                <a:cxn ang="0">
                  <a:pos x="12" y="177"/>
                </a:cxn>
                <a:cxn ang="0">
                  <a:pos x="11" y="183"/>
                </a:cxn>
                <a:cxn ang="0">
                  <a:pos x="25" y="206"/>
                </a:cxn>
                <a:cxn ang="0">
                  <a:pos x="30" y="208"/>
                </a:cxn>
                <a:cxn ang="0">
                  <a:pos x="49" y="203"/>
                </a:cxn>
                <a:cxn ang="0">
                  <a:pos x="71" y="222"/>
                </a:cxn>
                <a:cxn ang="0">
                  <a:pos x="70" y="241"/>
                </a:cxn>
                <a:cxn ang="0">
                  <a:pos x="73" y="246"/>
                </a:cxn>
                <a:cxn ang="0">
                  <a:pos x="98" y="255"/>
                </a:cxn>
                <a:cxn ang="0">
                  <a:pos x="104" y="254"/>
                </a:cxn>
                <a:cxn ang="0">
                  <a:pos x="115" y="238"/>
                </a:cxn>
                <a:cxn ang="0">
                  <a:pos x="130" y="239"/>
                </a:cxn>
                <a:cxn ang="0">
                  <a:pos x="145" y="238"/>
                </a:cxn>
                <a:cxn ang="0">
                  <a:pos x="156" y="253"/>
                </a:cxn>
                <a:cxn ang="0">
                  <a:pos x="161" y="255"/>
                </a:cxn>
                <a:cxn ang="0">
                  <a:pos x="187" y="246"/>
                </a:cxn>
                <a:cxn ang="0">
                  <a:pos x="190" y="241"/>
                </a:cxn>
                <a:cxn ang="0">
                  <a:pos x="188" y="222"/>
                </a:cxn>
                <a:cxn ang="0">
                  <a:pos x="211" y="203"/>
                </a:cxn>
                <a:cxn ang="0">
                  <a:pos x="230" y="207"/>
                </a:cxn>
                <a:cxn ang="0">
                  <a:pos x="235" y="205"/>
                </a:cxn>
                <a:cxn ang="0">
                  <a:pos x="248" y="182"/>
                </a:cxn>
                <a:cxn ang="0">
                  <a:pos x="248" y="176"/>
                </a:cxn>
                <a:cxn ang="0">
                  <a:pos x="234" y="162"/>
                </a:cxn>
                <a:cxn ang="0">
                  <a:pos x="239" y="133"/>
                </a:cxn>
                <a:cxn ang="0">
                  <a:pos x="256" y="125"/>
                </a:cxn>
                <a:cxn ang="0">
                  <a:pos x="259" y="120"/>
                </a:cxn>
                <a:cxn ang="0">
                  <a:pos x="165" y="190"/>
                </a:cxn>
                <a:cxn ang="0">
                  <a:pos x="69" y="165"/>
                </a:cxn>
                <a:cxn ang="0">
                  <a:pos x="94" y="69"/>
                </a:cxn>
                <a:cxn ang="0">
                  <a:pos x="190" y="94"/>
                </a:cxn>
                <a:cxn ang="0">
                  <a:pos x="165" y="190"/>
                </a:cxn>
              </a:cxnLst>
              <a:rect l="0" t="0" r="r" b="b"/>
              <a:pathLst>
                <a:path w="259" h="256">
                  <a:moveTo>
                    <a:pt x="259" y="120"/>
                  </a:moveTo>
                  <a:cubicBezTo>
                    <a:pt x="259" y="118"/>
                    <a:pt x="254" y="94"/>
                    <a:pt x="254" y="93"/>
                  </a:cubicBezTo>
                  <a:cubicBezTo>
                    <a:pt x="254" y="91"/>
                    <a:pt x="252" y="89"/>
                    <a:pt x="250" y="89"/>
                  </a:cubicBezTo>
                  <a:cubicBezTo>
                    <a:pt x="247" y="89"/>
                    <a:pt x="233" y="88"/>
                    <a:pt x="231" y="87"/>
                  </a:cubicBezTo>
                  <a:cubicBezTo>
                    <a:pt x="227" y="78"/>
                    <a:pt x="222" y="70"/>
                    <a:pt x="216" y="62"/>
                  </a:cubicBezTo>
                  <a:cubicBezTo>
                    <a:pt x="217" y="60"/>
                    <a:pt x="223" y="47"/>
                    <a:pt x="224" y="44"/>
                  </a:cubicBezTo>
                  <a:cubicBezTo>
                    <a:pt x="225" y="42"/>
                    <a:pt x="224" y="40"/>
                    <a:pt x="222" y="39"/>
                  </a:cubicBezTo>
                  <a:cubicBezTo>
                    <a:pt x="222" y="38"/>
                    <a:pt x="203" y="22"/>
                    <a:pt x="202" y="22"/>
                  </a:cubicBezTo>
                  <a:cubicBezTo>
                    <a:pt x="200" y="20"/>
                    <a:pt x="198" y="20"/>
                    <a:pt x="196" y="21"/>
                  </a:cubicBezTo>
                  <a:cubicBezTo>
                    <a:pt x="194" y="23"/>
                    <a:pt x="182" y="31"/>
                    <a:pt x="180" y="32"/>
                  </a:cubicBezTo>
                  <a:cubicBezTo>
                    <a:pt x="172" y="27"/>
                    <a:pt x="162" y="24"/>
                    <a:pt x="152" y="22"/>
                  </a:cubicBezTo>
                  <a:cubicBezTo>
                    <a:pt x="152" y="20"/>
                    <a:pt x="148" y="6"/>
                    <a:pt x="147" y="4"/>
                  </a:cubicBezTo>
                  <a:cubicBezTo>
                    <a:pt x="147" y="2"/>
                    <a:pt x="145" y="0"/>
                    <a:pt x="14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3" y="0"/>
                    <a:pt x="112" y="2"/>
                    <a:pt x="111" y="4"/>
                  </a:cubicBezTo>
                  <a:cubicBezTo>
                    <a:pt x="110" y="7"/>
                    <a:pt x="107" y="20"/>
                    <a:pt x="106" y="22"/>
                  </a:cubicBezTo>
                  <a:cubicBezTo>
                    <a:pt x="96" y="24"/>
                    <a:pt x="87" y="28"/>
                    <a:pt x="78" y="32"/>
                  </a:cubicBezTo>
                  <a:cubicBezTo>
                    <a:pt x="76" y="31"/>
                    <a:pt x="65" y="23"/>
                    <a:pt x="62" y="22"/>
                  </a:cubicBezTo>
                  <a:cubicBezTo>
                    <a:pt x="61" y="21"/>
                    <a:pt x="58" y="20"/>
                    <a:pt x="56" y="22"/>
                  </a:cubicBezTo>
                  <a:cubicBezTo>
                    <a:pt x="56" y="23"/>
                    <a:pt x="37" y="38"/>
                    <a:pt x="36" y="39"/>
                  </a:cubicBezTo>
                  <a:cubicBezTo>
                    <a:pt x="34" y="41"/>
                    <a:pt x="34" y="43"/>
                    <a:pt x="35" y="45"/>
                  </a:cubicBezTo>
                  <a:cubicBezTo>
                    <a:pt x="36" y="48"/>
                    <a:pt x="42" y="60"/>
                    <a:pt x="43" y="62"/>
                  </a:cubicBezTo>
                  <a:cubicBezTo>
                    <a:pt x="37" y="70"/>
                    <a:pt x="32" y="79"/>
                    <a:pt x="28" y="88"/>
                  </a:cubicBezTo>
                  <a:cubicBezTo>
                    <a:pt x="25" y="88"/>
                    <a:pt x="12" y="90"/>
                    <a:pt x="9" y="90"/>
                  </a:cubicBezTo>
                  <a:cubicBezTo>
                    <a:pt x="7" y="90"/>
                    <a:pt x="5" y="91"/>
                    <a:pt x="5" y="94"/>
                  </a:cubicBezTo>
                  <a:cubicBezTo>
                    <a:pt x="4" y="95"/>
                    <a:pt x="0" y="119"/>
                    <a:pt x="0" y="120"/>
                  </a:cubicBezTo>
                  <a:cubicBezTo>
                    <a:pt x="0" y="123"/>
                    <a:pt x="1" y="125"/>
                    <a:pt x="3" y="126"/>
                  </a:cubicBezTo>
                  <a:cubicBezTo>
                    <a:pt x="6" y="127"/>
                    <a:pt x="18" y="133"/>
                    <a:pt x="20" y="134"/>
                  </a:cubicBezTo>
                  <a:cubicBezTo>
                    <a:pt x="20" y="144"/>
                    <a:pt x="22" y="154"/>
                    <a:pt x="25" y="163"/>
                  </a:cubicBezTo>
                  <a:cubicBezTo>
                    <a:pt x="24" y="165"/>
                    <a:pt x="14" y="175"/>
                    <a:pt x="12" y="177"/>
                  </a:cubicBezTo>
                  <a:cubicBezTo>
                    <a:pt x="10" y="178"/>
                    <a:pt x="10" y="180"/>
                    <a:pt x="11" y="183"/>
                  </a:cubicBezTo>
                  <a:cubicBezTo>
                    <a:pt x="12" y="184"/>
                    <a:pt x="24" y="205"/>
                    <a:pt x="25" y="206"/>
                  </a:cubicBezTo>
                  <a:cubicBezTo>
                    <a:pt x="26" y="208"/>
                    <a:pt x="28" y="208"/>
                    <a:pt x="30" y="208"/>
                  </a:cubicBezTo>
                  <a:cubicBezTo>
                    <a:pt x="33" y="207"/>
                    <a:pt x="46" y="204"/>
                    <a:pt x="49" y="203"/>
                  </a:cubicBezTo>
                  <a:cubicBezTo>
                    <a:pt x="55" y="210"/>
                    <a:pt x="63" y="217"/>
                    <a:pt x="71" y="222"/>
                  </a:cubicBezTo>
                  <a:cubicBezTo>
                    <a:pt x="71" y="224"/>
                    <a:pt x="70" y="238"/>
                    <a:pt x="70" y="241"/>
                  </a:cubicBezTo>
                  <a:cubicBezTo>
                    <a:pt x="70" y="243"/>
                    <a:pt x="71" y="245"/>
                    <a:pt x="73" y="246"/>
                  </a:cubicBezTo>
                  <a:cubicBezTo>
                    <a:pt x="74" y="247"/>
                    <a:pt x="97" y="255"/>
                    <a:pt x="98" y="255"/>
                  </a:cubicBezTo>
                  <a:cubicBezTo>
                    <a:pt x="101" y="256"/>
                    <a:pt x="103" y="255"/>
                    <a:pt x="104" y="254"/>
                  </a:cubicBezTo>
                  <a:cubicBezTo>
                    <a:pt x="106" y="251"/>
                    <a:pt x="114" y="240"/>
                    <a:pt x="115" y="238"/>
                  </a:cubicBezTo>
                  <a:cubicBezTo>
                    <a:pt x="120" y="239"/>
                    <a:pt x="125" y="239"/>
                    <a:pt x="130" y="239"/>
                  </a:cubicBezTo>
                  <a:cubicBezTo>
                    <a:pt x="135" y="239"/>
                    <a:pt x="140" y="239"/>
                    <a:pt x="145" y="238"/>
                  </a:cubicBezTo>
                  <a:cubicBezTo>
                    <a:pt x="146" y="240"/>
                    <a:pt x="154" y="251"/>
                    <a:pt x="156" y="253"/>
                  </a:cubicBezTo>
                  <a:cubicBezTo>
                    <a:pt x="157" y="255"/>
                    <a:pt x="159" y="256"/>
                    <a:pt x="161" y="255"/>
                  </a:cubicBezTo>
                  <a:cubicBezTo>
                    <a:pt x="163" y="255"/>
                    <a:pt x="186" y="246"/>
                    <a:pt x="187" y="246"/>
                  </a:cubicBezTo>
                  <a:cubicBezTo>
                    <a:pt x="189" y="245"/>
                    <a:pt x="190" y="243"/>
                    <a:pt x="190" y="241"/>
                  </a:cubicBezTo>
                  <a:cubicBezTo>
                    <a:pt x="190" y="238"/>
                    <a:pt x="188" y="224"/>
                    <a:pt x="188" y="222"/>
                  </a:cubicBezTo>
                  <a:cubicBezTo>
                    <a:pt x="197" y="216"/>
                    <a:pt x="204" y="210"/>
                    <a:pt x="211" y="203"/>
                  </a:cubicBezTo>
                  <a:cubicBezTo>
                    <a:pt x="213" y="203"/>
                    <a:pt x="227" y="207"/>
                    <a:pt x="230" y="207"/>
                  </a:cubicBezTo>
                  <a:cubicBezTo>
                    <a:pt x="231" y="208"/>
                    <a:pt x="234" y="207"/>
                    <a:pt x="235" y="205"/>
                  </a:cubicBezTo>
                  <a:cubicBezTo>
                    <a:pt x="235" y="204"/>
                    <a:pt x="248" y="183"/>
                    <a:pt x="248" y="182"/>
                  </a:cubicBezTo>
                  <a:cubicBezTo>
                    <a:pt x="249" y="180"/>
                    <a:pt x="249" y="178"/>
                    <a:pt x="248" y="176"/>
                  </a:cubicBezTo>
                  <a:cubicBezTo>
                    <a:pt x="245" y="174"/>
                    <a:pt x="236" y="164"/>
                    <a:pt x="234" y="162"/>
                  </a:cubicBezTo>
                  <a:cubicBezTo>
                    <a:pt x="237" y="153"/>
                    <a:pt x="239" y="143"/>
                    <a:pt x="239" y="133"/>
                  </a:cubicBezTo>
                  <a:cubicBezTo>
                    <a:pt x="241" y="132"/>
                    <a:pt x="254" y="126"/>
                    <a:pt x="256" y="125"/>
                  </a:cubicBezTo>
                  <a:cubicBezTo>
                    <a:pt x="258" y="124"/>
                    <a:pt x="259" y="122"/>
                    <a:pt x="259" y="120"/>
                  </a:cubicBezTo>
                  <a:close/>
                  <a:moveTo>
                    <a:pt x="165" y="190"/>
                  </a:moveTo>
                  <a:cubicBezTo>
                    <a:pt x="131" y="209"/>
                    <a:pt x="88" y="198"/>
                    <a:pt x="69" y="165"/>
                  </a:cubicBezTo>
                  <a:cubicBezTo>
                    <a:pt x="50" y="131"/>
                    <a:pt x="61" y="88"/>
                    <a:pt x="94" y="69"/>
                  </a:cubicBezTo>
                  <a:cubicBezTo>
                    <a:pt x="128" y="49"/>
                    <a:pt x="171" y="60"/>
                    <a:pt x="190" y="94"/>
                  </a:cubicBezTo>
                  <a:cubicBezTo>
                    <a:pt x="210" y="127"/>
                    <a:pt x="198" y="170"/>
                    <a:pt x="165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064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</p:grpSp>
      <p:sp>
        <p:nvSpPr>
          <p:cNvPr id="201" name="Freeform 132"/>
          <p:cNvSpPr>
            <a:spLocks/>
          </p:cNvSpPr>
          <p:nvPr/>
        </p:nvSpPr>
        <p:spPr bwMode="auto">
          <a:xfrm>
            <a:off x="7567928" y="6078776"/>
            <a:ext cx="87131" cy="77775"/>
          </a:xfrm>
          <a:custGeom>
            <a:avLst/>
            <a:gdLst/>
            <a:ahLst/>
            <a:cxnLst>
              <a:cxn ang="0">
                <a:pos x="139" y="98"/>
              </a:cxn>
              <a:cxn ang="0">
                <a:pos x="136" y="76"/>
              </a:cxn>
              <a:cxn ang="0">
                <a:pos x="177" y="36"/>
              </a:cxn>
              <a:cxn ang="0">
                <a:pos x="161" y="18"/>
              </a:cxn>
              <a:cxn ang="0">
                <a:pos x="121" y="61"/>
              </a:cxn>
              <a:cxn ang="0">
                <a:pos x="99" y="58"/>
              </a:cxn>
              <a:cxn ang="0">
                <a:pos x="70" y="0"/>
              </a:cxn>
              <a:cxn ang="0">
                <a:pos x="51" y="14"/>
              </a:cxn>
              <a:cxn ang="0">
                <a:pos x="80" y="67"/>
              </a:cxn>
              <a:cxn ang="0">
                <a:pos x="70" y="87"/>
              </a:cxn>
              <a:cxn ang="0">
                <a:pos x="1" y="97"/>
              </a:cxn>
              <a:cxn ang="0">
                <a:pos x="2" y="121"/>
              </a:cxn>
              <a:cxn ang="0">
                <a:pos x="73" y="108"/>
              </a:cxn>
              <a:cxn ang="0">
                <a:pos x="89" y="124"/>
              </a:cxn>
              <a:cxn ang="0">
                <a:pos x="79" y="182"/>
              </a:cxn>
              <a:cxn ang="0">
                <a:pos x="103" y="181"/>
              </a:cxn>
              <a:cxn ang="0">
                <a:pos x="110" y="127"/>
              </a:cxn>
              <a:cxn ang="0">
                <a:pos x="130" y="117"/>
              </a:cxn>
              <a:cxn ang="0">
                <a:pos x="180" y="143"/>
              </a:cxn>
              <a:cxn ang="0">
                <a:pos x="193" y="123"/>
              </a:cxn>
              <a:cxn ang="0">
                <a:pos x="139" y="98"/>
              </a:cxn>
            </a:cxnLst>
            <a:rect l="0" t="0" r="r" b="b"/>
            <a:pathLst>
              <a:path w="193" h="182">
                <a:moveTo>
                  <a:pt x="139" y="98"/>
                </a:moveTo>
                <a:cubicBezTo>
                  <a:pt x="128" y="93"/>
                  <a:pt x="127" y="85"/>
                  <a:pt x="136" y="76"/>
                </a:cubicBezTo>
                <a:cubicBezTo>
                  <a:pt x="141" y="71"/>
                  <a:pt x="161" y="51"/>
                  <a:pt x="177" y="36"/>
                </a:cubicBezTo>
                <a:cubicBezTo>
                  <a:pt x="172" y="30"/>
                  <a:pt x="167" y="24"/>
                  <a:pt x="161" y="18"/>
                </a:cubicBezTo>
                <a:cubicBezTo>
                  <a:pt x="146" y="35"/>
                  <a:pt x="126" y="56"/>
                  <a:pt x="121" y="61"/>
                </a:cubicBezTo>
                <a:cubicBezTo>
                  <a:pt x="112" y="70"/>
                  <a:pt x="104" y="69"/>
                  <a:pt x="99" y="58"/>
                </a:cubicBezTo>
                <a:cubicBezTo>
                  <a:pt x="95" y="50"/>
                  <a:pt x="80" y="20"/>
                  <a:pt x="70" y="0"/>
                </a:cubicBezTo>
                <a:cubicBezTo>
                  <a:pt x="63" y="4"/>
                  <a:pt x="57" y="9"/>
                  <a:pt x="51" y="14"/>
                </a:cubicBezTo>
                <a:cubicBezTo>
                  <a:pt x="62" y="34"/>
                  <a:pt x="76" y="60"/>
                  <a:pt x="80" y="67"/>
                </a:cubicBezTo>
                <a:cubicBezTo>
                  <a:pt x="86" y="78"/>
                  <a:pt x="82" y="85"/>
                  <a:pt x="70" y="87"/>
                </a:cubicBezTo>
                <a:cubicBezTo>
                  <a:pt x="61" y="89"/>
                  <a:pt x="23" y="94"/>
                  <a:pt x="1" y="97"/>
                </a:cubicBezTo>
                <a:cubicBezTo>
                  <a:pt x="0" y="105"/>
                  <a:pt x="0" y="113"/>
                  <a:pt x="2" y="121"/>
                </a:cubicBezTo>
                <a:cubicBezTo>
                  <a:pt x="23" y="117"/>
                  <a:pt x="64" y="109"/>
                  <a:pt x="73" y="108"/>
                </a:cubicBezTo>
                <a:cubicBezTo>
                  <a:pt x="85" y="106"/>
                  <a:pt x="91" y="111"/>
                  <a:pt x="89" y="124"/>
                </a:cubicBezTo>
                <a:cubicBezTo>
                  <a:pt x="88" y="131"/>
                  <a:pt x="83" y="160"/>
                  <a:pt x="79" y="182"/>
                </a:cubicBezTo>
                <a:cubicBezTo>
                  <a:pt x="87" y="182"/>
                  <a:pt x="95" y="182"/>
                  <a:pt x="103" y="181"/>
                </a:cubicBezTo>
                <a:cubicBezTo>
                  <a:pt x="106" y="159"/>
                  <a:pt x="109" y="134"/>
                  <a:pt x="110" y="127"/>
                </a:cubicBezTo>
                <a:cubicBezTo>
                  <a:pt x="111" y="115"/>
                  <a:pt x="119" y="111"/>
                  <a:pt x="130" y="117"/>
                </a:cubicBezTo>
                <a:cubicBezTo>
                  <a:pt x="136" y="120"/>
                  <a:pt x="161" y="133"/>
                  <a:pt x="180" y="143"/>
                </a:cubicBezTo>
                <a:cubicBezTo>
                  <a:pt x="186" y="137"/>
                  <a:pt x="190" y="130"/>
                  <a:pt x="193" y="123"/>
                </a:cubicBezTo>
                <a:cubicBezTo>
                  <a:pt x="172" y="114"/>
                  <a:pt x="146" y="101"/>
                  <a:pt x="139" y="9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829" tIns="60915" rIns="121829" bIns="60915" numCol="1" anchor="t" anchorCtr="0" compatLnSpc="1">
            <a:prstTxWarp prst="textNoShape">
              <a:avLst/>
            </a:prstTxWarp>
          </a:bodyPr>
          <a:lstStyle/>
          <a:p>
            <a:pPr defTabSz="452064"/>
            <a:endParaRPr lang="en-US" sz="2100" dirty="0">
              <a:solidFill>
                <a:srgbClr val="0096D6"/>
              </a:solidFill>
              <a:latin typeface="Calibri"/>
              <a:ea typeface="ＭＳ Ｐゴシック" pitchFamily="34" charset="-128"/>
            </a:endParaRPr>
          </a:p>
        </p:txBody>
      </p:sp>
      <p:grpSp>
        <p:nvGrpSpPr>
          <p:cNvPr id="202" name="Group 201"/>
          <p:cNvGrpSpPr/>
          <p:nvPr/>
        </p:nvGrpSpPr>
        <p:grpSpPr>
          <a:xfrm>
            <a:off x="5799162" y="4855306"/>
            <a:ext cx="2258976" cy="1051993"/>
            <a:chOff x="4349311" y="3641465"/>
            <a:chExt cx="1694673" cy="788995"/>
          </a:xfrm>
        </p:grpSpPr>
        <p:cxnSp>
          <p:nvCxnSpPr>
            <p:cNvPr id="203" name="Elbow Connector 202"/>
            <p:cNvCxnSpPr>
              <a:endCxn id="206" idx="0"/>
            </p:cNvCxnSpPr>
            <p:nvPr/>
          </p:nvCxnSpPr>
          <p:spPr bwMode="auto">
            <a:xfrm>
              <a:off x="4349311" y="3641465"/>
              <a:ext cx="1334673" cy="60884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204" name="Group 203"/>
            <p:cNvGrpSpPr/>
            <p:nvPr/>
          </p:nvGrpSpPr>
          <p:grpSpPr>
            <a:xfrm>
              <a:off x="5323984" y="4241313"/>
              <a:ext cx="720000" cy="189147"/>
              <a:chOff x="1470993" y="2648578"/>
              <a:chExt cx="720000" cy="189147"/>
            </a:xfrm>
          </p:grpSpPr>
          <p:sp>
            <p:nvSpPr>
              <p:cNvPr id="205" name="Rounded Rectangle 41"/>
              <p:cNvSpPr/>
              <p:nvPr/>
            </p:nvSpPr>
            <p:spPr>
              <a:xfrm>
                <a:off x="1548156" y="2648578"/>
                <a:ext cx="567692" cy="189147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lIns="91440" tIns="45720" rIns="91440" bIns="45720" rtlCol="0" anchor="ctr"/>
              <a:lstStyle/>
              <a:p>
                <a:pPr algn="ctr" defTabSz="452064"/>
                <a:endParaRPr lang="en-US" sz="210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206" name="Rectangle 205"/>
              <p:cNvSpPr/>
              <p:nvPr/>
            </p:nvSpPr>
            <p:spPr>
              <a:xfrm>
                <a:off x="1470993" y="2657576"/>
                <a:ext cx="720000" cy="155245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67853" tIns="33916" rIns="67853" bIns="33916" anchor="ctr">
                <a:spAutoFit/>
              </a:bodyPr>
              <a:lstStyle/>
              <a:p>
                <a:pPr algn="ctr" defTabSz="1075824"/>
                <a:r>
                  <a:rPr lang="en-US" sz="900" dirty="0">
                    <a:solidFill>
                      <a:schemeClr val="bg1"/>
                    </a:solidFill>
                    <a:latin typeface="+mj-lt"/>
                  </a:rPr>
                  <a:t>Virtual Switch</a:t>
                </a:r>
              </a:p>
            </p:txBody>
          </p:sp>
        </p:grpSp>
      </p:grpSp>
      <p:graphicFrame>
        <p:nvGraphicFramePr>
          <p:cNvPr id="214" name="Table 213"/>
          <p:cNvGraphicFramePr>
            <a:graphicFrameLocks noGrp="1"/>
          </p:cNvGraphicFramePr>
          <p:nvPr>
            <p:extLst/>
          </p:nvPr>
        </p:nvGraphicFramePr>
        <p:xfrm>
          <a:off x="6118845" y="3883777"/>
          <a:ext cx="2136885" cy="6096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1/8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17" name="Straight Connector 216"/>
          <p:cNvCxnSpPr>
            <a:stCxn id="134" idx="6"/>
          </p:cNvCxnSpPr>
          <p:nvPr/>
        </p:nvCxnSpPr>
        <p:spPr bwMode="auto">
          <a:xfrm flipH="1" flipV="1">
            <a:off x="5747064" y="2959169"/>
            <a:ext cx="2578436" cy="168937"/>
          </a:xfrm>
          <a:prstGeom prst="line">
            <a:avLst/>
          </a:prstGeom>
          <a:ln>
            <a:headEnd type="none" w="med" len="med"/>
            <a:tailEnd type="none" w="med" len="med"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139" name="Group 138"/>
          <p:cNvGrpSpPr/>
          <p:nvPr/>
        </p:nvGrpSpPr>
        <p:grpSpPr>
          <a:xfrm>
            <a:off x="8081721" y="2725594"/>
            <a:ext cx="820222" cy="805025"/>
            <a:chOff x="6096000" y="3257550"/>
            <a:chExt cx="615327" cy="603769"/>
          </a:xfrm>
        </p:grpSpPr>
        <p:grpSp>
          <p:nvGrpSpPr>
            <p:cNvPr id="133" name="Group 132"/>
            <p:cNvGrpSpPr/>
            <p:nvPr/>
          </p:nvGrpSpPr>
          <p:grpSpPr>
            <a:xfrm>
              <a:off x="6096000" y="3257550"/>
              <a:ext cx="615327" cy="603769"/>
              <a:chOff x="3048000" y="3676650"/>
              <a:chExt cx="615327" cy="603769"/>
            </a:xfrm>
          </p:grpSpPr>
          <p:pic>
            <p:nvPicPr>
              <p:cNvPr id="135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36" name="Group 135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37" name="Hexagon 136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38" name="TextBox 137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2</a:t>
                  </a:r>
                </a:p>
              </p:txBody>
            </p:sp>
          </p:grpSp>
        </p:grpSp>
        <p:sp>
          <p:nvSpPr>
            <p:cNvPr id="134" name="Oval 133"/>
            <p:cNvSpPr>
              <a:spLocks noChangeAspect="1"/>
            </p:cNvSpPr>
            <p:nvPr/>
          </p:nvSpPr>
          <p:spPr bwMode="auto">
            <a:xfrm>
              <a:off x="6096000" y="3467994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sp>
        <p:nvSpPr>
          <p:cNvPr id="218" name="Freeform 6"/>
          <p:cNvSpPr>
            <a:spLocks noChangeAspect="1"/>
          </p:cNvSpPr>
          <p:nvPr/>
        </p:nvSpPr>
        <p:spPr bwMode="auto">
          <a:xfrm>
            <a:off x="4522630" y="1922044"/>
            <a:ext cx="3146743" cy="18288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ln/>
          <a:scene3d>
            <a:camera prst="isometricTopUp"/>
            <a:lightRig rig="threePt" dir="t"/>
          </a:scene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121829" tIns="60915" rIns="121829" bIns="60915" numCol="1" anchor="ctr" anchorCtr="0" compatLnSpc="1">
            <a:prstTxWarp prst="textNoShape">
              <a:avLst/>
            </a:prstTxWarp>
          </a:bodyPr>
          <a:lstStyle/>
          <a:p>
            <a:pPr algn="ctr" defTabSz="1218073"/>
            <a:endParaRPr lang="en-US" sz="1900" dirty="0">
              <a:cs typeface="Cambria"/>
            </a:endParaRPr>
          </a:p>
          <a:p>
            <a:pPr algn="ctr" defTabSz="1218073"/>
            <a:r>
              <a:rPr lang="en-US" sz="1900" dirty="0">
                <a:cs typeface="Cambria"/>
              </a:rPr>
              <a:t>Destination Group</a:t>
            </a:r>
          </a:p>
          <a:p>
            <a:pPr algn="ctr" defTabSz="1218073"/>
            <a:r>
              <a:rPr lang="en-US" sz="1900" dirty="0">
                <a:cs typeface="Cambria"/>
              </a:rPr>
              <a:t>239.1.1.1</a:t>
            </a:r>
          </a:p>
          <a:p>
            <a:pPr algn="ctr" defTabSz="1218073"/>
            <a:r>
              <a:rPr lang="en-US" sz="1500" dirty="0">
                <a:cs typeface="Cambria"/>
              </a:rPr>
              <a:t>(01:00:5E:01:01:01)</a:t>
            </a:r>
          </a:p>
        </p:txBody>
      </p:sp>
      <p:grpSp>
        <p:nvGrpSpPr>
          <p:cNvPr id="227" name="Group 226"/>
          <p:cNvGrpSpPr/>
          <p:nvPr/>
        </p:nvGrpSpPr>
        <p:grpSpPr>
          <a:xfrm>
            <a:off x="1481112" y="3221912"/>
            <a:ext cx="2232700" cy="1832688"/>
            <a:chOff x="1109932" y="2416434"/>
            <a:chExt cx="1674961" cy="1374516"/>
          </a:xfrm>
        </p:grpSpPr>
        <p:cxnSp>
          <p:nvCxnSpPr>
            <p:cNvPr id="228" name="Elbow Connector 227"/>
            <p:cNvCxnSpPr>
              <a:endCxn id="232" idx="0"/>
            </p:cNvCxnSpPr>
            <p:nvPr/>
          </p:nvCxnSpPr>
          <p:spPr bwMode="auto">
            <a:xfrm rot="10800000" flipV="1">
              <a:off x="1567133" y="2416434"/>
              <a:ext cx="1217760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229" name="Group 228"/>
            <p:cNvGrpSpPr>
              <a:grpSpLocks noChangeAspect="1"/>
            </p:cNvGrpSpPr>
            <p:nvPr/>
          </p:nvGrpSpPr>
          <p:grpSpPr>
            <a:xfrm>
              <a:off x="1334355" y="2647950"/>
              <a:ext cx="465555" cy="764988"/>
              <a:chOff x="807667" y="2504215"/>
              <a:chExt cx="359997" cy="591541"/>
            </a:xfrm>
          </p:grpSpPr>
          <p:pic>
            <p:nvPicPr>
              <p:cNvPr id="232" name="Picture 2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34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235" name="Rounded Rectangle 234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064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236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239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40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42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237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064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sp>
          <p:nvSpPr>
            <p:cNvPr id="231" name="Rounded Rectangle 41"/>
            <p:cNvSpPr/>
            <p:nvPr/>
          </p:nvSpPr>
          <p:spPr>
            <a:xfrm>
              <a:off x="1109932" y="34778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A</a:t>
              </a:r>
            </a:p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A / IP_A</a:t>
              </a:r>
            </a:p>
          </p:txBody>
        </p:sp>
      </p:grpSp>
      <p:sp>
        <p:nvSpPr>
          <p:cNvPr id="245" name="Rounded Rectangle 41"/>
          <p:cNvSpPr/>
          <p:nvPr/>
        </p:nvSpPr>
        <p:spPr>
          <a:xfrm>
            <a:off x="6466762" y="62627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29" tIns="60915" rIns="121829" bIns="60915" rtlCol="0" anchor="ctr"/>
          <a:lstStyle/>
          <a:p>
            <a:pPr algn="ctr" defTabSz="685316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C</a:t>
            </a:r>
          </a:p>
          <a:p>
            <a:pPr algn="ctr" defTabSz="685316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C / IP_C</a:t>
            </a:r>
          </a:p>
        </p:txBody>
      </p:sp>
    </p:spTree>
    <p:extLst>
      <p:ext uri="{BB962C8B-B14F-4D97-AF65-F5344CB8AC3E}">
        <p14:creationId xmlns:p14="http://schemas.microsoft.com/office/powerpoint/2010/main" val="687943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9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LAN Packet </a:t>
            </a:r>
            <a:r>
              <a:rPr lang="en-US" dirty="0" smtClean="0"/>
              <a:t>Forwarding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VXLAN </a:t>
            </a:r>
            <a:r>
              <a:rPr lang="en-US" dirty="0" err="1" smtClean="0"/>
              <a:t>Flood&amp;Lear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23</a:t>
            </a:fld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81112" y="3221912"/>
            <a:ext cx="2232700" cy="1832688"/>
            <a:chOff x="1109932" y="2416434"/>
            <a:chExt cx="1674961" cy="1374516"/>
          </a:xfrm>
        </p:grpSpPr>
        <p:cxnSp>
          <p:nvCxnSpPr>
            <p:cNvPr id="116" name="Elbow Connector 115"/>
            <p:cNvCxnSpPr>
              <a:stCxn id="2" idx="3"/>
              <a:endCxn id="99" idx="0"/>
            </p:cNvCxnSpPr>
            <p:nvPr/>
          </p:nvCxnSpPr>
          <p:spPr bwMode="auto">
            <a:xfrm rot="10800000" flipV="1">
              <a:off x="1567133" y="2416434"/>
              <a:ext cx="1217760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4355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064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064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sp>
          <p:nvSpPr>
            <p:cNvPr id="124" name="Rounded Rectangle 41"/>
            <p:cNvSpPr/>
            <p:nvPr/>
          </p:nvSpPr>
          <p:spPr>
            <a:xfrm>
              <a:off x="1109932" y="34778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A</a:t>
              </a:r>
            </a:p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A / IP_A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699060" y="3128100"/>
            <a:ext cx="2647061" cy="2028113"/>
            <a:chOff x="6524789" y="2346065"/>
            <a:chExt cx="1985813" cy="1521085"/>
          </a:xfrm>
        </p:grpSpPr>
        <p:grpSp>
          <p:nvGrpSpPr>
            <p:cNvPr id="60" name="Group 59"/>
            <p:cNvGrpSpPr>
              <a:grpSpLocks noChangeAspect="1"/>
            </p:cNvGrpSpPr>
            <p:nvPr/>
          </p:nvGrpSpPr>
          <p:grpSpPr>
            <a:xfrm>
              <a:off x="7820625" y="2715826"/>
              <a:ext cx="465555" cy="764988"/>
              <a:chOff x="807667" y="2504215"/>
              <a:chExt cx="359997" cy="591541"/>
            </a:xfrm>
          </p:grpSpPr>
          <p:pic>
            <p:nvPicPr>
              <p:cNvPr id="61" name="Picture 2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62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63" name="Rounded Rectangle 62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064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64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66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064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65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064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cxnSp>
          <p:nvCxnSpPr>
            <p:cNvPr id="119" name="Elbow Connector 118"/>
            <p:cNvCxnSpPr>
              <a:stCxn id="137" idx="0"/>
              <a:endCxn id="61" idx="0"/>
            </p:cNvCxnSpPr>
            <p:nvPr/>
          </p:nvCxnSpPr>
          <p:spPr bwMode="auto">
            <a:xfrm>
              <a:off x="6524789" y="2346065"/>
              <a:ext cx="1528614" cy="369761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2" name="Rounded Rectangle 41"/>
            <p:cNvSpPr/>
            <p:nvPr/>
          </p:nvSpPr>
          <p:spPr>
            <a:xfrm>
              <a:off x="7596202" y="3554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B</a:t>
              </a:r>
            </a:p>
            <a:p>
              <a:pPr algn="ctr" defTabSz="685316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B / IP_B</a:t>
              </a:r>
            </a:p>
          </p:txBody>
        </p:sp>
      </p:grpSp>
      <p:cxnSp>
        <p:nvCxnSpPr>
          <p:cNvPr id="194" name="Straight Connector 193"/>
          <p:cNvCxnSpPr>
            <a:stCxn id="127" idx="6"/>
          </p:cNvCxnSpPr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>
            <a:stCxn id="142" idx="0"/>
          </p:cNvCxnSpPr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>
            <a:endCxn id="134" idx="1"/>
          </p:cNvCxnSpPr>
          <p:nvPr/>
        </p:nvCxnSpPr>
        <p:spPr bwMode="auto">
          <a:xfrm>
            <a:off x="5596335" y="2283870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>
            <a:stCxn id="127" idx="6"/>
          </p:cNvCxnSpPr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>
            <a:stCxn id="127" idx="6"/>
          </p:cNvCxnSpPr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>
            <a:stCxn id="127" idx="6"/>
          </p:cNvCxnSpPr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>
            <a:stCxn id="142" idx="0"/>
          </p:cNvCxnSpPr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>
            <a:stCxn id="142" idx="0"/>
          </p:cNvCxnSpPr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>
            <a:stCxn id="142" idx="0"/>
          </p:cNvCxnSpPr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>
            <a:endCxn id="134" idx="1"/>
          </p:cNvCxnSpPr>
          <p:nvPr/>
        </p:nvCxnSpPr>
        <p:spPr bwMode="auto">
          <a:xfrm>
            <a:off x="6239653" y="2283870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>
            <a:endCxn id="134" idx="1"/>
          </p:cNvCxnSpPr>
          <p:nvPr/>
        </p:nvCxnSpPr>
        <p:spPr bwMode="auto">
          <a:xfrm>
            <a:off x="6882933" y="2283870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>
            <a:endCxn id="134" idx="1"/>
          </p:cNvCxnSpPr>
          <p:nvPr/>
        </p:nvCxnSpPr>
        <p:spPr bwMode="auto">
          <a:xfrm>
            <a:off x="7526251" y="2283870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29" tIns="60915" rIns="121829" bIns="60915" numCol="1" anchor="ctr" anchorCtr="0" compatLnSpc="1">
            <a:prstTxWarp prst="textNoShape">
              <a:avLst/>
            </a:prstTxWarp>
          </a:bodyPr>
          <a:lstStyle/>
          <a:p>
            <a:pPr algn="ctr" defTabSz="1218073"/>
            <a:endParaRPr lang="en-US" sz="3200" dirty="0">
              <a:cs typeface="Cambria"/>
            </a:endParaRPr>
          </a:p>
        </p:txBody>
      </p:sp>
      <p:grpSp>
        <p:nvGrpSpPr>
          <p:cNvPr id="147" name="Group 146"/>
          <p:cNvGrpSpPr/>
          <p:nvPr/>
        </p:nvGrpSpPr>
        <p:grpSpPr>
          <a:xfrm>
            <a:off x="5181839" y="4351194"/>
            <a:ext cx="820222" cy="906625"/>
            <a:chOff x="4953000" y="1123950"/>
            <a:chExt cx="615327" cy="679969"/>
          </a:xfrm>
        </p:grpSpPr>
        <p:grpSp>
          <p:nvGrpSpPr>
            <p:cNvPr id="141" name="Group 140"/>
            <p:cNvGrpSpPr/>
            <p:nvPr/>
          </p:nvGrpSpPr>
          <p:grpSpPr>
            <a:xfrm>
              <a:off x="4953000" y="1200150"/>
              <a:ext cx="615327" cy="603769"/>
              <a:chOff x="3048000" y="3676650"/>
              <a:chExt cx="615327" cy="603769"/>
            </a:xfrm>
          </p:grpSpPr>
          <p:pic>
            <p:nvPicPr>
              <p:cNvPr id="143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44" name="Group 143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45" name="Hexagon 144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46" name="TextBox 145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3</a:t>
                  </a:r>
                </a:p>
              </p:txBody>
            </p:sp>
          </p:grpSp>
        </p:grpSp>
        <p:sp>
          <p:nvSpPr>
            <p:cNvPr id="142" name="Oval 141"/>
            <p:cNvSpPr>
              <a:spLocks noChangeAspect="1"/>
            </p:cNvSpPr>
            <p:nvPr/>
          </p:nvSpPr>
          <p:spPr bwMode="auto">
            <a:xfrm>
              <a:off x="5169223" y="1123950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869379" y="3395575"/>
            <a:ext cx="1552521" cy="670039"/>
            <a:chOff x="6652575" y="2546666"/>
            <a:chExt cx="1164694" cy="502528"/>
          </a:xfrm>
        </p:grpSpPr>
        <p:grpSp>
          <p:nvGrpSpPr>
            <p:cNvPr id="313" name="Group 312"/>
            <p:cNvGrpSpPr/>
            <p:nvPr/>
          </p:nvGrpSpPr>
          <p:grpSpPr>
            <a:xfrm>
              <a:off x="7280668" y="2758146"/>
              <a:ext cx="267465" cy="291048"/>
              <a:chOff x="1293288" y="1515133"/>
              <a:chExt cx="267465" cy="291048"/>
            </a:xfrm>
          </p:grpSpPr>
          <p:sp>
            <p:nvSpPr>
              <p:cNvPr id="314" name="Oval 313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16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315" name="TextBox 314"/>
              <p:cNvSpPr txBox="1"/>
              <p:nvPr/>
            </p:nvSpPr>
            <p:spPr>
              <a:xfrm>
                <a:off x="1306923" y="1515133"/>
                <a:ext cx="240194" cy="28854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cxnSp>
          <p:nvCxnSpPr>
            <p:cNvPr id="321" name="Straight Arrow Connector 320"/>
            <p:cNvCxnSpPr/>
            <p:nvPr/>
          </p:nvCxnSpPr>
          <p:spPr bwMode="auto">
            <a:xfrm>
              <a:off x="6652575" y="2546666"/>
              <a:ext cx="1164694" cy="269801"/>
            </a:xfrm>
            <a:prstGeom prst="straightConnector1">
              <a:avLst/>
            </a:prstGeom>
            <a:ln>
              <a:headEnd type="none" w="lg" len="lg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graphicFrame>
        <p:nvGraphicFramePr>
          <p:cNvPr id="52" name="Table 51"/>
          <p:cNvGraphicFramePr>
            <a:graphicFrameLocks noGrp="1"/>
          </p:cNvGraphicFramePr>
          <p:nvPr>
            <p:extLst/>
          </p:nvPr>
        </p:nvGraphicFramePr>
        <p:xfrm>
          <a:off x="8319569" y="1741748"/>
          <a:ext cx="2136885" cy="9144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B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1/4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A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</a:t>
                      </a:r>
                      <a:r>
                        <a:rPr lang="en-US" sz="1200" baseline="0" dirty="0" smtClean="0"/>
                        <a:t>1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25" name="Table 324"/>
          <p:cNvGraphicFramePr>
            <a:graphicFrameLocks noGrp="1"/>
          </p:cNvGraphicFramePr>
          <p:nvPr>
            <p:extLst/>
          </p:nvPr>
        </p:nvGraphicFramePr>
        <p:xfrm>
          <a:off x="2873993" y="1813349"/>
          <a:ext cx="2136885" cy="91440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A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E1/1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C_B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49" name="Straight Connector 148"/>
          <p:cNvCxnSpPr>
            <a:endCxn id="138" idx="1"/>
          </p:cNvCxnSpPr>
          <p:nvPr/>
        </p:nvCxnSpPr>
        <p:spPr bwMode="auto">
          <a:xfrm flipV="1">
            <a:off x="4032134" y="3125756"/>
            <a:ext cx="4319960" cy="100067"/>
          </a:xfrm>
          <a:prstGeom prst="line">
            <a:avLst/>
          </a:prstGeom>
          <a:solidFill>
            <a:srgbClr val="0183B7"/>
          </a:solidFill>
          <a:ln w="762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grpSp>
        <p:nvGrpSpPr>
          <p:cNvPr id="139" name="Group 138"/>
          <p:cNvGrpSpPr/>
          <p:nvPr/>
        </p:nvGrpSpPr>
        <p:grpSpPr>
          <a:xfrm>
            <a:off x="8081721" y="2725594"/>
            <a:ext cx="820222" cy="805025"/>
            <a:chOff x="6096000" y="3257550"/>
            <a:chExt cx="615327" cy="603769"/>
          </a:xfrm>
        </p:grpSpPr>
        <p:grpSp>
          <p:nvGrpSpPr>
            <p:cNvPr id="133" name="Group 132"/>
            <p:cNvGrpSpPr/>
            <p:nvPr/>
          </p:nvGrpSpPr>
          <p:grpSpPr>
            <a:xfrm>
              <a:off x="6096000" y="3257550"/>
              <a:ext cx="615327" cy="603769"/>
              <a:chOff x="3048000" y="3676650"/>
              <a:chExt cx="615327" cy="603769"/>
            </a:xfrm>
          </p:grpSpPr>
          <p:pic>
            <p:nvPicPr>
              <p:cNvPr id="135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36" name="Group 135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37" name="Hexagon 136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38" name="TextBox 137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2</a:t>
                  </a:r>
                </a:p>
              </p:txBody>
            </p:sp>
          </p:grpSp>
        </p:grpSp>
        <p:sp>
          <p:nvSpPr>
            <p:cNvPr id="134" name="Oval 133"/>
            <p:cNvSpPr>
              <a:spLocks noChangeAspect="1"/>
            </p:cNvSpPr>
            <p:nvPr/>
          </p:nvSpPr>
          <p:spPr bwMode="auto">
            <a:xfrm>
              <a:off x="6096000" y="3467994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3510912" y="2819419"/>
            <a:ext cx="820222" cy="805025"/>
            <a:chOff x="3048000" y="2791272"/>
            <a:chExt cx="615327" cy="603769"/>
          </a:xfrm>
        </p:grpSpPr>
        <p:grpSp>
          <p:nvGrpSpPr>
            <p:cNvPr id="130" name="Group 129"/>
            <p:cNvGrpSpPr/>
            <p:nvPr/>
          </p:nvGrpSpPr>
          <p:grpSpPr>
            <a:xfrm>
              <a:off x="3048000" y="2791272"/>
              <a:ext cx="615327" cy="603769"/>
              <a:chOff x="3048000" y="3676650"/>
              <a:chExt cx="615327" cy="603769"/>
            </a:xfrm>
          </p:grpSpPr>
          <p:pic>
            <p:nvPicPr>
              <p:cNvPr id="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5" name="Group 4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2" name="Hexagon 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4" name="TextBox 3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1</a:t>
                  </a:r>
                </a:p>
              </p:txBody>
            </p:sp>
          </p:grpSp>
        </p:grpSp>
        <p:sp>
          <p:nvSpPr>
            <p:cNvPr id="127" name="Oval 126"/>
            <p:cNvSpPr>
              <a:spLocks noChangeAspect="1"/>
            </p:cNvSpPr>
            <p:nvPr/>
          </p:nvSpPr>
          <p:spPr bwMode="auto">
            <a:xfrm>
              <a:off x="3480447" y="3001716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16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cxnSp>
        <p:nvCxnSpPr>
          <p:cNvPr id="150" name="Straight Arrow Connector 149"/>
          <p:cNvCxnSpPr/>
          <p:nvPr/>
        </p:nvCxnSpPr>
        <p:spPr bwMode="auto">
          <a:xfrm flipV="1">
            <a:off x="4282004" y="3386795"/>
            <a:ext cx="3797975" cy="70191"/>
          </a:xfrm>
          <a:prstGeom prst="straightConnector1">
            <a:avLst/>
          </a:prstGeom>
          <a:ln>
            <a:headEnd type="none" w="lg" len="lg"/>
            <a:tailEnd type="arrow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pSp>
        <p:nvGrpSpPr>
          <p:cNvPr id="159" name="Group 158"/>
          <p:cNvGrpSpPr/>
          <p:nvPr/>
        </p:nvGrpSpPr>
        <p:grpSpPr>
          <a:xfrm>
            <a:off x="663718" y="2679616"/>
            <a:ext cx="1747971" cy="768143"/>
            <a:chOff x="3478216" y="1224109"/>
            <a:chExt cx="1596428" cy="576107"/>
          </a:xfrm>
        </p:grpSpPr>
        <p:sp>
          <p:nvSpPr>
            <p:cNvPr id="160" name="Rounded Rectangle 159"/>
            <p:cNvSpPr/>
            <p:nvPr>
              <p:custDataLst>
                <p:tags r:id="rId19"/>
              </p:custDataLst>
            </p:nvPr>
          </p:nvSpPr>
          <p:spPr bwMode="auto">
            <a:xfrm>
              <a:off x="3478216" y="1525896"/>
              <a:ext cx="1596428" cy="274320"/>
            </a:xfrm>
            <a:prstGeom prst="roundRect">
              <a:avLst>
                <a:gd name="adj" fmla="val 4036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IP: IP_A</a:t>
              </a:r>
            </a:p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IP: IP_B</a:t>
              </a:r>
            </a:p>
          </p:txBody>
        </p:sp>
        <p:sp>
          <p:nvSpPr>
            <p:cNvPr id="161" name="Rounded Rectangle 160"/>
            <p:cNvSpPr/>
            <p:nvPr>
              <p:custDataLst>
                <p:tags r:id="rId20"/>
              </p:custDataLst>
            </p:nvPr>
          </p:nvSpPr>
          <p:spPr bwMode="auto">
            <a:xfrm>
              <a:off x="3478216" y="1224109"/>
              <a:ext cx="1596428" cy="274320"/>
            </a:xfrm>
            <a:prstGeom prst="roundRect">
              <a:avLst>
                <a:gd name="adj" fmla="val 4036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MAC: MAC_A</a:t>
              </a:r>
            </a:p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MAC: MAC_B</a:t>
              </a: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2325985" y="3337543"/>
            <a:ext cx="1271839" cy="388064"/>
            <a:chOff x="1743751" y="2503115"/>
            <a:chExt cx="954128" cy="291048"/>
          </a:xfrm>
        </p:grpSpPr>
        <p:cxnSp>
          <p:nvCxnSpPr>
            <p:cNvPr id="171" name="Straight Arrow Connector 170"/>
            <p:cNvCxnSpPr/>
            <p:nvPr/>
          </p:nvCxnSpPr>
          <p:spPr bwMode="auto">
            <a:xfrm flipV="1">
              <a:off x="1743751" y="2612467"/>
              <a:ext cx="954128" cy="72386"/>
            </a:xfrm>
            <a:prstGeom prst="straightConnector1">
              <a:avLst/>
            </a:prstGeom>
            <a:ln>
              <a:headEnd type="none" w="med" len="med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72" name="Group 171"/>
            <p:cNvGrpSpPr/>
            <p:nvPr/>
          </p:nvGrpSpPr>
          <p:grpSpPr>
            <a:xfrm>
              <a:off x="1829566" y="2503115"/>
              <a:ext cx="267465" cy="291048"/>
              <a:chOff x="1293288" y="1515133"/>
              <a:chExt cx="267465" cy="291048"/>
            </a:xfrm>
          </p:grpSpPr>
          <p:sp>
            <p:nvSpPr>
              <p:cNvPr id="173" name="Oval 172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16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1306923" y="1515133"/>
                <a:ext cx="240195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201" name="Group 200"/>
          <p:cNvGrpSpPr/>
          <p:nvPr/>
        </p:nvGrpSpPr>
        <p:grpSpPr>
          <a:xfrm>
            <a:off x="9714014" y="2716111"/>
            <a:ext cx="1747971" cy="768143"/>
            <a:chOff x="3478216" y="1224109"/>
            <a:chExt cx="1596428" cy="576107"/>
          </a:xfrm>
        </p:grpSpPr>
        <p:sp>
          <p:nvSpPr>
            <p:cNvPr id="202" name="Rounded Rectangle 201"/>
            <p:cNvSpPr/>
            <p:nvPr>
              <p:custDataLst>
                <p:tags r:id="rId17"/>
              </p:custDataLst>
            </p:nvPr>
          </p:nvSpPr>
          <p:spPr bwMode="auto">
            <a:xfrm>
              <a:off x="3478216" y="1525896"/>
              <a:ext cx="1596428" cy="274320"/>
            </a:xfrm>
            <a:prstGeom prst="roundRect">
              <a:avLst>
                <a:gd name="adj" fmla="val 4036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IP: IP_A</a:t>
              </a:r>
            </a:p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IP: IP_B</a:t>
              </a:r>
            </a:p>
          </p:txBody>
        </p:sp>
        <p:sp>
          <p:nvSpPr>
            <p:cNvPr id="203" name="Rounded Rectangle 202"/>
            <p:cNvSpPr/>
            <p:nvPr>
              <p:custDataLst>
                <p:tags r:id="rId18"/>
              </p:custDataLst>
            </p:nvPr>
          </p:nvSpPr>
          <p:spPr bwMode="auto">
            <a:xfrm>
              <a:off x="3478216" y="1224109"/>
              <a:ext cx="1596428" cy="274320"/>
            </a:xfrm>
            <a:prstGeom prst="roundRect">
              <a:avLst>
                <a:gd name="adj" fmla="val 4036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MAC: MAC_A</a:t>
              </a:r>
            </a:p>
            <a:p>
              <a:pPr defTabSz="685316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MAC: MAC_B</a:t>
              </a: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2957521" y="3574814"/>
            <a:ext cx="1952354" cy="2531913"/>
            <a:chOff x="2217527" y="2681096"/>
            <a:chExt cx="1464647" cy="1898935"/>
          </a:xfrm>
        </p:grpSpPr>
        <p:grpSp>
          <p:nvGrpSpPr>
            <p:cNvPr id="132" name="Group 131"/>
            <p:cNvGrpSpPr/>
            <p:nvPr/>
          </p:nvGrpSpPr>
          <p:grpSpPr>
            <a:xfrm>
              <a:off x="2217527" y="2917661"/>
              <a:ext cx="1464647" cy="1662370"/>
              <a:chOff x="2217527" y="2917661"/>
              <a:chExt cx="1464647" cy="1662370"/>
            </a:xfrm>
          </p:grpSpPr>
          <p:grpSp>
            <p:nvGrpSpPr>
              <p:cNvPr id="152" name="Group 151"/>
              <p:cNvGrpSpPr/>
              <p:nvPr/>
            </p:nvGrpSpPr>
            <p:grpSpPr>
              <a:xfrm>
                <a:off x="2217527" y="2917661"/>
                <a:ext cx="1464647" cy="809744"/>
                <a:chOff x="2217527" y="2917661"/>
                <a:chExt cx="1464647" cy="809744"/>
              </a:xfrm>
            </p:grpSpPr>
            <p:sp>
              <p:nvSpPr>
                <p:cNvPr id="164" name="Rounded Rectangle 163"/>
                <p:cNvSpPr/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2217527" y="2917661"/>
                  <a:ext cx="1464638" cy="809744"/>
                </a:xfrm>
                <a:prstGeom prst="roundRect">
                  <a:avLst>
                    <a:gd name="adj" fmla="val 4036"/>
                  </a:avLst>
                </a:prstGeom>
                <a:solidFill>
                  <a:schemeClr val="bg1">
                    <a:lumMod val="85000"/>
                  </a:schemeClr>
                </a:solidFill>
                <a:ln w="3175" cmpd="sng">
                  <a:solidFill>
                    <a:schemeClr val="tx1"/>
                  </a:solidFill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218073"/>
                  <a:endParaRPr lang="en-US" sz="3200" dirty="0">
                    <a:cs typeface="Cambria"/>
                    <a:sym typeface="Arial" pitchFamily="-107" charset="0"/>
                  </a:endParaRPr>
                </a:p>
              </p:txBody>
            </p:sp>
            <p:sp>
              <p:nvSpPr>
                <p:cNvPr id="165" name="TextBox 164"/>
                <p:cNvSpPr txBox="1"/>
                <p:nvPr/>
              </p:nvSpPr>
              <p:spPr>
                <a:xfrm rot="16200000">
                  <a:off x="3352736" y="3240278"/>
                  <a:ext cx="49436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Underlay</a:t>
                  </a:r>
                </a:p>
              </p:txBody>
            </p:sp>
            <p:grpSp>
              <p:nvGrpSpPr>
                <p:cNvPr id="166" name="Group 165"/>
                <p:cNvGrpSpPr/>
                <p:nvPr/>
              </p:nvGrpSpPr>
              <p:grpSpPr>
                <a:xfrm>
                  <a:off x="2239463" y="2951231"/>
                  <a:ext cx="1316504" cy="742604"/>
                  <a:chOff x="2239463" y="2949648"/>
                  <a:chExt cx="1316504" cy="742604"/>
                </a:xfrm>
              </p:grpSpPr>
              <p:sp>
                <p:nvSpPr>
                  <p:cNvPr id="167" name="Rounded Rectangle 166"/>
                  <p:cNvSpPr/>
                  <p:nvPr>
                    <p:custDataLst>
                      <p:tags r:id="rId14"/>
                    </p:custDataLst>
                  </p:nvPr>
                </p:nvSpPr>
                <p:spPr bwMode="auto">
                  <a:xfrm>
                    <a:off x="2239463" y="3252370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IP: IP_V1</a:t>
                    </a:r>
                  </a:p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IP: IP_V2</a:t>
                    </a:r>
                  </a:p>
                </p:txBody>
              </p:sp>
              <p:sp>
                <p:nvSpPr>
                  <p:cNvPr id="168" name="Rounded Rectangle 167"/>
                  <p:cNvSpPr/>
                  <p:nvPr>
                    <p:custDataLst>
                      <p:tags r:id="rId15"/>
                    </p:custDataLst>
                  </p:nvPr>
                </p:nvSpPr>
                <p:spPr bwMode="auto">
                  <a:xfrm>
                    <a:off x="2239463" y="294964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V1</a:t>
                    </a:r>
                  </a:p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hop-by-hop</a:t>
                    </a:r>
                  </a:p>
                </p:txBody>
              </p:sp>
              <p:sp>
                <p:nvSpPr>
                  <p:cNvPr id="170" name="Rounded Rectangle 169"/>
                  <p:cNvSpPr/>
                  <p:nvPr>
                    <p:custDataLst>
                      <p:tags r:id="rId16"/>
                    </p:custDataLst>
                  </p:nvPr>
                </p:nvSpPr>
                <p:spPr bwMode="auto">
                  <a:xfrm>
                    <a:off x="2244647" y="3555092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2"/>
                  </a:lnRef>
                  <a:fillRef idx="2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UDP</a:t>
                    </a:r>
                  </a:p>
                </p:txBody>
              </p:sp>
            </p:grpSp>
          </p:grpSp>
          <p:grpSp>
            <p:nvGrpSpPr>
              <p:cNvPr id="153" name="Group 152"/>
              <p:cNvGrpSpPr/>
              <p:nvPr/>
            </p:nvGrpSpPr>
            <p:grpSpPr>
              <a:xfrm>
                <a:off x="2217527" y="3746193"/>
                <a:ext cx="1464647" cy="833838"/>
                <a:chOff x="2217527" y="3746193"/>
                <a:chExt cx="1464647" cy="833838"/>
              </a:xfrm>
            </p:grpSpPr>
            <p:sp>
              <p:nvSpPr>
                <p:cNvPr id="154" name="Rounded Rectangle 153"/>
                <p:cNvSpPr/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217527" y="3746193"/>
                  <a:ext cx="1464638" cy="833838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defTabSz="685316"/>
                  <a:endParaRPr lang="en-US" sz="1100" dirty="0">
                    <a:solidFill>
                      <a:schemeClr val="tx1"/>
                    </a:solidFill>
                    <a:ea typeface="Arial" pitchFamily="-107" charset="0"/>
                    <a:cs typeface="Arial" pitchFamily="-107" charset="0"/>
                    <a:sym typeface="Arial" pitchFamily="-107" charset="0"/>
                  </a:endParaRPr>
                </a:p>
              </p:txBody>
            </p:sp>
            <p:grpSp>
              <p:nvGrpSpPr>
                <p:cNvPr id="155" name="Group 154"/>
                <p:cNvGrpSpPr/>
                <p:nvPr/>
              </p:nvGrpSpPr>
              <p:grpSpPr>
                <a:xfrm>
                  <a:off x="2244647" y="3782652"/>
                  <a:ext cx="1311320" cy="760920"/>
                  <a:chOff x="2244647" y="3787538"/>
                  <a:chExt cx="1311320" cy="760920"/>
                </a:xfrm>
              </p:grpSpPr>
              <p:sp>
                <p:nvSpPr>
                  <p:cNvPr id="157" name="Rounded Rectangle 156"/>
                  <p:cNvSpPr/>
                  <p:nvPr>
                    <p:custDataLst>
                      <p:tags r:id="rId10"/>
                    </p:custDataLst>
                  </p:nvPr>
                </p:nvSpPr>
                <p:spPr bwMode="auto">
                  <a:xfrm>
                    <a:off x="2244647" y="3787538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VXLAN VNID: 30000</a:t>
                    </a:r>
                  </a:p>
                </p:txBody>
              </p:sp>
              <p:sp>
                <p:nvSpPr>
                  <p:cNvPr id="158" name="Rounded Rectangle 157"/>
                  <p:cNvSpPr/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2244647" y="396225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A</a:t>
                    </a:r>
                  </a:p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MAC_B</a:t>
                    </a:r>
                  </a:p>
                </p:txBody>
              </p:sp>
              <p:sp>
                <p:nvSpPr>
                  <p:cNvPr id="163" name="Rounded Rectangle 162"/>
                  <p:cNvSpPr/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2244647" y="427413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IP: IP_A</a:t>
                    </a:r>
                  </a:p>
                  <a:p>
                    <a:pPr defTabSz="685316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IP: IP_B</a:t>
                    </a:r>
                  </a:p>
                </p:txBody>
              </p:sp>
            </p:grpSp>
            <p:sp>
              <p:nvSpPr>
                <p:cNvPr id="156" name="TextBox 155"/>
                <p:cNvSpPr txBox="1"/>
                <p:nvPr/>
              </p:nvSpPr>
              <p:spPr>
                <a:xfrm rot="16200000">
                  <a:off x="3376781" y="4080858"/>
                  <a:ext cx="44627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Overlay</a:t>
                  </a:r>
                </a:p>
              </p:txBody>
            </p:sp>
          </p:grpSp>
        </p:grpSp>
        <p:grpSp>
          <p:nvGrpSpPr>
            <p:cNvPr id="140" name="Group 139"/>
            <p:cNvGrpSpPr/>
            <p:nvPr/>
          </p:nvGrpSpPr>
          <p:grpSpPr>
            <a:xfrm>
              <a:off x="2816114" y="2681096"/>
              <a:ext cx="267465" cy="291048"/>
              <a:chOff x="1293288" y="1515133"/>
              <a:chExt cx="267465" cy="291048"/>
            </a:xfrm>
          </p:grpSpPr>
          <p:sp>
            <p:nvSpPr>
              <p:cNvPr id="148" name="Oval 147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16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51" name="TextBox 150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227" name="Group 226"/>
          <p:cNvGrpSpPr/>
          <p:nvPr/>
        </p:nvGrpSpPr>
        <p:grpSpPr>
          <a:xfrm>
            <a:off x="7106285" y="3574805"/>
            <a:ext cx="1952354" cy="2531913"/>
            <a:chOff x="2217527" y="2687677"/>
            <a:chExt cx="1464647" cy="1898935"/>
          </a:xfrm>
        </p:grpSpPr>
        <p:grpSp>
          <p:nvGrpSpPr>
            <p:cNvPr id="228" name="Group 227"/>
            <p:cNvGrpSpPr/>
            <p:nvPr/>
          </p:nvGrpSpPr>
          <p:grpSpPr>
            <a:xfrm>
              <a:off x="2217527" y="2924242"/>
              <a:ext cx="1464647" cy="1662370"/>
              <a:chOff x="3451511" y="1192122"/>
              <a:chExt cx="1783091" cy="1662370"/>
            </a:xfrm>
          </p:grpSpPr>
          <p:grpSp>
            <p:nvGrpSpPr>
              <p:cNvPr id="234" name="Group 233"/>
              <p:cNvGrpSpPr/>
              <p:nvPr/>
            </p:nvGrpSpPr>
            <p:grpSpPr>
              <a:xfrm>
                <a:off x="3451511" y="1192122"/>
                <a:ext cx="1783091" cy="640080"/>
                <a:chOff x="3451511" y="1192122"/>
                <a:chExt cx="1783091" cy="640080"/>
              </a:xfrm>
            </p:grpSpPr>
            <p:grpSp>
              <p:nvGrpSpPr>
                <p:cNvPr id="247" name="Group 246"/>
                <p:cNvGrpSpPr/>
                <p:nvPr/>
              </p:nvGrpSpPr>
              <p:grpSpPr>
                <a:xfrm>
                  <a:off x="3451511" y="1192122"/>
                  <a:ext cx="1783080" cy="640080"/>
                  <a:chOff x="3451511" y="1192122"/>
                  <a:chExt cx="1783080" cy="640080"/>
                </a:xfrm>
              </p:grpSpPr>
              <p:sp>
                <p:nvSpPr>
                  <p:cNvPr id="249" name="Rounded Rectangle 248"/>
                  <p:cNvSpPr/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3451511" y="1192122"/>
                    <a:ext cx="1783080" cy="640080"/>
                  </a:xfrm>
                  <a:prstGeom prst="roundRect">
                    <a:avLst>
                      <a:gd name="adj" fmla="val 4036"/>
                    </a:avLst>
                  </a:prstGeom>
                  <a:solidFill>
                    <a:schemeClr val="bg1">
                      <a:lumMod val="85000"/>
                    </a:schemeClr>
                  </a:solidFill>
                  <a:ln w="3175" cmpd="sng">
                    <a:solidFill>
                      <a:schemeClr val="tx1"/>
                    </a:solidFill>
                  </a:ln>
                </p:spPr>
                <p:txBody>
                  <a:bodyPr vert="horz" wrap="square" lIns="91440" tIns="45720" rIns="91440" bIns="4572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defTabSz="1218073"/>
                    <a:endParaRPr lang="en-US" sz="3200" dirty="0">
                      <a:cs typeface="Cambria"/>
                      <a:sym typeface="Arial" pitchFamily="-107" charset="0"/>
                    </a:endParaRPr>
                  </a:p>
                </p:txBody>
              </p:sp>
              <p:grpSp>
                <p:nvGrpSpPr>
                  <p:cNvPr id="250" name="Group 249"/>
                  <p:cNvGrpSpPr/>
                  <p:nvPr/>
                </p:nvGrpSpPr>
                <p:grpSpPr>
                  <a:xfrm>
                    <a:off x="3478216" y="1224109"/>
                    <a:ext cx="1596428" cy="576107"/>
                    <a:chOff x="3478216" y="1224109"/>
                    <a:chExt cx="1596428" cy="576107"/>
                  </a:xfrm>
                </p:grpSpPr>
                <p:sp>
                  <p:nvSpPr>
                    <p:cNvPr id="251" name="Rounded Rectangle 250"/>
                    <p:cNvSpPr/>
                    <p:nvPr>
                      <p:custDataLst>
                        <p:tags r:id="rId7"/>
                      </p:custDataLst>
                    </p:nvPr>
                  </p:nvSpPr>
                  <p:spPr bwMode="auto">
                    <a:xfrm>
                      <a:off x="3478216" y="1525896"/>
                      <a:ext cx="1596428" cy="27432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dk1"/>
                    </a:lnRef>
                    <a:fillRef idx="2">
                      <a:schemeClr val="dk1"/>
                    </a:fillRef>
                    <a:effectRef idx="1">
                      <a:schemeClr val="dk1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SIP: IP_V1</a:t>
                      </a:r>
                    </a:p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DIP: IP_V2</a:t>
                      </a:r>
                    </a:p>
                  </p:txBody>
                </p:sp>
                <p:sp>
                  <p:nvSpPr>
                    <p:cNvPr id="261" name="Rounded Rectangle 260"/>
                    <p:cNvSpPr/>
                    <p:nvPr>
                      <p:custDataLst>
                        <p:tags r:id="rId8"/>
                      </p:custDataLst>
                    </p:nvPr>
                  </p:nvSpPr>
                  <p:spPr bwMode="auto">
                    <a:xfrm>
                      <a:off x="3478216" y="1224109"/>
                      <a:ext cx="1596428" cy="27432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dk1"/>
                    </a:lnRef>
                    <a:fillRef idx="2">
                      <a:schemeClr val="dk1"/>
                    </a:fillRef>
                    <a:effectRef idx="1">
                      <a:schemeClr val="dk1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SMAC: hop-by-hop</a:t>
                      </a:r>
                    </a:p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DMAC: MAC_V2</a:t>
                      </a:r>
                    </a:p>
                  </p:txBody>
                </p:sp>
              </p:grpSp>
            </p:grpSp>
            <p:sp>
              <p:nvSpPr>
                <p:cNvPr id="248" name="TextBox 247"/>
                <p:cNvSpPr txBox="1"/>
                <p:nvPr/>
              </p:nvSpPr>
              <p:spPr>
                <a:xfrm rot="16200000">
                  <a:off x="4887280" y="1412023"/>
                  <a:ext cx="494366" cy="20027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Underlay</a:t>
                  </a:r>
                </a:p>
              </p:txBody>
            </p:sp>
          </p:grpSp>
          <p:grpSp>
            <p:nvGrpSpPr>
              <p:cNvPr id="235" name="Group 234"/>
              <p:cNvGrpSpPr/>
              <p:nvPr/>
            </p:nvGrpSpPr>
            <p:grpSpPr>
              <a:xfrm>
                <a:off x="3451511" y="1855707"/>
                <a:ext cx="1783091" cy="998785"/>
                <a:chOff x="3451511" y="1855707"/>
                <a:chExt cx="1783091" cy="998785"/>
              </a:xfrm>
            </p:grpSpPr>
            <p:grpSp>
              <p:nvGrpSpPr>
                <p:cNvPr id="236" name="Group 235"/>
                <p:cNvGrpSpPr/>
                <p:nvPr/>
              </p:nvGrpSpPr>
              <p:grpSpPr>
                <a:xfrm>
                  <a:off x="3451511" y="1855707"/>
                  <a:ext cx="1783080" cy="998785"/>
                  <a:chOff x="3451511" y="1855707"/>
                  <a:chExt cx="1783080" cy="998785"/>
                </a:xfrm>
              </p:grpSpPr>
              <p:sp>
                <p:nvSpPr>
                  <p:cNvPr id="239" name="Rounded Rectangle 238"/>
                  <p:cNvSpPr/>
                  <p:nvPr>
                    <p:custDataLst>
                      <p:tags r:id="rId1"/>
                    </p:custDataLst>
                  </p:nvPr>
                </p:nvSpPr>
                <p:spPr bwMode="auto">
                  <a:xfrm>
                    <a:off x="3451511" y="1855707"/>
                    <a:ext cx="1783080" cy="998785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3"/>
                  </a:lnRef>
                  <a:fillRef idx="2">
                    <a:schemeClr val="accent3"/>
                  </a:fillRef>
                  <a:effectRef idx="1">
                    <a:schemeClr val="accent3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16"/>
                    <a:endParaRPr lang="en-US" sz="1100" dirty="0">
                      <a:solidFill>
                        <a:schemeClr val="tx1"/>
                      </a:solidFill>
                      <a:ea typeface="Arial" pitchFamily="-107" charset="0"/>
                      <a:cs typeface="Arial" pitchFamily="-107" charset="0"/>
                      <a:sym typeface="Arial" pitchFamily="-107" charset="0"/>
                    </a:endParaRPr>
                  </a:p>
                </p:txBody>
              </p:sp>
              <p:grpSp>
                <p:nvGrpSpPr>
                  <p:cNvPr id="240" name="Group 239"/>
                  <p:cNvGrpSpPr/>
                  <p:nvPr/>
                </p:nvGrpSpPr>
                <p:grpSpPr>
                  <a:xfrm>
                    <a:off x="3484528" y="1887279"/>
                    <a:ext cx="1596428" cy="935640"/>
                    <a:chOff x="3484528" y="1881463"/>
                    <a:chExt cx="1596428" cy="935640"/>
                  </a:xfrm>
                </p:grpSpPr>
                <p:sp>
                  <p:nvSpPr>
                    <p:cNvPr id="242" name="Rounded Rectangle 241"/>
                    <p:cNvSpPr/>
                    <p:nvPr>
                      <p:custDataLst>
                        <p:tags r:id="rId2"/>
                      </p:custDataLst>
                    </p:nvPr>
                  </p:nvSpPr>
                  <p:spPr bwMode="auto">
                    <a:xfrm>
                      <a:off x="3484528" y="2056183"/>
                      <a:ext cx="1596428" cy="13716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accent4"/>
                    </a:lnRef>
                    <a:fillRef idx="2">
                      <a:schemeClr val="accent4"/>
                    </a:fillRef>
                    <a:effectRef idx="1">
                      <a:schemeClr val="accent4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algn="ctr"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VXLAN VNID: 30000</a:t>
                      </a:r>
                    </a:p>
                  </p:txBody>
                </p:sp>
                <p:sp>
                  <p:nvSpPr>
                    <p:cNvPr id="243" name="Rounded Rectangle 242"/>
                    <p:cNvSpPr/>
                    <p:nvPr>
                      <p:custDataLst>
                        <p:tags r:id="rId3"/>
                      </p:custDataLst>
                    </p:nvPr>
                  </p:nvSpPr>
                  <p:spPr bwMode="auto">
                    <a:xfrm>
                      <a:off x="3484528" y="2230903"/>
                      <a:ext cx="1596428" cy="27432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2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SMAC: MAC_A</a:t>
                      </a:r>
                    </a:p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DMAC: MAC_B</a:t>
                      </a:r>
                    </a:p>
                  </p:txBody>
                </p:sp>
                <p:sp>
                  <p:nvSpPr>
                    <p:cNvPr id="245" name="Rounded Rectangle 244"/>
                    <p:cNvSpPr/>
                    <p:nvPr>
                      <p:custDataLst>
                        <p:tags r:id="rId4"/>
                      </p:custDataLst>
                    </p:nvPr>
                  </p:nvSpPr>
                  <p:spPr bwMode="auto">
                    <a:xfrm>
                      <a:off x="3484528" y="2542783"/>
                      <a:ext cx="1596428" cy="27432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accent1"/>
                    </a:lnRef>
                    <a:fillRef idx="2">
                      <a:schemeClr val="accent1"/>
                    </a:fillRef>
                    <a:effectRef idx="1">
                      <a:schemeClr val="accent1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SIP: IP_A</a:t>
                      </a:r>
                    </a:p>
                    <a:p>
                      <a:pPr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DIP: IP_B</a:t>
                      </a:r>
                    </a:p>
                  </p:txBody>
                </p:sp>
                <p:sp>
                  <p:nvSpPr>
                    <p:cNvPr id="246" name="Rounded Rectangle 245"/>
                    <p:cNvSpPr/>
                    <p:nvPr>
                      <p:custDataLst>
                        <p:tags r:id="rId5"/>
                      </p:custDataLst>
                    </p:nvPr>
                  </p:nvSpPr>
                  <p:spPr bwMode="auto">
                    <a:xfrm>
                      <a:off x="3484528" y="1881463"/>
                      <a:ext cx="1596428" cy="137160"/>
                    </a:xfrm>
                    <a:prstGeom prst="roundRect">
                      <a:avLst>
                        <a:gd name="adj" fmla="val 4036"/>
                      </a:avLst>
                    </a:prstGeom>
                    <a:ln>
                      <a:headEnd type="none" w="med" len="med"/>
                      <a:tailEnd type="none" w="med" len="med"/>
                    </a:ln>
                  </p:spPr>
                  <p:style>
                    <a:lnRef idx="1">
                      <a:schemeClr val="accent2"/>
                    </a:lnRef>
                    <a:fillRef idx="2">
                      <a:schemeClr val="accent2"/>
                    </a:fillRef>
                    <a:effectRef idx="1">
                      <a:schemeClr val="accent2"/>
                    </a:effectRef>
                    <a:fontRef idx="minor">
                      <a:schemeClr val="dk1"/>
                    </a:fontRef>
                  </p:style>
                  <p:txBody>
                    <a:bodyPr lIns="91440" tIns="0" rIns="91440" bIns="0" rtlCol="0" anchor="ctr"/>
                    <a:lstStyle/>
                    <a:p>
                      <a:pPr algn="ctr" defTabSz="685316"/>
                      <a:r>
                        <a:rPr lang="en-US" sz="900" dirty="0">
                          <a:solidFill>
                            <a:schemeClr val="tx1"/>
                          </a:solidFill>
                          <a:ea typeface="Arial" pitchFamily="-107" charset="0"/>
                          <a:cs typeface="Arial" pitchFamily="-107" charset="0"/>
                          <a:sym typeface="Arial" pitchFamily="-107" charset="0"/>
                        </a:rPr>
                        <a:t>UDP</a:t>
                      </a:r>
                    </a:p>
                  </p:txBody>
                </p:sp>
              </p:grpSp>
            </p:grpSp>
            <p:sp>
              <p:nvSpPr>
                <p:cNvPr id="237" name="TextBox 236"/>
                <p:cNvSpPr txBox="1"/>
                <p:nvPr/>
              </p:nvSpPr>
              <p:spPr>
                <a:xfrm rot="16200000">
                  <a:off x="4911325" y="2254960"/>
                  <a:ext cx="446276" cy="20027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Overlay</a:t>
                  </a:r>
                </a:p>
              </p:txBody>
            </p:sp>
          </p:grpSp>
        </p:grpSp>
        <p:grpSp>
          <p:nvGrpSpPr>
            <p:cNvPr id="229" name="Group 228"/>
            <p:cNvGrpSpPr/>
            <p:nvPr/>
          </p:nvGrpSpPr>
          <p:grpSpPr>
            <a:xfrm>
              <a:off x="2816114" y="2687677"/>
              <a:ext cx="267465" cy="291048"/>
              <a:chOff x="1293288" y="1515133"/>
              <a:chExt cx="267465" cy="291048"/>
            </a:xfrm>
          </p:grpSpPr>
          <p:sp>
            <p:nvSpPr>
              <p:cNvPr id="231" name="Oval 230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16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232" name="TextBox 231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sp>
        <p:nvSpPr>
          <p:cNvPr id="9" name="Rectangle 8"/>
          <p:cNvSpPr/>
          <p:nvPr/>
        </p:nvSpPr>
        <p:spPr bwMode="auto">
          <a:xfrm>
            <a:off x="2871445" y="2427113"/>
            <a:ext cx="2095961" cy="306413"/>
          </a:xfrm>
          <a:prstGeom prst="rect">
            <a:avLst/>
          </a:prstGeom>
          <a:noFill/>
          <a:ln w="38100" cap="flat" cmpd="sng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316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75" name="Rectangle 174"/>
          <p:cNvSpPr/>
          <p:nvPr/>
        </p:nvSpPr>
        <p:spPr bwMode="auto">
          <a:xfrm>
            <a:off x="8314498" y="2049741"/>
            <a:ext cx="2095961" cy="306413"/>
          </a:xfrm>
          <a:prstGeom prst="rect">
            <a:avLst/>
          </a:prstGeom>
          <a:noFill/>
          <a:ln w="38100" cap="flat" cmpd="sng">
            <a:solidFill>
              <a:schemeClr val="accent4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316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20208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7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9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TEP Discovery (1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Multicast Independe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24</a:t>
            </a:fld>
            <a:endParaRPr lang="en-US" dirty="0"/>
          </a:p>
        </p:txBody>
      </p: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10416161" y="3621101"/>
            <a:ext cx="620578" cy="1019984"/>
            <a:chOff x="807667" y="2504215"/>
            <a:chExt cx="359997" cy="591541"/>
          </a:xfrm>
        </p:grpSpPr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667" y="2504215"/>
              <a:ext cx="359997" cy="359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2" name="Group 175"/>
            <p:cNvGrpSpPr>
              <a:grpSpLocks noChangeAspect="1"/>
            </p:cNvGrpSpPr>
            <p:nvPr/>
          </p:nvGrpSpPr>
          <p:grpSpPr>
            <a:xfrm>
              <a:off x="884286" y="2880970"/>
              <a:ext cx="206771" cy="214786"/>
              <a:chOff x="3204760" y="3975458"/>
              <a:chExt cx="227523" cy="285683"/>
            </a:xfrm>
          </p:grpSpPr>
          <p:sp>
            <p:nvSpPr>
              <p:cNvPr id="63" name="Rounded Rectangle 62"/>
              <p:cNvSpPr/>
              <p:nvPr/>
            </p:nvSpPr>
            <p:spPr>
              <a:xfrm>
                <a:off x="3204760" y="3975458"/>
                <a:ext cx="227523" cy="285683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64" name="Group 165"/>
              <p:cNvGrpSpPr/>
              <p:nvPr/>
            </p:nvGrpSpPr>
            <p:grpSpPr>
              <a:xfrm>
                <a:off x="3211879" y="3995010"/>
                <a:ext cx="212364" cy="227338"/>
                <a:chOff x="6717118" y="3305151"/>
                <a:chExt cx="1013733" cy="1157303"/>
              </a:xfrm>
              <a:solidFill>
                <a:schemeClr val="bg1"/>
              </a:solidFill>
            </p:grpSpPr>
            <p:sp>
              <p:nvSpPr>
                <p:cNvPr id="66" name="Freeform 129"/>
                <p:cNvSpPr>
                  <a:spLocks noEditPoints="1"/>
                </p:cNvSpPr>
                <p:nvPr/>
              </p:nvSpPr>
              <p:spPr bwMode="auto">
                <a:xfrm>
                  <a:off x="6717118" y="3470252"/>
                  <a:ext cx="445218" cy="591013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67" name="Freeform 130"/>
                <p:cNvSpPr>
                  <a:spLocks noEditPoints="1"/>
                </p:cNvSpPr>
                <p:nvPr/>
              </p:nvSpPr>
              <p:spPr bwMode="auto">
                <a:xfrm>
                  <a:off x="7135370" y="3305151"/>
                  <a:ext cx="310386" cy="422431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68" name="Freeform 131"/>
                <p:cNvSpPr>
                  <a:spLocks noEditPoints="1"/>
                </p:cNvSpPr>
                <p:nvPr/>
              </p:nvSpPr>
              <p:spPr bwMode="auto">
                <a:xfrm>
                  <a:off x="7142377" y="3678224"/>
                  <a:ext cx="588474" cy="784230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65" name="Freeform 132"/>
              <p:cNvSpPr>
                <a:spLocks/>
              </p:cNvSpPr>
              <p:nvPr/>
            </p:nvSpPr>
            <p:spPr bwMode="auto">
              <a:xfrm>
                <a:off x="3312884" y="4085766"/>
                <a:ext cx="91795" cy="115799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</p:grpSp>
      </p:grpSp>
      <p:grpSp>
        <p:nvGrpSpPr>
          <p:cNvPr id="264" name="Group 263"/>
          <p:cNvGrpSpPr/>
          <p:nvPr/>
        </p:nvGrpSpPr>
        <p:grpSpPr>
          <a:xfrm>
            <a:off x="1782409" y="3221912"/>
            <a:ext cx="1931404" cy="1328672"/>
            <a:chOff x="1335964" y="2416434"/>
            <a:chExt cx="1448930" cy="996504"/>
          </a:xfrm>
        </p:grpSpPr>
        <p:cxnSp>
          <p:nvCxnSpPr>
            <p:cNvPr id="116" name="Elbow Connector 115"/>
            <p:cNvCxnSpPr>
              <a:stCxn id="2" idx="3"/>
              <a:endCxn id="99" idx="0"/>
            </p:cNvCxnSpPr>
            <p:nvPr/>
          </p:nvCxnSpPr>
          <p:spPr bwMode="auto">
            <a:xfrm rot="10800000" flipV="1">
              <a:off x="1568743" y="2416434"/>
              <a:ext cx="1216151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5964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01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</p:grpSp>
      <p:cxnSp>
        <p:nvCxnSpPr>
          <p:cNvPr id="119" name="Elbow Connector 118"/>
          <p:cNvCxnSpPr>
            <a:stCxn id="137" idx="0"/>
            <a:endCxn id="61" idx="0"/>
          </p:cNvCxnSpPr>
          <p:nvPr/>
        </p:nvCxnSpPr>
        <p:spPr bwMode="auto">
          <a:xfrm>
            <a:off x="8699058" y="3128103"/>
            <a:ext cx="2027409" cy="493015"/>
          </a:xfrm>
          <a:prstGeom prst="bentConnector2">
            <a:avLst/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Straight Connector 193"/>
          <p:cNvCxnSpPr/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/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>
            <a:off x="5596335" y="228386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/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/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/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/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/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/>
          <p:nvPr/>
        </p:nvCxnSpPr>
        <p:spPr bwMode="auto">
          <a:xfrm>
            <a:off x="6239650" y="228386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/>
          <p:nvPr/>
        </p:nvCxnSpPr>
        <p:spPr bwMode="auto">
          <a:xfrm>
            <a:off x="6882933" y="228386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/>
          <p:nvPr/>
        </p:nvCxnSpPr>
        <p:spPr bwMode="auto">
          <a:xfrm>
            <a:off x="7526248" y="228386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algn="ctr" defTabSz="1218175"/>
            <a:endParaRPr lang="en-US" sz="3200" dirty="0">
              <a:cs typeface="Cambria"/>
            </a:endParaRPr>
          </a:p>
        </p:txBody>
      </p:sp>
      <p:cxnSp>
        <p:nvCxnSpPr>
          <p:cNvPr id="109" name="Elbow Connector 108"/>
          <p:cNvCxnSpPr>
            <a:endCxn id="134" idx="0"/>
          </p:cNvCxnSpPr>
          <p:nvPr/>
        </p:nvCxnSpPr>
        <p:spPr bwMode="auto">
          <a:xfrm>
            <a:off x="5799159" y="4855297"/>
            <a:ext cx="1778510" cy="811768"/>
          </a:xfrm>
          <a:prstGeom prst="bentConnector2">
            <a:avLst/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6" name="Rounded Rectangle 41"/>
          <p:cNvSpPr/>
          <p:nvPr/>
        </p:nvSpPr>
        <p:spPr>
          <a:xfrm>
            <a:off x="1481114" y="46371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40" tIns="60920" rIns="121840" bIns="60920" rtlCol="0" anchor="ctr"/>
          <a:lstStyle/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A</a:t>
            </a:r>
          </a:p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A / IP_A</a:t>
            </a:r>
          </a:p>
        </p:txBody>
      </p:sp>
      <p:sp>
        <p:nvSpPr>
          <p:cNvPr id="158" name="Rounded Rectangle 41"/>
          <p:cNvSpPr/>
          <p:nvPr/>
        </p:nvSpPr>
        <p:spPr>
          <a:xfrm>
            <a:off x="10127222" y="47387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40" tIns="60920" rIns="121840" bIns="60920" rtlCol="0" anchor="ctr"/>
          <a:lstStyle/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B</a:t>
            </a:r>
          </a:p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B / IP_B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66761" y="5655068"/>
            <a:ext cx="2493537" cy="1025116"/>
            <a:chOff x="4850142" y="4241313"/>
            <a:chExt cx="1870640" cy="768837"/>
          </a:xfrm>
        </p:grpSpPr>
        <p:grpSp>
          <p:nvGrpSpPr>
            <p:cNvPr id="8" name="Group 7"/>
            <p:cNvGrpSpPr/>
            <p:nvPr/>
          </p:nvGrpSpPr>
          <p:grpSpPr>
            <a:xfrm>
              <a:off x="5323541" y="4241313"/>
              <a:ext cx="720000" cy="402149"/>
              <a:chOff x="5323541" y="4241313"/>
              <a:chExt cx="720000" cy="402149"/>
            </a:xfrm>
          </p:grpSpPr>
          <p:sp>
            <p:nvSpPr>
              <p:cNvPr id="111" name="Rounded Rectangle 110"/>
              <p:cNvSpPr/>
              <p:nvPr/>
            </p:nvSpPr>
            <p:spPr>
              <a:xfrm>
                <a:off x="5806382" y="4489125"/>
                <a:ext cx="162013" cy="151806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2" name="Group 165"/>
              <p:cNvGrpSpPr/>
              <p:nvPr/>
            </p:nvGrpSpPr>
            <p:grpSpPr>
              <a:xfrm>
                <a:off x="5816631" y="4501333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50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5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5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113" name="Freeform 132"/>
              <p:cNvSpPr>
                <a:spLocks/>
              </p:cNvSpPr>
              <p:nvPr/>
            </p:nvSpPr>
            <p:spPr bwMode="auto">
              <a:xfrm>
                <a:off x="5880321" y="4558875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  <p:cxnSp>
            <p:nvCxnSpPr>
              <p:cNvPr id="114" name="Straight Connector 113"/>
              <p:cNvCxnSpPr/>
              <p:nvPr/>
            </p:nvCxnSpPr>
            <p:spPr>
              <a:xfrm>
                <a:off x="5479691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5681932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5875171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ounded Rectangle 126"/>
              <p:cNvSpPr/>
              <p:nvPr/>
            </p:nvSpPr>
            <p:spPr>
              <a:xfrm>
                <a:off x="5612530" y="4489126"/>
                <a:ext cx="152012" cy="154336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30" name="Group 165"/>
              <p:cNvGrpSpPr/>
              <p:nvPr/>
            </p:nvGrpSpPr>
            <p:grpSpPr>
              <a:xfrm>
                <a:off x="5612530" y="4501526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39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4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4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131" name="Freeform 132"/>
              <p:cNvSpPr>
                <a:spLocks/>
              </p:cNvSpPr>
              <p:nvPr/>
            </p:nvSpPr>
            <p:spPr bwMode="auto">
              <a:xfrm>
                <a:off x="5676219" y="4559068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  <p:grpSp>
            <p:nvGrpSpPr>
              <p:cNvPr id="132" name="Group 131"/>
              <p:cNvGrpSpPr/>
              <p:nvPr/>
            </p:nvGrpSpPr>
            <p:grpSpPr>
              <a:xfrm>
                <a:off x="5323541" y="4241313"/>
                <a:ext cx="720000" cy="189147"/>
                <a:chOff x="1470993" y="2648578"/>
                <a:chExt cx="720000" cy="189147"/>
              </a:xfrm>
            </p:grpSpPr>
            <p:sp>
              <p:nvSpPr>
                <p:cNvPr id="133" name="Rounded Rectangle 41"/>
                <p:cNvSpPr/>
                <p:nvPr/>
              </p:nvSpPr>
              <p:spPr>
                <a:xfrm>
                  <a:off x="1548156" y="2648578"/>
                  <a:ext cx="567692" cy="189147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2101"/>
                  <a:endParaRPr lang="en-US" sz="21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34" name="Rectangle 133"/>
                <p:cNvSpPr/>
                <p:nvPr/>
              </p:nvSpPr>
              <p:spPr>
                <a:xfrm>
                  <a:off x="1470993" y="2657576"/>
                  <a:ext cx="720000" cy="15524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67853" tIns="33916" rIns="67853" bIns="33916" anchor="ctr">
                  <a:spAutoFit/>
                </a:bodyPr>
                <a:lstStyle/>
                <a:p>
                  <a:pPr algn="ctr" defTabSz="1075912"/>
                  <a:r>
                    <a:rPr lang="en-US" sz="900" dirty="0">
                      <a:solidFill>
                        <a:schemeClr val="bg1"/>
                      </a:solidFill>
                      <a:latin typeface="+mj-lt"/>
                    </a:rPr>
                    <a:t>Virtual Switch</a:t>
                  </a:r>
                </a:p>
              </p:txBody>
            </p:sp>
          </p:grpSp>
        </p:grpSp>
        <p:sp>
          <p:nvSpPr>
            <p:cNvPr id="157" name="Rounded Rectangle 41"/>
            <p:cNvSpPr/>
            <p:nvPr/>
          </p:nvSpPr>
          <p:spPr>
            <a:xfrm>
              <a:off x="4850142" y="4697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C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C / IP_C</a:t>
              </a:r>
            </a:p>
          </p:txBody>
        </p:sp>
        <p:sp>
          <p:nvSpPr>
            <p:cNvPr id="159" name="Rounded Rectangle 41"/>
            <p:cNvSpPr/>
            <p:nvPr/>
          </p:nvSpPr>
          <p:spPr>
            <a:xfrm>
              <a:off x="5806382" y="4697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Y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Y / IP_Y</a:t>
              </a:r>
            </a:p>
          </p:txBody>
        </p:sp>
      </p:grpSp>
      <p:sp>
        <p:nvSpPr>
          <p:cNvPr id="170" name="Oval 169"/>
          <p:cNvSpPr/>
          <p:nvPr/>
        </p:nvSpPr>
        <p:spPr>
          <a:xfrm>
            <a:off x="5944583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sp>
        <p:nvSpPr>
          <p:cNvPr id="171" name="Oval 170"/>
          <p:cNvSpPr/>
          <p:nvPr/>
        </p:nvSpPr>
        <p:spPr>
          <a:xfrm>
            <a:off x="6575220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cxnSp>
        <p:nvCxnSpPr>
          <p:cNvPr id="12" name="Curved Connector 11"/>
          <p:cNvCxnSpPr>
            <a:stCxn id="2" idx="5"/>
            <a:endCxn id="170" idx="4"/>
          </p:cNvCxnSpPr>
          <p:nvPr/>
        </p:nvCxnSpPr>
        <p:spPr bwMode="auto">
          <a:xfrm rot="5400000" flipH="1" flipV="1">
            <a:off x="4619330" y="1416169"/>
            <a:ext cx="1003779" cy="219318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2" name="Curved Connector 171"/>
          <p:cNvCxnSpPr>
            <a:stCxn id="2" idx="5"/>
            <a:endCxn id="171" idx="4"/>
          </p:cNvCxnSpPr>
          <p:nvPr/>
        </p:nvCxnSpPr>
        <p:spPr bwMode="auto">
          <a:xfrm rot="5400000" flipH="1" flipV="1">
            <a:off x="4934649" y="1100850"/>
            <a:ext cx="1003779" cy="2823819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Curved Connector 173"/>
          <p:cNvCxnSpPr>
            <a:stCxn id="145" idx="5"/>
            <a:endCxn id="170" idx="4"/>
          </p:cNvCxnSpPr>
          <p:nvPr/>
        </p:nvCxnSpPr>
        <p:spPr bwMode="auto">
          <a:xfrm rot="5400000" flipH="1" flipV="1">
            <a:off x="4638121" y="3068336"/>
            <a:ext cx="2637153" cy="522255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5" name="Curved Connector 174"/>
          <p:cNvCxnSpPr>
            <a:stCxn id="145" idx="5"/>
            <a:endCxn id="171" idx="4"/>
          </p:cNvCxnSpPr>
          <p:nvPr/>
        </p:nvCxnSpPr>
        <p:spPr bwMode="auto">
          <a:xfrm rot="5400000" flipH="1" flipV="1">
            <a:off x="4953440" y="2753001"/>
            <a:ext cx="2637153" cy="115289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Curved Connector 175"/>
          <p:cNvCxnSpPr>
            <a:stCxn id="137" idx="4"/>
            <a:endCxn id="171" idx="4"/>
          </p:cNvCxnSpPr>
          <p:nvPr/>
        </p:nvCxnSpPr>
        <p:spPr bwMode="auto">
          <a:xfrm rot="16200000" flipV="1">
            <a:off x="7163376" y="1695957"/>
            <a:ext cx="909953" cy="153978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Curved Connector 176"/>
          <p:cNvCxnSpPr>
            <a:stCxn id="137" idx="4"/>
            <a:endCxn id="170" idx="4"/>
          </p:cNvCxnSpPr>
          <p:nvPr/>
        </p:nvCxnSpPr>
        <p:spPr bwMode="auto">
          <a:xfrm rot="16200000" flipV="1">
            <a:off x="6848059" y="1380654"/>
            <a:ext cx="909953" cy="2170417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0912" y="2819417"/>
            <a:ext cx="820222" cy="805025"/>
          </a:xfrm>
          <a:prstGeom prst="rect">
            <a:avLst/>
          </a:prstGeom>
          <a:noFill/>
        </p:spPr>
      </p:pic>
      <p:pic>
        <p:nvPicPr>
          <p:cNvPr id="143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839" y="4452791"/>
            <a:ext cx="820222" cy="805025"/>
          </a:xfrm>
          <a:prstGeom prst="rect">
            <a:avLst/>
          </a:prstGeom>
          <a:noFill/>
        </p:spPr>
      </p:pic>
      <p:pic>
        <p:nvPicPr>
          <p:cNvPr id="135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1721" y="2725591"/>
            <a:ext cx="820222" cy="805025"/>
          </a:xfrm>
          <a:prstGeom prst="rect">
            <a:avLst/>
          </a:prstGeom>
          <a:noFill/>
        </p:spPr>
      </p:pic>
      <p:grpSp>
        <p:nvGrpSpPr>
          <p:cNvPr id="26" name="Group 25"/>
          <p:cNvGrpSpPr/>
          <p:nvPr/>
        </p:nvGrpSpPr>
        <p:grpSpPr>
          <a:xfrm>
            <a:off x="3713813" y="2920823"/>
            <a:ext cx="4985229" cy="2141728"/>
            <a:chOff x="2784893" y="2190617"/>
            <a:chExt cx="3739896" cy="1606296"/>
          </a:xfrm>
        </p:grpSpPr>
        <p:grpSp>
          <p:nvGrpSpPr>
            <p:cNvPr id="136" name="Group 135"/>
            <p:cNvGrpSpPr/>
            <p:nvPr/>
          </p:nvGrpSpPr>
          <p:grpSpPr>
            <a:xfrm>
              <a:off x="6213893" y="2190617"/>
              <a:ext cx="310896" cy="310896"/>
              <a:chOff x="3200400" y="3562350"/>
              <a:chExt cx="310896" cy="310896"/>
            </a:xfrm>
          </p:grpSpPr>
          <p:sp>
            <p:nvSpPr>
              <p:cNvPr id="137" name="Hexagon 136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2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2784893" y="2260986"/>
              <a:ext cx="310896" cy="310896"/>
              <a:chOff x="3200400" y="3562350"/>
              <a:chExt cx="310896" cy="310896"/>
            </a:xfrm>
          </p:grpSpPr>
          <p:sp>
            <p:nvSpPr>
              <p:cNvPr id="2" name="Hexagon 1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1</a:t>
                </a: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4038415" y="3486017"/>
              <a:ext cx="310896" cy="310896"/>
              <a:chOff x="3200400" y="3562350"/>
              <a:chExt cx="310896" cy="310896"/>
            </a:xfrm>
          </p:grpSpPr>
          <p:sp>
            <p:nvSpPr>
              <p:cNvPr id="145" name="Hexagon 144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46" name="TextBox 145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3</a:t>
                </a:r>
              </a:p>
            </p:txBody>
          </p:sp>
        </p:grpSp>
      </p:grpSp>
      <p:sp>
        <p:nvSpPr>
          <p:cNvPr id="154" name="Oval 153"/>
          <p:cNvSpPr>
            <a:spLocks noChangeAspect="1"/>
          </p:cNvSpPr>
          <p:nvPr/>
        </p:nvSpPr>
        <p:spPr bwMode="auto">
          <a:xfrm>
            <a:off x="5470063" y="4351175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53" name="Oval 152"/>
          <p:cNvSpPr>
            <a:spLocks noChangeAspect="1"/>
          </p:cNvSpPr>
          <p:nvPr/>
        </p:nvSpPr>
        <p:spPr bwMode="auto">
          <a:xfrm>
            <a:off x="4087359" y="3099992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55" name="Oval 154"/>
          <p:cNvSpPr>
            <a:spLocks noChangeAspect="1"/>
          </p:cNvSpPr>
          <p:nvPr/>
        </p:nvSpPr>
        <p:spPr bwMode="auto">
          <a:xfrm>
            <a:off x="8081721" y="3006167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601731" y="2112458"/>
            <a:ext cx="949029" cy="2155219"/>
            <a:chOff x="4201189" y="1584342"/>
            <a:chExt cx="711957" cy="1616414"/>
          </a:xfrm>
        </p:grpSpPr>
        <p:cxnSp>
          <p:nvCxnSpPr>
            <p:cNvPr id="187" name="Straight Arrow Connector 186"/>
            <p:cNvCxnSpPr/>
            <p:nvPr/>
          </p:nvCxnSpPr>
          <p:spPr bwMode="auto">
            <a:xfrm flipV="1">
              <a:off x="4201189" y="1584342"/>
              <a:ext cx="711957" cy="1616414"/>
            </a:xfrm>
            <a:prstGeom prst="straightConnector1">
              <a:avLst/>
            </a:prstGeom>
            <a:ln>
              <a:headEnd type="none" w="med" len="med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89" name="Group 188"/>
            <p:cNvGrpSpPr/>
            <p:nvPr/>
          </p:nvGrpSpPr>
          <p:grpSpPr>
            <a:xfrm>
              <a:off x="4271774" y="2116710"/>
              <a:ext cx="267465" cy="291048"/>
              <a:chOff x="1293288" y="1515133"/>
              <a:chExt cx="267465" cy="291048"/>
            </a:xfrm>
          </p:grpSpPr>
          <p:sp>
            <p:nvSpPr>
              <p:cNvPr id="190" name="Oval 189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91" name="TextBox 190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6790155" y="2129578"/>
            <a:ext cx="1402169" cy="752617"/>
            <a:chOff x="5092739" y="1597171"/>
            <a:chExt cx="1051901" cy="564463"/>
          </a:xfrm>
        </p:grpSpPr>
        <p:cxnSp>
          <p:nvCxnSpPr>
            <p:cNvPr id="188" name="Straight Arrow Connector 187"/>
            <p:cNvCxnSpPr/>
            <p:nvPr/>
          </p:nvCxnSpPr>
          <p:spPr bwMode="auto">
            <a:xfrm flipH="1" flipV="1">
              <a:off x="5092739" y="1597171"/>
              <a:ext cx="1051901" cy="564463"/>
            </a:xfrm>
            <a:prstGeom prst="straightConnector1">
              <a:avLst/>
            </a:prstGeom>
            <a:ln>
              <a:headEnd type="none" w="med" len="med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92" name="Group 191"/>
            <p:cNvGrpSpPr/>
            <p:nvPr/>
          </p:nvGrpSpPr>
          <p:grpSpPr>
            <a:xfrm>
              <a:off x="5745464" y="1646919"/>
              <a:ext cx="267465" cy="291048"/>
              <a:chOff x="1293288" y="1515133"/>
              <a:chExt cx="267465" cy="291048"/>
            </a:xfrm>
          </p:grpSpPr>
          <p:sp>
            <p:nvSpPr>
              <p:cNvPr id="193" name="Oval 192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96" name="TextBox 195"/>
              <p:cNvSpPr txBox="1"/>
              <p:nvPr/>
            </p:nvSpPr>
            <p:spPr>
              <a:xfrm>
                <a:off x="1306923" y="1515133"/>
                <a:ext cx="240195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</p:grpSp>
      <p:grpSp>
        <p:nvGrpSpPr>
          <p:cNvPr id="227" name="Group 226"/>
          <p:cNvGrpSpPr/>
          <p:nvPr/>
        </p:nvGrpSpPr>
        <p:grpSpPr>
          <a:xfrm>
            <a:off x="352176" y="5232364"/>
            <a:ext cx="3982606" cy="539635"/>
            <a:chOff x="359217" y="1262300"/>
            <a:chExt cx="2987733" cy="404726"/>
          </a:xfrm>
        </p:grpSpPr>
        <p:grpSp>
          <p:nvGrpSpPr>
            <p:cNvPr id="197" name="Group 196"/>
            <p:cNvGrpSpPr/>
            <p:nvPr/>
          </p:nvGrpSpPr>
          <p:grpSpPr>
            <a:xfrm>
              <a:off x="359217" y="1322316"/>
              <a:ext cx="267465" cy="291048"/>
              <a:chOff x="1293288" y="1515133"/>
              <a:chExt cx="267465" cy="291048"/>
            </a:xfrm>
          </p:grpSpPr>
          <p:sp>
            <p:nvSpPr>
              <p:cNvPr id="198" name="Oval 197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200" name="TextBox 199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201" name="TextBox 200"/>
            <p:cNvSpPr txBox="1"/>
            <p:nvPr/>
          </p:nvSpPr>
          <p:spPr>
            <a:xfrm>
              <a:off x="684530" y="1262300"/>
              <a:ext cx="2662420" cy="404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VTEPs advertise their VNI</a:t>
              </a:r>
            </a:p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membership within the Control-Plan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4361993" y="2078251"/>
            <a:ext cx="1752711" cy="992084"/>
            <a:chOff x="3271155" y="1558686"/>
            <a:chExt cx="1314876" cy="744063"/>
          </a:xfrm>
        </p:grpSpPr>
        <p:grpSp>
          <p:nvGrpSpPr>
            <p:cNvPr id="183" name="Group 182"/>
            <p:cNvGrpSpPr/>
            <p:nvPr/>
          </p:nvGrpSpPr>
          <p:grpSpPr>
            <a:xfrm>
              <a:off x="3824329" y="1932238"/>
              <a:ext cx="267465" cy="291048"/>
              <a:chOff x="1293288" y="1515133"/>
              <a:chExt cx="267465" cy="291048"/>
            </a:xfrm>
          </p:grpSpPr>
          <p:sp>
            <p:nvSpPr>
              <p:cNvPr id="184" name="Oval 183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85" name="TextBox 184"/>
              <p:cNvSpPr txBox="1"/>
              <p:nvPr/>
            </p:nvSpPr>
            <p:spPr>
              <a:xfrm>
                <a:off x="1306923" y="1515133"/>
                <a:ext cx="240195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cxnSp>
          <p:nvCxnSpPr>
            <p:cNvPr id="206" name="Straight Arrow Connector 205"/>
            <p:cNvCxnSpPr/>
            <p:nvPr/>
          </p:nvCxnSpPr>
          <p:spPr bwMode="auto">
            <a:xfrm flipV="1">
              <a:off x="3271155" y="1558686"/>
              <a:ext cx="1314876" cy="744063"/>
            </a:xfrm>
            <a:prstGeom prst="straightConnector1">
              <a:avLst/>
            </a:prstGeom>
            <a:ln>
              <a:headEnd type="none" w="lg" len="lg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238198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9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TEP Discovery (2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ulticast Independ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25</a:t>
            </a:fld>
            <a:endParaRPr lang="en-US" dirty="0"/>
          </a:p>
        </p:txBody>
      </p:sp>
      <p:grpSp>
        <p:nvGrpSpPr>
          <p:cNvPr id="60" name="Group 59"/>
          <p:cNvGrpSpPr>
            <a:grpSpLocks noChangeAspect="1"/>
          </p:cNvGrpSpPr>
          <p:nvPr/>
        </p:nvGrpSpPr>
        <p:grpSpPr>
          <a:xfrm>
            <a:off x="10416161" y="3621101"/>
            <a:ext cx="620578" cy="1019984"/>
            <a:chOff x="807667" y="2504215"/>
            <a:chExt cx="359997" cy="591541"/>
          </a:xfrm>
        </p:grpSpPr>
        <p:pic>
          <p:nvPicPr>
            <p:cNvPr id="6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667" y="2504215"/>
              <a:ext cx="359997" cy="359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2" name="Group 175"/>
            <p:cNvGrpSpPr>
              <a:grpSpLocks noChangeAspect="1"/>
            </p:cNvGrpSpPr>
            <p:nvPr/>
          </p:nvGrpSpPr>
          <p:grpSpPr>
            <a:xfrm>
              <a:off x="884286" y="2880970"/>
              <a:ext cx="206771" cy="214786"/>
              <a:chOff x="3204760" y="3975458"/>
              <a:chExt cx="227523" cy="285683"/>
            </a:xfrm>
          </p:grpSpPr>
          <p:sp>
            <p:nvSpPr>
              <p:cNvPr id="63" name="Rounded Rectangle 62"/>
              <p:cNvSpPr/>
              <p:nvPr/>
            </p:nvSpPr>
            <p:spPr>
              <a:xfrm>
                <a:off x="3204760" y="3975458"/>
                <a:ext cx="227523" cy="285683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64" name="Group 165"/>
              <p:cNvGrpSpPr/>
              <p:nvPr/>
            </p:nvGrpSpPr>
            <p:grpSpPr>
              <a:xfrm>
                <a:off x="3211879" y="3995010"/>
                <a:ext cx="212364" cy="227338"/>
                <a:chOff x="6717118" y="3305151"/>
                <a:chExt cx="1013733" cy="1157303"/>
              </a:xfrm>
              <a:solidFill>
                <a:schemeClr val="bg1"/>
              </a:solidFill>
            </p:grpSpPr>
            <p:sp>
              <p:nvSpPr>
                <p:cNvPr id="66" name="Freeform 129"/>
                <p:cNvSpPr>
                  <a:spLocks noEditPoints="1"/>
                </p:cNvSpPr>
                <p:nvPr/>
              </p:nvSpPr>
              <p:spPr bwMode="auto">
                <a:xfrm>
                  <a:off x="6717118" y="3470252"/>
                  <a:ext cx="445218" cy="591013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67" name="Freeform 130"/>
                <p:cNvSpPr>
                  <a:spLocks noEditPoints="1"/>
                </p:cNvSpPr>
                <p:nvPr/>
              </p:nvSpPr>
              <p:spPr bwMode="auto">
                <a:xfrm>
                  <a:off x="7135370" y="3305151"/>
                  <a:ext cx="310386" cy="422431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68" name="Freeform 131"/>
                <p:cNvSpPr>
                  <a:spLocks noEditPoints="1"/>
                </p:cNvSpPr>
                <p:nvPr/>
              </p:nvSpPr>
              <p:spPr bwMode="auto">
                <a:xfrm>
                  <a:off x="7142377" y="3678224"/>
                  <a:ext cx="588474" cy="784230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65" name="Freeform 132"/>
              <p:cNvSpPr>
                <a:spLocks/>
              </p:cNvSpPr>
              <p:nvPr/>
            </p:nvSpPr>
            <p:spPr bwMode="auto">
              <a:xfrm>
                <a:off x="3312884" y="4085766"/>
                <a:ext cx="91795" cy="115799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</p:grpSp>
      </p:grpSp>
      <p:grpSp>
        <p:nvGrpSpPr>
          <p:cNvPr id="264" name="Group 263"/>
          <p:cNvGrpSpPr/>
          <p:nvPr/>
        </p:nvGrpSpPr>
        <p:grpSpPr>
          <a:xfrm>
            <a:off x="1782409" y="3221912"/>
            <a:ext cx="1931404" cy="1328672"/>
            <a:chOff x="1335964" y="2416434"/>
            <a:chExt cx="1448930" cy="996504"/>
          </a:xfrm>
        </p:grpSpPr>
        <p:cxnSp>
          <p:nvCxnSpPr>
            <p:cNvPr id="116" name="Elbow Connector 115"/>
            <p:cNvCxnSpPr>
              <a:stCxn id="2" idx="3"/>
              <a:endCxn id="99" idx="0"/>
            </p:cNvCxnSpPr>
            <p:nvPr/>
          </p:nvCxnSpPr>
          <p:spPr bwMode="auto">
            <a:xfrm rot="10800000" flipV="1">
              <a:off x="1568743" y="2416434"/>
              <a:ext cx="1216151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5964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01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</p:grpSp>
      <p:cxnSp>
        <p:nvCxnSpPr>
          <p:cNvPr id="119" name="Elbow Connector 118"/>
          <p:cNvCxnSpPr>
            <a:stCxn id="137" idx="0"/>
            <a:endCxn id="61" idx="0"/>
          </p:cNvCxnSpPr>
          <p:nvPr/>
        </p:nvCxnSpPr>
        <p:spPr bwMode="auto">
          <a:xfrm>
            <a:off x="8699058" y="3128103"/>
            <a:ext cx="2027409" cy="493015"/>
          </a:xfrm>
          <a:prstGeom prst="bentConnector2">
            <a:avLst/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4" name="Straight Connector 193"/>
          <p:cNvCxnSpPr/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/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>
            <a:off x="5596335" y="228386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/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/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/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/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/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/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/>
          <p:nvPr/>
        </p:nvCxnSpPr>
        <p:spPr bwMode="auto">
          <a:xfrm>
            <a:off x="6239650" y="228386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/>
          <p:nvPr/>
        </p:nvCxnSpPr>
        <p:spPr bwMode="auto">
          <a:xfrm>
            <a:off x="6882933" y="228386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/>
          <p:nvPr/>
        </p:nvCxnSpPr>
        <p:spPr bwMode="auto">
          <a:xfrm>
            <a:off x="7526248" y="228386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algn="ctr" defTabSz="1218175"/>
            <a:endParaRPr lang="en-US" sz="3200" dirty="0">
              <a:cs typeface="Cambria"/>
            </a:endParaRPr>
          </a:p>
        </p:txBody>
      </p:sp>
      <p:cxnSp>
        <p:nvCxnSpPr>
          <p:cNvPr id="109" name="Elbow Connector 108"/>
          <p:cNvCxnSpPr>
            <a:endCxn id="134" idx="0"/>
          </p:cNvCxnSpPr>
          <p:nvPr/>
        </p:nvCxnSpPr>
        <p:spPr bwMode="auto">
          <a:xfrm>
            <a:off x="5799159" y="4855297"/>
            <a:ext cx="1778510" cy="811768"/>
          </a:xfrm>
          <a:prstGeom prst="bentConnector2">
            <a:avLst/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6" name="Rounded Rectangle 41"/>
          <p:cNvSpPr/>
          <p:nvPr/>
        </p:nvSpPr>
        <p:spPr>
          <a:xfrm>
            <a:off x="1481114" y="46371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40" tIns="60920" rIns="121840" bIns="60920" rtlCol="0" anchor="ctr"/>
          <a:lstStyle/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A</a:t>
            </a:r>
          </a:p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A / IP_A</a:t>
            </a:r>
          </a:p>
        </p:txBody>
      </p:sp>
      <p:sp>
        <p:nvSpPr>
          <p:cNvPr id="158" name="Rounded Rectangle 41"/>
          <p:cNvSpPr/>
          <p:nvPr/>
        </p:nvSpPr>
        <p:spPr>
          <a:xfrm>
            <a:off x="10127222" y="47387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40" tIns="60920" rIns="121840" bIns="60920" rtlCol="0" anchor="ctr"/>
          <a:lstStyle/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B</a:t>
            </a:r>
          </a:p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B / IP_B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466761" y="5655068"/>
            <a:ext cx="2493537" cy="1025116"/>
            <a:chOff x="4850142" y="4241313"/>
            <a:chExt cx="1870640" cy="768837"/>
          </a:xfrm>
        </p:grpSpPr>
        <p:grpSp>
          <p:nvGrpSpPr>
            <p:cNvPr id="8" name="Group 7"/>
            <p:cNvGrpSpPr/>
            <p:nvPr/>
          </p:nvGrpSpPr>
          <p:grpSpPr>
            <a:xfrm>
              <a:off x="5323541" y="4241313"/>
              <a:ext cx="720000" cy="402149"/>
              <a:chOff x="5323541" y="4241313"/>
              <a:chExt cx="720000" cy="402149"/>
            </a:xfrm>
          </p:grpSpPr>
          <p:sp>
            <p:nvSpPr>
              <p:cNvPr id="111" name="Rounded Rectangle 110"/>
              <p:cNvSpPr/>
              <p:nvPr/>
            </p:nvSpPr>
            <p:spPr>
              <a:xfrm>
                <a:off x="5806382" y="4489125"/>
                <a:ext cx="162013" cy="151806"/>
              </a:xfrm>
              <a:prstGeom prst="roundRect">
                <a:avLst/>
              </a:prstGeom>
              <a:solidFill>
                <a:schemeClr val="accent4">
                  <a:lumMod val="75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12" name="Group 165"/>
              <p:cNvGrpSpPr/>
              <p:nvPr/>
            </p:nvGrpSpPr>
            <p:grpSpPr>
              <a:xfrm>
                <a:off x="5816631" y="4501333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50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5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5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113" name="Freeform 132"/>
              <p:cNvSpPr>
                <a:spLocks/>
              </p:cNvSpPr>
              <p:nvPr/>
            </p:nvSpPr>
            <p:spPr bwMode="auto">
              <a:xfrm>
                <a:off x="5880321" y="4558875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  <p:cxnSp>
            <p:nvCxnSpPr>
              <p:cNvPr id="114" name="Straight Connector 113"/>
              <p:cNvCxnSpPr/>
              <p:nvPr/>
            </p:nvCxnSpPr>
            <p:spPr>
              <a:xfrm>
                <a:off x="5479691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/>
              <p:cNvCxnSpPr/>
              <p:nvPr/>
            </p:nvCxnSpPr>
            <p:spPr>
              <a:xfrm>
                <a:off x="5681932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/>
              <p:cNvCxnSpPr/>
              <p:nvPr/>
            </p:nvCxnSpPr>
            <p:spPr>
              <a:xfrm>
                <a:off x="5875171" y="4345651"/>
                <a:ext cx="0" cy="151806"/>
              </a:xfrm>
              <a:prstGeom prst="line">
                <a:avLst/>
              </a:prstGeom>
              <a:ln w="12700" cap="rnd" cmpd="sng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Rounded Rectangle 126"/>
              <p:cNvSpPr/>
              <p:nvPr/>
            </p:nvSpPr>
            <p:spPr>
              <a:xfrm>
                <a:off x="5612530" y="4489126"/>
                <a:ext cx="152012" cy="154336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2101"/>
                <a:endParaRPr lang="en-US" sz="210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30" name="Group 165"/>
              <p:cNvGrpSpPr/>
              <p:nvPr/>
            </p:nvGrpSpPr>
            <p:grpSpPr>
              <a:xfrm>
                <a:off x="5612530" y="4501526"/>
                <a:ext cx="142672" cy="128328"/>
                <a:chOff x="6688138" y="3305167"/>
                <a:chExt cx="1081087" cy="1030288"/>
              </a:xfrm>
              <a:solidFill>
                <a:schemeClr val="bg1"/>
              </a:solidFill>
            </p:grpSpPr>
            <p:sp>
              <p:nvSpPr>
                <p:cNvPr id="139" name="Freeform 129"/>
                <p:cNvSpPr>
                  <a:spLocks noEditPoints="1"/>
                </p:cNvSpPr>
                <p:nvPr/>
              </p:nvSpPr>
              <p:spPr bwMode="auto">
                <a:xfrm>
                  <a:off x="6688138" y="3470267"/>
                  <a:ext cx="503237" cy="495300"/>
                </a:xfrm>
                <a:custGeom>
                  <a:avLst/>
                  <a:gdLst/>
                  <a:ahLst/>
                  <a:cxnLst>
                    <a:cxn ang="0">
                      <a:pos x="196" y="90"/>
                    </a:cxn>
                    <a:cxn ang="0">
                      <a:pos x="193" y="70"/>
                    </a:cxn>
                    <a:cxn ang="0">
                      <a:pos x="189" y="67"/>
                    </a:cxn>
                    <a:cxn ang="0">
                      <a:pos x="175" y="66"/>
                    </a:cxn>
                    <a:cxn ang="0">
                      <a:pos x="164" y="47"/>
                    </a:cxn>
                    <a:cxn ang="0">
                      <a:pos x="170" y="33"/>
                    </a:cxn>
                    <a:cxn ang="0">
                      <a:pos x="169" y="29"/>
                    </a:cxn>
                    <a:cxn ang="0">
                      <a:pos x="153" y="16"/>
                    </a:cxn>
                    <a:cxn ang="0">
                      <a:pos x="149" y="16"/>
                    </a:cxn>
                    <a:cxn ang="0">
                      <a:pos x="137" y="24"/>
                    </a:cxn>
                    <a:cxn ang="0">
                      <a:pos x="116" y="16"/>
                    </a:cxn>
                    <a:cxn ang="0">
                      <a:pos x="112" y="2"/>
                    </a:cxn>
                    <a:cxn ang="0">
                      <a:pos x="108" y="0"/>
                    </a:cxn>
                    <a:cxn ang="0">
                      <a:pos x="88" y="0"/>
                    </a:cxn>
                    <a:cxn ang="0">
                      <a:pos x="85" y="2"/>
                    </a:cxn>
                    <a:cxn ang="0">
                      <a:pos x="81" y="16"/>
                    </a:cxn>
                    <a:cxn ang="0">
                      <a:pos x="60" y="24"/>
                    </a:cxn>
                    <a:cxn ang="0">
                      <a:pos x="48" y="16"/>
                    </a:cxn>
                    <a:cxn ang="0">
                      <a:pos x="43" y="16"/>
                    </a:cxn>
                    <a:cxn ang="0">
                      <a:pos x="28" y="29"/>
                    </a:cxn>
                    <a:cxn ang="0">
                      <a:pos x="27" y="33"/>
                    </a:cxn>
                    <a:cxn ang="0">
                      <a:pos x="33" y="47"/>
                    </a:cxn>
                    <a:cxn ang="0">
                      <a:pos x="21" y="66"/>
                    </a:cxn>
                    <a:cxn ang="0">
                      <a:pos x="7" y="67"/>
                    </a:cxn>
                    <a:cxn ang="0">
                      <a:pos x="4" y="70"/>
                    </a:cxn>
                    <a:cxn ang="0">
                      <a:pos x="0" y="90"/>
                    </a:cxn>
                    <a:cxn ang="0">
                      <a:pos x="2" y="94"/>
                    </a:cxn>
                    <a:cxn ang="0">
                      <a:pos x="15" y="101"/>
                    </a:cxn>
                    <a:cxn ang="0">
                      <a:pos x="19" y="123"/>
                    </a:cxn>
                    <a:cxn ang="0">
                      <a:pos x="9" y="133"/>
                    </a:cxn>
                    <a:cxn ang="0">
                      <a:pos x="9" y="137"/>
                    </a:cxn>
                    <a:cxn ang="0">
                      <a:pos x="19" y="155"/>
                    </a:cxn>
                    <a:cxn ang="0">
                      <a:pos x="23" y="157"/>
                    </a:cxn>
                    <a:cxn ang="0">
                      <a:pos x="37" y="153"/>
                    </a:cxn>
                    <a:cxn ang="0">
                      <a:pos x="54" y="167"/>
                    </a:cxn>
                    <a:cxn ang="0">
                      <a:pos x="53" y="182"/>
                    </a:cxn>
                    <a:cxn ang="0">
                      <a:pos x="55" y="186"/>
                    </a:cxn>
                    <a:cxn ang="0">
                      <a:pos x="74" y="193"/>
                    </a:cxn>
                    <a:cxn ang="0">
                      <a:pos x="78" y="191"/>
                    </a:cxn>
                    <a:cxn ang="0">
                      <a:pos x="87" y="179"/>
                    </a:cxn>
                    <a:cxn ang="0">
                      <a:pos x="98" y="180"/>
                    </a:cxn>
                    <a:cxn ang="0">
                      <a:pos x="109" y="179"/>
                    </a:cxn>
                    <a:cxn ang="0">
                      <a:pos x="118" y="191"/>
                    </a:cxn>
                    <a:cxn ang="0">
                      <a:pos x="122" y="193"/>
                    </a:cxn>
                    <a:cxn ang="0">
                      <a:pos x="141" y="186"/>
                    </a:cxn>
                    <a:cxn ang="0">
                      <a:pos x="144" y="182"/>
                    </a:cxn>
                    <a:cxn ang="0">
                      <a:pos x="142" y="167"/>
                    </a:cxn>
                    <a:cxn ang="0">
                      <a:pos x="160" y="153"/>
                    </a:cxn>
                    <a:cxn ang="0">
                      <a:pos x="174" y="157"/>
                    </a:cxn>
                    <a:cxn ang="0">
                      <a:pos x="178" y="155"/>
                    </a:cxn>
                    <a:cxn ang="0">
                      <a:pos x="188" y="137"/>
                    </a:cxn>
                    <a:cxn ang="0">
                      <a:pos x="187" y="133"/>
                    </a:cxn>
                    <a:cxn ang="0">
                      <a:pos x="177" y="123"/>
                    </a:cxn>
                    <a:cxn ang="0">
                      <a:pos x="181" y="101"/>
                    </a:cxn>
                    <a:cxn ang="0">
                      <a:pos x="194" y="94"/>
                    </a:cxn>
                    <a:cxn ang="0">
                      <a:pos x="196" y="90"/>
                    </a:cxn>
                    <a:cxn ang="0">
                      <a:pos x="98" y="127"/>
                    </a:cxn>
                    <a:cxn ang="0">
                      <a:pos x="69" y="97"/>
                    </a:cxn>
                    <a:cxn ang="0">
                      <a:pos x="98" y="68"/>
                    </a:cxn>
                    <a:cxn ang="0">
                      <a:pos x="128" y="97"/>
                    </a:cxn>
                    <a:cxn ang="0">
                      <a:pos x="98" y="127"/>
                    </a:cxn>
                  </a:cxnLst>
                  <a:rect l="0" t="0" r="r" b="b"/>
                  <a:pathLst>
                    <a:path w="196" h="193">
                      <a:moveTo>
                        <a:pt x="196" y="90"/>
                      </a:moveTo>
                      <a:cubicBezTo>
                        <a:pt x="196" y="90"/>
                        <a:pt x="193" y="71"/>
                        <a:pt x="193" y="70"/>
                      </a:cubicBezTo>
                      <a:cubicBezTo>
                        <a:pt x="192" y="69"/>
                        <a:pt x="191" y="68"/>
                        <a:pt x="189" y="67"/>
                      </a:cubicBezTo>
                      <a:cubicBezTo>
                        <a:pt x="187" y="67"/>
                        <a:pt x="177" y="66"/>
                        <a:pt x="175" y="66"/>
                      </a:cubicBezTo>
                      <a:cubicBezTo>
                        <a:pt x="172" y="59"/>
                        <a:pt x="168" y="53"/>
                        <a:pt x="164" y="47"/>
                      </a:cubicBezTo>
                      <a:cubicBezTo>
                        <a:pt x="164" y="45"/>
                        <a:pt x="169" y="35"/>
                        <a:pt x="170" y="33"/>
                      </a:cubicBezTo>
                      <a:cubicBezTo>
                        <a:pt x="170" y="32"/>
                        <a:pt x="170" y="30"/>
                        <a:pt x="169" y="29"/>
                      </a:cubicBezTo>
                      <a:cubicBezTo>
                        <a:pt x="168" y="29"/>
                        <a:pt x="154" y="17"/>
                        <a:pt x="153" y="16"/>
                      </a:cubicBezTo>
                      <a:cubicBezTo>
                        <a:pt x="152" y="15"/>
                        <a:pt x="150" y="15"/>
                        <a:pt x="149" y="16"/>
                      </a:cubicBezTo>
                      <a:cubicBezTo>
                        <a:pt x="147" y="17"/>
                        <a:pt x="138" y="23"/>
                        <a:pt x="137" y="24"/>
                      </a:cubicBezTo>
                      <a:cubicBezTo>
                        <a:pt x="130" y="21"/>
                        <a:pt x="123" y="18"/>
                        <a:pt x="116" y="16"/>
                      </a:cubicBezTo>
                      <a:cubicBezTo>
                        <a:pt x="115" y="15"/>
                        <a:pt x="112" y="5"/>
                        <a:pt x="112" y="2"/>
                      </a:cubicBezTo>
                      <a:cubicBezTo>
                        <a:pt x="111" y="1"/>
                        <a:pt x="110" y="0"/>
                        <a:pt x="10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6" y="0"/>
                        <a:pt x="85" y="1"/>
                        <a:pt x="85" y="2"/>
                      </a:cubicBezTo>
                      <a:cubicBezTo>
                        <a:pt x="84" y="5"/>
                        <a:pt x="81" y="15"/>
                        <a:pt x="81" y="16"/>
                      </a:cubicBezTo>
                      <a:cubicBezTo>
                        <a:pt x="73" y="18"/>
                        <a:pt x="66" y="21"/>
                        <a:pt x="60" y="24"/>
                      </a:cubicBezTo>
                      <a:cubicBezTo>
                        <a:pt x="58" y="23"/>
                        <a:pt x="49" y="17"/>
                        <a:pt x="48" y="16"/>
                      </a:cubicBezTo>
                      <a:cubicBezTo>
                        <a:pt x="46" y="15"/>
                        <a:pt x="45" y="15"/>
                        <a:pt x="43" y="16"/>
                      </a:cubicBezTo>
                      <a:cubicBezTo>
                        <a:pt x="43" y="17"/>
                        <a:pt x="28" y="29"/>
                        <a:pt x="28" y="29"/>
                      </a:cubicBezTo>
                      <a:cubicBezTo>
                        <a:pt x="26" y="30"/>
                        <a:pt x="26" y="32"/>
                        <a:pt x="27" y="33"/>
                      </a:cubicBezTo>
                      <a:cubicBezTo>
                        <a:pt x="28" y="36"/>
                        <a:pt x="32" y="45"/>
                        <a:pt x="33" y="47"/>
                      </a:cubicBezTo>
                      <a:cubicBezTo>
                        <a:pt x="28" y="53"/>
                        <a:pt x="24" y="59"/>
                        <a:pt x="21" y="66"/>
                      </a:cubicBezTo>
                      <a:cubicBezTo>
                        <a:pt x="20" y="66"/>
                        <a:pt x="9" y="67"/>
                        <a:pt x="7" y="67"/>
                      </a:cubicBezTo>
                      <a:cubicBezTo>
                        <a:pt x="6" y="68"/>
                        <a:pt x="4" y="69"/>
                        <a:pt x="4" y="70"/>
                      </a:cubicBezTo>
                      <a:cubicBezTo>
                        <a:pt x="4" y="71"/>
                        <a:pt x="0" y="90"/>
                        <a:pt x="0" y="90"/>
                      </a:cubicBezTo>
                      <a:cubicBezTo>
                        <a:pt x="0" y="92"/>
                        <a:pt x="1" y="94"/>
                        <a:pt x="2" y="94"/>
                      </a:cubicBezTo>
                      <a:cubicBezTo>
                        <a:pt x="4" y="95"/>
                        <a:pt x="14" y="100"/>
                        <a:pt x="15" y="101"/>
                      </a:cubicBezTo>
                      <a:cubicBezTo>
                        <a:pt x="16" y="108"/>
                        <a:pt x="17" y="116"/>
                        <a:pt x="19" y="123"/>
                      </a:cubicBezTo>
                      <a:cubicBezTo>
                        <a:pt x="18" y="124"/>
                        <a:pt x="11" y="131"/>
                        <a:pt x="9" y="133"/>
                      </a:cubicBezTo>
                      <a:cubicBezTo>
                        <a:pt x="8" y="134"/>
                        <a:pt x="8" y="136"/>
                        <a:pt x="9" y="137"/>
                      </a:cubicBezTo>
                      <a:cubicBezTo>
                        <a:pt x="9" y="138"/>
                        <a:pt x="18" y="154"/>
                        <a:pt x="19" y="155"/>
                      </a:cubicBezTo>
                      <a:cubicBezTo>
                        <a:pt x="20" y="157"/>
                        <a:pt x="21" y="157"/>
                        <a:pt x="23" y="157"/>
                      </a:cubicBezTo>
                      <a:cubicBezTo>
                        <a:pt x="25" y="156"/>
                        <a:pt x="35" y="154"/>
                        <a:pt x="37" y="153"/>
                      </a:cubicBezTo>
                      <a:cubicBezTo>
                        <a:pt x="42" y="159"/>
                        <a:pt x="48" y="163"/>
                        <a:pt x="54" y="167"/>
                      </a:cubicBezTo>
                      <a:cubicBezTo>
                        <a:pt x="54" y="169"/>
                        <a:pt x="53" y="180"/>
                        <a:pt x="53" y="182"/>
                      </a:cubicBezTo>
                      <a:cubicBezTo>
                        <a:pt x="53" y="183"/>
                        <a:pt x="53" y="185"/>
                        <a:pt x="55" y="186"/>
                      </a:cubicBezTo>
                      <a:cubicBezTo>
                        <a:pt x="56" y="186"/>
                        <a:pt x="74" y="192"/>
                        <a:pt x="74" y="193"/>
                      </a:cubicBezTo>
                      <a:cubicBezTo>
                        <a:pt x="76" y="193"/>
                        <a:pt x="78" y="193"/>
                        <a:pt x="78" y="191"/>
                      </a:cubicBezTo>
                      <a:cubicBezTo>
                        <a:pt x="80" y="189"/>
                        <a:pt x="86" y="181"/>
                        <a:pt x="87" y="179"/>
                      </a:cubicBezTo>
                      <a:cubicBezTo>
                        <a:pt x="91" y="180"/>
                        <a:pt x="94" y="180"/>
                        <a:pt x="98" y="180"/>
                      </a:cubicBezTo>
                      <a:cubicBezTo>
                        <a:pt x="102" y="180"/>
                        <a:pt x="106" y="180"/>
                        <a:pt x="109" y="179"/>
                      </a:cubicBezTo>
                      <a:cubicBezTo>
                        <a:pt x="110" y="181"/>
                        <a:pt x="117" y="189"/>
                        <a:pt x="118" y="191"/>
                      </a:cubicBezTo>
                      <a:cubicBezTo>
                        <a:pt x="119" y="192"/>
                        <a:pt x="120" y="193"/>
                        <a:pt x="122" y="193"/>
                      </a:cubicBezTo>
                      <a:cubicBezTo>
                        <a:pt x="123" y="192"/>
                        <a:pt x="140" y="186"/>
                        <a:pt x="141" y="186"/>
                      </a:cubicBezTo>
                      <a:cubicBezTo>
                        <a:pt x="143" y="185"/>
                        <a:pt x="144" y="183"/>
                        <a:pt x="144" y="182"/>
                      </a:cubicBezTo>
                      <a:cubicBezTo>
                        <a:pt x="143" y="180"/>
                        <a:pt x="143" y="169"/>
                        <a:pt x="142" y="167"/>
                      </a:cubicBezTo>
                      <a:cubicBezTo>
                        <a:pt x="149" y="163"/>
                        <a:pt x="155" y="159"/>
                        <a:pt x="160" y="153"/>
                      </a:cubicBezTo>
                      <a:cubicBezTo>
                        <a:pt x="161" y="154"/>
                        <a:pt x="171" y="156"/>
                        <a:pt x="174" y="157"/>
                      </a:cubicBezTo>
                      <a:cubicBezTo>
                        <a:pt x="175" y="157"/>
                        <a:pt x="177" y="157"/>
                        <a:pt x="178" y="155"/>
                      </a:cubicBezTo>
                      <a:cubicBezTo>
                        <a:pt x="178" y="154"/>
                        <a:pt x="187" y="138"/>
                        <a:pt x="188" y="137"/>
                      </a:cubicBezTo>
                      <a:cubicBezTo>
                        <a:pt x="189" y="136"/>
                        <a:pt x="188" y="134"/>
                        <a:pt x="187" y="133"/>
                      </a:cubicBezTo>
                      <a:cubicBezTo>
                        <a:pt x="186" y="131"/>
                        <a:pt x="178" y="124"/>
                        <a:pt x="177" y="123"/>
                      </a:cubicBezTo>
                      <a:cubicBezTo>
                        <a:pt x="179" y="116"/>
                        <a:pt x="181" y="108"/>
                        <a:pt x="181" y="101"/>
                      </a:cubicBezTo>
                      <a:cubicBezTo>
                        <a:pt x="183" y="100"/>
                        <a:pt x="192" y="95"/>
                        <a:pt x="194" y="94"/>
                      </a:cubicBezTo>
                      <a:cubicBezTo>
                        <a:pt x="195" y="94"/>
                        <a:pt x="196" y="92"/>
                        <a:pt x="196" y="90"/>
                      </a:cubicBezTo>
                      <a:close/>
                      <a:moveTo>
                        <a:pt x="98" y="127"/>
                      </a:moveTo>
                      <a:cubicBezTo>
                        <a:pt x="82" y="127"/>
                        <a:pt x="69" y="114"/>
                        <a:pt x="69" y="97"/>
                      </a:cubicBezTo>
                      <a:cubicBezTo>
                        <a:pt x="69" y="81"/>
                        <a:pt x="82" y="68"/>
                        <a:pt x="98" y="68"/>
                      </a:cubicBezTo>
                      <a:cubicBezTo>
                        <a:pt x="115" y="68"/>
                        <a:pt x="128" y="81"/>
                        <a:pt x="128" y="97"/>
                      </a:cubicBezTo>
                      <a:cubicBezTo>
                        <a:pt x="128" y="114"/>
                        <a:pt x="115" y="127"/>
                        <a:pt x="98" y="12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41" name="Freeform 130"/>
                <p:cNvSpPr>
                  <a:spLocks noEditPoints="1"/>
                </p:cNvSpPr>
                <p:nvPr/>
              </p:nvSpPr>
              <p:spPr bwMode="auto">
                <a:xfrm>
                  <a:off x="7115175" y="3305167"/>
                  <a:ext cx="350837" cy="354013"/>
                </a:xfrm>
                <a:custGeom>
                  <a:avLst/>
                  <a:gdLst/>
                  <a:ahLst/>
                  <a:cxnLst>
                    <a:cxn ang="0">
                      <a:pos x="136" y="54"/>
                    </a:cxn>
                    <a:cxn ang="0">
                      <a:pos x="132" y="40"/>
                    </a:cxn>
                    <a:cxn ang="0">
                      <a:pos x="129" y="39"/>
                    </a:cxn>
                    <a:cxn ang="0">
                      <a:pos x="119" y="39"/>
                    </a:cxn>
                    <a:cxn ang="0">
                      <a:pos x="109" y="27"/>
                    </a:cxn>
                    <a:cxn ang="0">
                      <a:pos x="112" y="17"/>
                    </a:cxn>
                    <a:cxn ang="0">
                      <a:pos x="111" y="14"/>
                    </a:cxn>
                    <a:cxn ang="0">
                      <a:pos x="98" y="7"/>
                    </a:cxn>
                    <a:cxn ang="0">
                      <a:pos x="95" y="7"/>
                    </a:cxn>
                    <a:cxn ang="0">
                      <a:pos x="88" y="14"/>
                    </a:cxn>
                    <a:cxn ang="0">
                      <a:pos x="72" y="11"/>
                    </a:cxn>
                    <a:cxn ang="0">
                      <a:pos x="68" y="2"/>
                    </a:cxn>
                    <a:cxn ang="0">
                      <a:pos x="65" y="0"/>
                    </a:cxn>
                    <a:cxn ang="0">
                      <a:pos x="51" y="2"/>
                    </a:cxn>
                    <a:cxn ang="0">
                      <a:pos x="49" y="4"/>
                    </a:cxn>
                    <a:cxn ang="0">
                      <a:pos x="48" y="15"/>
                    </a:cxn>
                    <a:cxn ang="0">
                      <a:pos x="34" y="22"/>
                    </a:cxn>
                    <a:cxn ang="0">
                      <a:pos x="25" y="18"/>
                    </a:cxn>
                    <a:cxn ang="0">
                      <a:pos x="22" y="19"/>
                    </a:cxn>
                    <a:cxn ang="0">
                      <a:pos x="12" y="29"/>
                    </a:cxn>
                    <a:cxn ang="0">
                      <a:pos x="12" y="32"/>
                    </a:cxn>
                    <a:cxn ang="0">
                      <a:pos x="18" y="41"/>
                    </a:cxn>
                    <a:cxn ang="0">
                      <a:pos x="12" y="56"/>
                    </a:cxn>
                    <a:cxn ang="0">
                      <a:pos x="2" y="58"/>
                    </a:cxn>
                    <a:cxn ang="0">
                      <a:pos x="0" y="61"/>
                    </a:cxn>
                    <a:cxn ang="0">
                      <a:pos x="0" y="75"/>
                    </a:cxn>
                    <a:cxn ang="0">
                      <a:pos x="2" y="77"/>
                    </a:cxn>
                    <a:cxn ang="0">
                      <a:pos x="11" y="80"/>
                    </a:cxn>
                    <a:cxn ang="0">
                      <a:pos x="17" y="95"/>
                    </a:cxn>
                    <a:cxn ang="0">
                      <a:pos x="11" y="104"/>
                    </a:cxn>
                    <a:cxn ang="0">
                      <a:pos x="11" y="107"/>
                    </a:cxn>
                    <a:cxn ang="0">
                      <a:pos x="20" y="118"/>
                    </a:cxn>
                    <a:cxn ang="0">
                      <a:pos x="23" y="119"/>
                    </a:cxn>
                    <a:cxn ang="0">
                      <a:pos x="32" y="115"/>
                    </a:cxn>
                    <a:cxn ang="0">
                      <a:pos x="46" y="123"/>
                    </a:cxn>
                    <a:cxn ang="0">
                      <a:pos x="46" y="133"/>
                    </a:cxn>
                    <a:cxn ang="0">
                      <a:pos x="48" y="135"/>
                    </a:cxn>
                    <a:cxn ang="0">
                      <a:pos x="62" y="138"/>
                    </a:cxn>
                    <a:cxn ang="0">
                      <a:pos x="65" y="137"/>
                    </a:cxn>
                    <a:cxn ang="0">
                      <a:pos x="70" y="128"/>
                    </a:cxn>
                    <a:cxn ang="0">
                      <a:pos x="78" y="127"/>
                    </a:cxn>
                    <a:cxn ang="0">
                      <a:pos x="86" y="125"/>
                    </a:cxn>
                    <a:cxn ang="0">
                      <a:pos x="93" y="133"/>
                    </a:cxn>
                    <a:cxn ang="0">
                      <a:pos x="96" y="133"/>
                    </a:cxn>
                    <a:cxn ang="0">
                      <a:pos x="108" y="126"/>
                    </a:cxn>
                    <a:cxn ang="0">
                      <a:pos x="110" y="123"/>
                    </a:cxn>
                    <a:cxn ang="0">
                      <a:pos x="107" y="113"/>
                    </a:cxn>
                    <a:cxn ang="0">
                      <a:pos x="118" y="101"/>
                    </a:cxn>
                    <a:cxn ang="0">
                      <a:pos x="128" y="102"/>
                    </a:cxn>
                    <a:cxn ang="0">
                      <a:pos x="130" y="101"/>
                    </a:cxn>
                    <a:cxn ang="0">
                      <a:pos x="136" y="88"/>
                    </a:cxn>
                    <a:cxn ang="0">
                      <a:pos x="135" y="85"/>
                    </a:cxn>
                    <a:cxn ang="0">
                      <a:pos x="127" y="78"/>
                    </a:cxn>
                    <a:cxn ang="0">
                      <a:pos x="127" y="63"/>
                    </a:cxn>
                    <a:cxn ang="0">
                      <a:pos x="135" y="57"/>
                    </a:cxn>
                    <a:cxn ang="0">
                      <a:pos x="136" y="54"/>
                    </a:cxn>
                    <a:cxn ang="0">
                      <a:pos x="86" y="91"/>
                    </a:cxn>
                    <a:cxn ang="0">
                      <a:pos x="47" y="87"/>
                    </a:cxn>
                    <a:cxn ang="0">
                      <a:pos x="51" y="47"/>
                    </a:cxn>
                    <a:cxn ang="0">
                      <a:pos x="91" y="52"/>
                    </a:cxn>
                    <a:cxn ang="0">
                      <a:pos x="86" y="91"/>
                    </a:cxn>
                  </a:cxnLst>
                  <a:rect l="0" t="0" r="r" b="b"/>
                  <a:pathLst>
                    <a:path w="137" h="138">
                      <a:moveTo>
                        <a:pt x="136" y="54"/>
                      </a:moveTo>
                      <a:cubicBezTo>
                        <a:pt x="136" y="53"/>
                        <a:pt x="132" y="41"/>
                        <a:pt x="132" y="40"/>
                      </a:cubicBezTo>
                      <a:cubicBezTo>
                        <a:pt x="131" y="39"/>
                        <a:pt x="130" y="38"/>
                        <a:pt x="129" y="39"/>
                      </a:cubicBezTo>
                      <a:cubicBezTo>
                        <a:pt x="128" y="39"/>
                        <a:pt x="120" y="39"/>
                        <a:pt x="119" y="39"/>
                      </a:cubicBezTo>
                      <a:cubicBezTo>
                        <a:pt x="116" y="35"/>
                        <a:pt x="113" y="30"/>
                        <a:pt x="109" y="27"/>
                      </a:cubicBezTo>
                      <a:cubicBezTo>
                        <a:pt x="109" y="26"/>
                        <a:pt x="111" y="18"/>
                        <a:pt x="112" y="17"/>
                      </a:cubicBezTo>
                      <a:cubicBezTo>
                        <a:pt x="112" y="16"/>
                        <a:pt x="112" y="15"/>
                        <a:pt x="111" y="14"/>
                      </a:cubicBezTo>
                      <a:cubicBezTo>
                        <a:pt x="110" y="14"/>
                        <a:pt x="99" y="7"/>
                        <a:pt x="98" y="7"/>
                      </a:cubicBezTo>
                      <a:cubicBezTo>
                        <a:pt x="97" y="6"/>
                        <a:pt x="96" y="6"/>
                        <a:pt x="95" y="7"/>
                      </a:cubicBezTo>
                      <a:cubicBezTo>
                        <a:pt x="94" y="8"/>
                        <a:pt x="89" y="13"/>
                        <a:pt x="88" y="14"/>
                      </a:cubicBezTo>
                      <a:cubicBezTo>
                        <a:pt x="83" y="12"/>
                        <a:pt x="78" y="11"/>
                        <a:pt x="72" y="11"/>
                      </a:cubicBezTo>
                      <a:cubicBezTo>
                        <a:pt x="72" y="10"/>
                        <a:pt x="69" y="3"/>
                        <a:pt x="68" y="2"/>
                      </a:cubicBezTo>
                      <a:cubicBezTo>
                        <a:pt x="68" y="1"/>
                        <a:pt x="67" y="0"/>
                        <a:pt x="65" y="0"/>
                      </a:cubicBezTo>
                      <a:cubicBezTo>
                        <a:pt x="51" y="2"/>
                        <a:pt x="51" y="2"/>
                        <a:pt x="51" y="2"/>
                      </a:cubicBezTo>
                      <a:cubicBezTo>
                        <a:pt x="50" y="2"/>
                        <a:pt x="49" y="3"/>
                        <a:pt x="49" y="4"/>
                      </a:cubicBezTo>
                      <a:cubicBezTo>
                        <a:pt x="49" y="6"/>
                        <a:pt x="48" y="13"/>
                        <a:pt x="48" y="15"/>
                      </a:cubicBezTo>
                      <a:cubicBezTo>
                        <a:pt x="43" y="17"/>
                        <a:pt x="38" y="19"/>
                        <a:pt x="34" y="22"/>
                      </a:cubicBezTo>
                      <a:cubicBezTo>
                        <a:pt x="33" y="22"/>
                        <a:pt x="26" y="19"/>
                        <a:pt x="25" y="18"/>
                      </a:cubicBezTo>
                      <a:cubicBezTo>
                        <a:pt x="24" y="17"/>
                        <a:pt x="23" y="17"/>
                        <a:pt x="22" y="19"/>
                      </a:cubicBezTo>
                      <a:cubicBezTo>
                        <a:pt x="21" y="19"/>
                        <a:pt x="13" y="29"/>
                        <a:pt x="12" y="29"/>
                      </a:cubicBezTo>
                      <a:cubicBezTo>
                        <a:pt x="11" y="30"/>
                        <a:pt x="11" y="31"/>
                        <a:pt x="12" y="32"/>
                      </a:cubicBezTo>
                      <a:cubicBezTo>
                        <a:pt x="13" y="34"/>
                        <a:pt x="17" y="40"/>
                        <a:pt x="18" y="41"/>
                      </a:cubicBezTo>
                      <a:cubicBezTo>
                        <a:pt x="15" y="46"/>
                        <a:pt x="13" y="50"/>
                        <a:pt x="12" y="56"/>
                      </a:cubicBezTo>
                      <a:cubicBezTo>
                        <a:pt x="11" y="56"/>
                        <a:pt x="4" y="58"/>
                        <a:pt x="2" y="58"/>
                      </a:cubicBezTo>
                      <a:cubicBezTo>
                        <a:pt x="1" y="59"/>
                        <a:pt x="0" y="59"/>
                        <a:pt x="0" y="61"/>
                      </a:cubicBezTo>
                      <a:cubicBezTo>
                        <a:pt x="0" y="61"/>
                        <a:pt x="0" y="74"/>
                        <a:pt x="0" y="75"/>
                      </a:cubicBezTo>
                      <a:cubicBezTo>
                        <a:pt x="0" y="76"/>
                        <a:pt x="1" y="77"/>
                        <a:pt x="2" y="77"/>
                      </a:cubicBezTo>
                      <a:cubicBezTo>
                        <a:pt x="3" y="78"/>
                        <a:pt x="10" y="80"/>
                        <a:pt x="11" y="80"/>
                      </a:cubicBezTo>
                      <a:cubicBezTo>
                        <a:pt x="12" y="86"/>
                        <a:pt x="14" y="91"/>
                        <a:pt x="17" y="95"/>
                      </a:cubicBezTo>
                      <a:cubicBezTo>
                        <a:pt x="16" y="96"/>
                        <a:pt x="11" y="102"/>
                        <a:pt x="11" y="104"/>
                      </a:cubicBezTo>
                      <a:cubicBezTo>
                        <a:pt x="10" y="105"/>
                        <a:pt x="10" y="106"/>
                        <a:pt x="11" y="107"/>
                      </a:cubicBezTo>
                      <a:cubicBezTo>
                        <a:pt x="11" y="107"/>
                        <a:pt x="19" y="118"/>
                        <a:pt x="20" y="118"/>
                      </a:cubicBezTo>
                      <a:cubicBezTo>
                        <a:pt x="21" y="119"/>
                        <a:pt x="22" y="119"/>
                        <a:pt x="23" y="119"/>
                      </a:cubicBezTo>
                      <a:cubicBezTo>
                        <a:pt x="24" y="118"/>
                        <a:pt x="31" y="115"/>
                        <a:pt x="32" y="115"/>
                      </a:cubicBezTo>
                      <a:cubicBezTo>
                        <a:pt x="36" y="118"/>
                        <a:pt x="41" y="121"/>
                        <a:pt x="46" y="123"/>
                      </a:cubicBezTo>
                      <a:cubicBezTo>
                        <a:pt x="46" y="124"/>
                        <a:pt x="46" y="132"/>
                        <a:pt x="46" y="133"/>
                      </a:cubicBezTo>
                      <a:cubicBezTo>
                        <a:pt x="46" y="134"/>
                        <a:pt x="47" y="135"/>
                        <a:pt x="48" y="135"/>
                      </a:cubicBezTo>
                      <a:cubicBezTo>
                        <a:pt x="49" y="136"/>
                        <a:pt x="62" y="138"/>
                        <a:pt x="62" y="138"/>
                      </a:cubicBezTo>
                      <a:cubicBezTo>
                        <a:pt x="64" y="138"/>
                        <a:pt x="65" y="138"/>
                        <a:pt x="65" y="137"/>
                      </a:cubicBezTo>
                      <a:cubicBezTo>
                        <a:pt x="66" y="135"/>
                        <a:pt x="69" y="129"/>
                        <a:pt x="70" y="128"/>
                      </a:cubicBezTo>
                      <a:cubicBezTo>
                        <a:pt x="72" y="128"/>
                        <a:pt x="75" y="127"/>
                        <a:pt x="78" y="127"/>
                      </a:cubicBezTo>
                      <a:cubicBezTo>
                        <a:pt x="80" y="127"/>
                        <a:pt x="83" y="126"/>
                        <a:pt x="86" y="125"/>
                      </a:cubicBezTo>
                      <a:cubicBezTo>
                        <a:pt x="86" y="126"/>
                        <a:pt x="92" y="132"/>
                        <a:pt x="93" y="133"/>
                      </a:cubicBezTo>
                      <a:cubicBezTo>
                        <a:pt x="93" y="133"/>
                        <a:pt x="95" y="134"/>
                        <a:pt x="96" y="133"/>
                      </a:cubicBezTo>
                      <a:cubicBezTo>
                        <a:pt x="96" y="133"/>
                        <a:pt x="108" y="126"/>
                        <a:pt x="108" y="126"/>
                      </a:cubicBezTo>
                      <a:cubicBezTo>
                        <a:pt x="110" y="126"/>
                        <a:pt x="110" y="124"/>
                        <a:pt x="110" y="123"/>
                      </a:cubicBezTo>
                      <a:cubicBezTo>
                        <a:pt x="109" y="122"/>
                        <a:pt x="108" y="115"/>
                        <a:pt x="107" y="113"/>
                      </a:cubicBezTo>
                      <a:cubicBezTo>
                        <a:pt x="111" y="110"/>
                        <a:pt x="115" y="106"/>
                        <a:pt x="118" y="101"/>
                      </a:cubicBezTo>
                      <a:cubicBezTo>
                        <a:pt x="119" y="102"/>
                        <a:pt x="126" y="102"/>
                        <a:pt x="128" y="102"/>
                      </a:cubicBezTo>
                      <a:cubicBezTo>
                        <a:pt x="129" y="103"/>
                        <a:pt x="130" y="102"/>
                        <a:pt x="130" y="101"/>
                      </a:cubicBezTo>
                      <a:cubicBezTo>
                        <a:pt x="131" y="100"/>
                        <a:pt x="135" y="88"/>
                        <a:pt x="136" y="88"/>
                      </a:cubicBezTo>
                      <a:cubicBezTo>
                        <a:pt x="136" y="86"/>
                        <a:pt x="136" y="85"/>
                        <a:pt x="135" y="85"/>
                      </a:cubicBezTo>
                      <a:cubicBezTo>
                        <a:pt x="133" y="84"/>
                        <a:pt x="128" y="79"/>
                        <a:pt x="127" y="78"/>
                      </a:cubicBezTo>
                      <a:cubicBezTo>
                        <a:pt x="127" y="73"/>
                        <a:pt x="128" y="68"/>
                        <a:pt x="127" y="63"/>
                      </a:cubicBezTo>
                      <a:cubicBezTo>
                        <a:pt x="128" y="62"/>
                        <a:pt x="134" y="58"/>
                        <a:pt x="135" y="57"/>
                      </a:cubicBezTo>
                      <a:cubicBezTo>
                        <a:pt x="136" y="56"/>
                        <a:pt x="137" y="55"/>
                        <a:pt x="136" y="54"/>
                      </a:cubicBezTo>
                      <a:close/>
                      <a:moveTo>
                        <a:pt x="86" y="91"/>
                      </a:moveTo>
                      <a:cubicBezTo>
                        <a:pt x="74" y="101"/>
                        <a:pt x="57" y="99"/>
                        <a:pt x="47" y="87"/>
                      </a:cubicBezTo>
                      <a:cubicBezTo>
                        <a:pt x="37" y="75"/>
                        <a:pt x="39" y="57"/>
                        <a:pt x="51" y="47"/>
                      </a:cubicBezTo>
                      <a:cubicBezTo>
                        <a:pt x="63" y="38"/>
                        <a:pt x="81" y="40"/>
                        <a:pt x="91" y="52"/>
                      </a:cubicBezTo>
                      <a:cubicBezTo>
                        <a:pt x="100" y="64"/>
                        <a:pt x="99" y="81"/>
                        <a:pt x="86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  <p:sp>
              <p:nvSpPr>
                <p:cNvPr id="142" name="Freeform 131"/>
                <p:cNvSpPr>
                  <a:spLocks noEditPoints="1"/>
                </p:cNvSpPr>
                <p:nvPr/>
              </p:nvSpPr>
              <p:spPr bwMode="auto">
                <a:xfrm>
                  <a:off x="7104063" y="3678230"/>
                  <a:ext cx="665162" cy="657225"/>
                </a:xfrm>
                <a:custGeom>
                  <a:avLst/>
                  <a:gdLst/>
                  <a:ahLst/>
                  <a:cxnLst>
                    <a:cxn ang="0">
                      <a:pos x="259" y="120"/>
                    </a:cxn>
                    <a:cxn ang="0">
                      <a:pos x="254" y="93"/>
                    </a:cxn>
                    <a:cxn ang="0">
                      <a:pos x="250" y="89"/>
                    </a:cxn>
                    <a:cxn ang="0">
                      <a:pos x="231" y="87"/>
                    </a:cxn>
                    <a:cxn ang="0">
                      <a:pos x="216" y="62"/>
                    </a:cxn>
                    <a:cxn ang="0">
                      <a:pos x="224" y="44"/>
                    </a:cxn>
                    <a:cxn ang="0">
                      <a:pos x="222" y="39"/>
                    </a:cxn>
                    <a:cxn ang="0">
                      <a:pos x="202" y="22"/>
                    </a:cxn>
                    <a:cxn ang="0">
                      <a:pos x="196" y="21"/>
                    </a:cxn>
                    <a:cxn ang="0">
                      <a:pos x="180" y="32"/>
                    </a:cxn>
                    <a:cxn ang="0">
                      <a:pos x="152" y="22"/>
                    </a:cxn>
                    <a:cxn ang="0">
                      <a:pos x="147" y="4"/>
                    </a:cxn>
                    <a:cxn ang="0">
                      <a:pos x="143" y="0"/>
                    </a:cxn>
                    <a:cxn ang="0">
                      <a:pos x="116" y="0"/>
                    </a:cxn>
                    <a:cxn ang="0">
                      <a:pos x="111" y="4"/>
                    </a:cxn>
                    <a:cxn ang="0">
                      <a:pos x="106" y="22"/>
                    </a:cxn>
                    <a:cxn ang="0">
                      <a:pos x="78" y="32"/>
                    </a:cxn>
                    <a:cxn ang="0">
                      <a:pos x="62" y="22"/>
                    </a:cxn>
                    <a:cxn ang="0">
                      <a:pos x="56" y="22"/>
                    </a:cxn>
                    <a:cxn ang="0">
                      <a:pos x="36" y="39"/>
                    </a:cxn>
                    <a:cxn ang="0">
                      <a:pos x="35" y="45"/>
                    </a:cxn>
                    <a:cxn ang="0">
                      <a:pos x="43" y="62"/>
                    </a:cxn>
                    <a:cxn ang="0">
                      <a:pos x="28" y="88"/>
                    </a:cxn>
                    <a:cxn ang="0">
                      <a:pos x="9" y="90"/>
                    </a:cxn>
                    <a:cxn ang="0">
                      <a:pos x="5" y="94"/>
                    </a:cxn>
                    <a:cxn ang="0">
                      <a:pos x="0" y="120"/>
                    </a:cxn>
                    <a:cxn ang="0">
                      <a:pos x="3" y="126"/>
                    </a:cxn>
                    <a:cxn ang="0">
                      <a:pos x="20" y="134"/>
                    </a:cxn>
                    <a:cxn ang="0">
                      <a:pos x="25" y="163"/>
                    </a:cxn>
                    <a:cxn ang="0">
                      <a:pos x="12" y="177"/>
                    </a:cxn>
                    <a:cxn ang="0">
                      <a:pos x="11" y="183"/>
                    </a:cxn>
                    <a:cxn ang="0">
                      <a:pos x="25" y="206"/>
                    </a:cxn>
                    <a:cxn ang="0">
                      <a:pos x="30" y="208"/>
                    </a:cxn>
                    <a:cxn ang="0">
                      <a:pos x="49" y="203"/>
                    </a:cxn>
                    <a:cxn ang="0">
                      <a:pos x="71" y="222"/>
                    </a:cxn>
                    <a:cxn ang="0">
                      <a:pos x="70" y="241"/>
                    </a:cxn>
                    <a:cxn ang="0">
                      <a:pos x="73" y="246"/>
                    </a:cxn>
                    <a:cxn ang="0">
                      <a:pos x="98" y="255"/>
                    </a:cxn>
                    <a:cxn ang="0">
                      <a:pos x="104" y="254"/>
                    </a:cxn>
                    <a:cxn ang="0">
                      <a:pos x="115" y="238"/>
                    </a:cxn>
                    <a:cxn ang="0">
                      <a:pos x="130" y="239"/>
                    </a:cxn>
                    <a:cxn ang="0">
                      <a:pos x="145" y="238"/>
                    </a:cxn>
                    <a:cxn ang="0">
                      <a:pos x="156" y="253"/>
                    </a:cxn>
                    <a:cxn ang="0">
                      <a:pos x="161" y="255"/>
                    </a:cxn>
                    <a:cxn ang="0">
                      <a:pos x="187" y="246"/>
                    </a:cxn>
                    <a:cxn ang="0">
                      <a:pos x="190" y="241"/>
                    </a:cxn>
                    <a:cxn ang="0">
                      <a:pos x="188" y="222"/>
                    </a:cxn>
                    <a:cxn ang="0">
                      <a:pos x="211" y="203"/>
                    </a:cxn>
                    <a:cxn ang="0">
                      <a:pos x="230" y="207"/>
                    </a:cxn>
                    <a:cxn ang="0">
                      <a:pos x="235" y="205"/>
                    </a:cxn>
                    <a:cxn ang="0">
                      <a:pos x="248" y="182"/>
                    </a:cxn>
                    <a:cxn ang="0">
                      <a:pos x="248" y="176"/>
                    </a:cxn>
                    <a:cxn ang="0">
                      <a:pos x="234" y="162"/>
                    </a:cxn>
                    <a:cxn ang="0">
                      <a:pos x="239" y="133"/>
                    </a:cxn>
                    <a:cxn ang="0">
                      <a:pos x="256" y="125"/>
                    </a:cxn>
                    <a:cxn ang="0">
                      <a:pos x="259" y="120"/>
                    </a:cxn>
                    <a:cxn ang="0">
                      <a:pos x="165" y="190"/>
                    </a:cxn>
                    <a:cxn ang="0">
                      <a:pos x="69" y="165"/>
                    </a:cxn>
                    <a:cxn ang="0">
                      <a:pos x="94" y="69"/>
                    </a:cxn>
                    <a:cxn ang="0">
                      <a:pos x="190" y="94"/>
                    </a:cxn>
                    <a:cxn ang="0">
                      <a:pos x="165" y="190"/>
                    </a:cxn>
                  </a:cxnLst>
                  <a:rect l="0" t="0" r="r" b="b"/>
                  <a:pathLst>
                    <a:path w="259" h="256">
                      <a:moveTo>
                        <a:pt x="259" y="120"/>
                      </a:moveTo>
                      <a:cubicBezTo>
                        <a:pt x="259" y="118"/>
                        <a:pt x="254" y="94"/>
                        <a:pt x="254" y="93"/>
                      </a:cubicBezTo>
                      <a:cubicBezTo>
                        <a:pt x="254" y="91"/>
                        <a:pt x="252" y="89"/>
                        <a:pt x="250" y="89"/>
                      </a:cubicBezTo>
                      <a:cubicBezTo>
                        <a:pt x="247" y="89"/>
                        <a:pt x="233" y="88"/>
                        <a:pt x="231" y="87"/>
                      </a:cubicBezTo>
                      <a:cubicBezTo>
                        <a:pt x="227" y="78"/>
                        <a:pt x="222" y="70"/>
                        <a:pt x="216" y="62"/>
                      </a:cubicBezTo>
                      <a:cubicBezTo>
                        <a:pt x="217" y="60"/>
                        <a:pt x="223" y="47"/>
                        <a:pt x="224" y="44"/>
                      </a:cubicBezTo>
                      <a:cubicBezTo>
                        <a:pt x="225" y="42"/>
                        <a:pt x="224" y="40"/>
                        <a:pt x="222" y="39"/>
                      </a:cubicBezTo>
                      <a:cubicBezTo>
                        <a:pt x="222" y="38"/>
                        <a:pt x="203" y="22"/>
                        <a:pt x="202" y="22"/>
                      </a:cubicBezTo>
                      <a:cubicBezTo>
                        <a:pt x="200" y="20"/>
                        <a:pt x="198" y="20"/>
                        <a:pt x="196" y="21"/>
                      </a:cubicBezTo>
                      <a:cubicBezTo>
                        <a:pt x="194" y="23"/>
                        <a:pt x="182" y="31"/>
                        <a:pt x="180" y="32"/>
                      </a:cubicBezTo>
                      <a:cubicBezTo>
                        <a:pt x="172" y="27"/>
                        <a:pt x="162" y="24"/>
                        <a:pt x="152" y="22"/>
                      </a:cubicBezTo>
                      <a:cubicBezTo>
                        <a:pt x="152" y="20"/>
                        <a:pt x="148" y="6"/>
                        <a:pt x="147" y="4"/>
                      </a:cubicBezTo>
                      <a:cubicBezTo>
                        <a:pt x="147" y="2"/>
                        <a:pt x="145" y="0"/>
                        <a:pt x="143" y="0"/>
                      </a:cubicBez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2" y="2"/>
                        <a:pt x="111" y="4"/>
                      </a:cubicBezTo>
                      <a:cubicBezTo>
                        <a:pt x="110" y="7"/>
                        <a:pt x="107" y="20"/>
                        <a:pt x="106" y="22"/>
                      </a:cubicBezTo>
                      <a:cubicBezTo>
                        <a:pt x="96" y="24"/>
                        <a:pt x="87" y="28"/>
                        <a:pt x="78" y="32"/>
                      </a:cubicBezTo>
                      <a:cubicBezTo>
                        <a:pt x="76" y="31"/>
                        <a:pt x="65" y="23"/>
                        <a:pt x="62" y="22"/>
                      </a:cubicBezTo>
                      <a:cubicBezTo>
                        <a:pt x="61" y="21"/>
                        <a:pt x="58" y="20"/>
                        <a:pt x="56" y="22"/>
                      </a:cubicBezTo>
                      <a:cubicBezTo>
                        <a:pt x="56" y="23"/>
                        <a:pt x="37" y="38"/>
                        <a:pt x="36" y="39"/>
                      </a:cubicBezTo>
                      <a:cubicBezTo>
                        <a:pt x="34" y="41"/>
                        <a:pt x="34" y="43"/>
                        <a:pt x="35" y="45"/>
                      </a:cubicBezTo>
                      <a:cubicBezTo>
                        <a:pt x="36" y="48"/>
                        <a:pt x="42" y="60"/>
                        <a:pt x="43" y="62"/>
                      </a:cubicBezTo>
                      <a:cubicBezTo>
                        <a:pt x="37" y="70"/>
                        <a:pt x="32" y="79"/>
                        <a:pt x="28" y="88"/>
                      </a:cubicBezTo>
                      <a:cubicBezTo>
                        <a:pt x="25" y="88"/>
                        <a:pt x="12" y="90"/>
                        <a:pt x="9" y="90"/>
                      </a:cubicBezTo>
                      <a:cubicBezTo>
                        <a:pt x="7" y="90"/>
                        <a:pt x="5" y="91"/>
                        <a:pt x="5" y="94"/>
                      </a:cubicBezTo>
                      <a:cubicBezTo>
                        <a:pt x="4" y="95"/>
                        <a:pt x="0" y="119"/>
                        <a:pt x="0" y="120"/>
                      </a:cubicBezTo>
                      <a:cubicBezTo>
                        <a:pt x="0" y="123"/>
                        <a:pt x="1" y="125"/>
                        <a:pt x="3" y="126"/>
                      </a:cubicBezTo>
                      <a:cubicBezTo>
                        <a:pt x="6" y="127"/>
                        <a:pt x="18" y="133"/>
                        <a:pt x="20" y="134"/>
                      </a:cubicBezTo>
                      <a:cubicBezTo>
                        <a:pt x="20" y="144"/>
                        <a:pt x="22" y="154"/>
                        <a:pt x="25" y="163"/>
                      </a:cubicBezTo>
                      <a:cubicBezTo>
                        <a:pt x="24" y="165"/>
                        <a:pt x="14" y="175"/>
                        <a:pt x="12" y="177"/>
                      </a:cubicBezTo>
                      <a:cubicBezTo>
                        <a:pt x="10" y="178"/>
                        <a:pt x="10" y="180"/>
                        <a:pt x="11" y="183"/>
                      </a:cubicBezTo>
                      <a:cubicBezTo>
                        <a:pt x="12" y="184"/>
                        <a:pt x="24" y="205"/>
                        <a:pt x="25" y="206"/>
                      </a:cubicBezTo>
                      <a:cubicBezTo>
                        <a:pt x="26" y="208"/>
                        <a:pt x="28" y="208"/>
                        <a:pt x="30" y="208"/>
                      </a:cubicBezTo>
                      <a:cubicBezTo>
                        <a:pt x="33" y="207"/>
                        <a:pt x="46" y="204"/>
                        <a:pt x="49" y="203"/>
                      </a:cubicBezTo>
                      <a:cubicBezTo>
                        <a:pt x="55" y="210"/>
                        <a:pt x="63" y="217"/>
                        <a:pt x="71" y="222"/>
                      </a:cubicBezTo>
                      <a:cubicBezTo>
                        <a:pt x="71" y="224"/>
                        <a:pt x="70" y="238"/>
                        <a:pt x="70" y="241"/>
                      </a:cubicBezTo>
                      <a:cubicBezTo>
                        <a:pt x="70" y="243"/>
                        <a:pt x="71" y="245"/>
                        <a:pt x="73" y="246"/>
                      </a:cubicBezTo>
                      <a:cubicBezTo>
                        <a:pt x="74" y="247"/>
                        <a:pt x="97" y="255"/>
                        <a:pt x="98" y="255"/>
                      </a:cubicBezTo>
                      <a:cubicBezTo>
                        <a:pt x="101" y="256"/>
                        <a:pt x="103" y="255"/>
                        <a:pt x="104" y="254"/>
                      </a:cubicBezTo>
                      <a:cubicBezTo>
                        <a:pt x="106" y="251"/>
                        <a:pt x="114" y="240"/>
                        <a:pt x="115" y="238"/>
                      </a:cubicBezTo>
                      <a:cubicBezTo>
                        <a:pt x="120" y="239"/>
                        <a:pt x="125" y="239"/>
                        <a:pt x="130" y="239"/>
                      </a:cubicBezTo>
                      <a:cubicBezTo>
                        <a:pt x="135" y="239"/>
                        <a:pt x="140" y="239"/>
                        <a:pt x="145" y="238"/>
                      </a:cubicBezTo>
                      <a:cubicBezTo>
                        <a:pt x="146" y="240"/>
                        <a:pt x="154" y="251"/>
                        <a:pt x="156" y="253"/>
                      </a:cubicBezTo>
                      <a:cubicBezTo>
                        <a:pt x="157" y="255"/>
                        <a:pt x="159" y="256"/>
                        <a:pt x="161" y="255"/>
                      </a:cubicBezTo>
                      <a:cubicBezTo>
                        <a:pt x="163" y="255"/>
                        <a:pt x="186" y="246"/>
                        <a:pt x="187" y="246"/>
                      </a:cubicBezTo>
                      <a:cubicBezTo>
                        <a:pt x="189" y="245"/>
                        <a:pt x="190" y="243"/>
                        <a:pt x="190" y="241"/>
                      </a:cubicBezTo>
                      <a:cubicBezTo>
                        <a:pt x="190" y="238"/>
                        <a:pt x="188" y="224"/>
                        <a:pt x="188" y="222"/>
                      </a:cubicBezTo>
                      <a:cubicBezTo>
                        <a:pt x="197" y="216"/>
                        <a:pt x="204" y="210"/>
                        <a:pt x="211" y="203"/>
                      </a:cubicBezTo>
                      <a:cubicBezTo>
                        <a:pt x="213" y="203"/>
                        <a:pt x="227" y="207"/>
                        <a:pt x="230" y="207"/>
                      </a:cubicBezTo>
                      <a:cubicBezTo>
                        <a:pt x="231" y="208"/>
                        <a:pt x="234" y="207"/>
                        <a:pt x="235" y="205"/>
                      </a:cubicBezTo>
                      <a:cubicBezTo>
                        <a:pt x="235" y="204"/>
                        <a:pt x="248" y="183"/>
                        <a:pt x="248" y="182"/>
                      </a:cubicBezTo>
                      <a:cubicBezTo>
                        <a:pt x="249" y="180"/>
                        <a:pt x="249" y="178"/>
                        <a:pt x="248" y="176"/>
                      </a:cubicBezTo>
                      <a:cubicBezTo>
                        <a:pt x="245" y="174"/>
                        <a:pt x="236" y="164"/>
                        <a:pt x="234" y="162"/>
                      </a:cubicBezTo>
                      <a:cubicBezTo>
                        <a:pt x="237" y="153"/>
                        <a:pt x="239" y="143"/>
                        <a:pt x="239" y="133"/>
                      </a:cubicBezTo>
                      <a:cubicBezTo>
                        <a:pt x="241" y="132"/>
                        <a:pt x="254" y="126"/>
                        <a:pt x="256" y="125"/>
                      </a:cubicBezTo>
                      <a:cubicBezTo>
                        <a:pt x="258" y="124"/>
                        <a:pt x="259" y="122"/>
                        <a:pt x="259" y="120"/>
                      </a:cubicBezTo>
                      <a:close/>
                      <a:moveTo>
                        <a:pt x="165" y="190"/>
                      </a:moveTo>
                      <a:cubicBezTo>
                        <a:pt x="131" y="209"/>
                        <a:pt x="88" y="198"/>
                        <a:pt x="69" y="165"/>
                      </a:cubicBezTo>
                      <a:cubicBezTo>
                        <a:pt x="50" y="131"/>
                        <a:pt x="61" y="88"/>
                        <a:pt x="94" y="69"/>
                      </a:cubicBezTo>
                      <a:cubicBezTo>
                        <a:pt x="128" y="49"/>
                        <a:pt x="171" y="60"/>
                        <a:pt x="190" y="94"/>
                      </a:cubicBezTo>
                      <a:cubicBezTo>
                        <a:pt x="210" y="127"/>
                        <a:pt x="198" y="170"/>
                        <a:pt x="165" y="19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  <p:sp>
            <p:nvSpPr>
              <p:cNvPr id="131" name="Freeform 132"/>
              <p:cNvSpPr>
                <a:spLocks/>
              </p:cNvSpPr>
              <p:nvPr/>
            </p:nvSpPr>
            <p:spPr bwMode="auto">
              <a:xfrm>
                <a:off x="5676219" y="4559068"/>
                <a:ext cx="65365" cy="58331"/>
              </a:xfrm>
              <a:custGeom>
                <a:avLst/>
                <a:gdLst/>
                <a:ahLst/>
                <a:cxnLst>
                  <a:cxn ang="0">
                    <a:pos x="139" y="98"/>
                  </a:cxn>
                  <a:cxn ang="0">
                    <a:pos x="136" y="76"/>
                  </a:cxn>
                  <a:cxn ang="0">
                    <a:pos x="177" y="36"/>
                  </a:cxn>
                  <a:cxn ang="0">
                    <a:pos x="161" y="18"/>
                  </a:cxn>
                  <a:cxn ang="0">
                    <a:pos x="121" y="61"/>
                  </a:cxn>
                  <a:cxn ang="0">
                    <a:pos x="99" y="58"/>
                  </a:cxn>
                  <a:cxn ang="0">
                    <a:pos x="70" y="0"/>
                  </a:cxn>
                  <a:cxn ang="0">
                    <a:pos x="51" y="14"/>
                  </a:cxn>
                  <a:cxn ang="0">
                    <a:pos x="80" y="67"/>
                  </a:cxn>
                  <a:cxn ang="0">
                    <a:pos x="70" y="87"/>
                  </a:cxn>
                  <a:cxn ang="0">
                    <a:pos x="1" y="97"/>
                  </a:cxn>
                  <a:cxn ang="0">
                    <a:pos x="2" y="121"/>
                  </a:cxn>
                  <a:cxn ang="0">
                    <a:pos x="73" y="108"/>
                  </a:cxn>
                  <a:cxn ang="0">
                    <a:pos x="89" y="124"/>
                  </a:cxn>
                  <a:cxn ang="0">
                    <a:pos x="79" y="182"/>
                  </a:cxn>
                  <a:cxn ang="0">
                    <a:pos x="103" y="181"/>
                  </a:cxn>
                  <a:cxn ang="0">
                    <a:pos x="110" y="127"/>
                  </a:cxn>
                  <a:cxn ang="0">
                    <a:pos x="130" y="117"/>
                  </a:cxn>
                  <a:cxn ang="0">
                    <a:pos x="180" y="143"/>
                  </a:cxn>
                  <a:cxn ang="0">
                    <a:pos x="193" y="123"/>
                  </a:cxn>
                  <a:cxn ang="0">
                    <a:pos x="139" y="98"/>
                  </a:cxn>
                </a:cxnLst>
                <a:rect l="0" t="0" r="r" b="b"/>
                <a:pathLst>
                  <a:path w="193" h="182">
                    <a:moveTo>
                      <a:pt x="139" y="98"/>
                    </a:moveTo>
                    <a:cubicBezTo>
                      <a:pt x="128" y="93"/>
                      <a:pt x="127" y="85"/>
                      <a:pt x="136" y="76"/>
                    </a:cubicBezTo>
                    <a:cubicBezTo>
                      <a:pt x="141" y="71"/>
                      <a:pt x="161" y="51"/>
                      <a:pt x="177" y="36"/>
                    </a:cubicBezTo>
                    <a:cubicBezTo>
                      <a:pt x="172" y="30"/>
                      <a:pt x="167" y="24"/>
                      <a:pt x="161" y="18"/>
                    </a:cubicBezTo>
                    <a:cubicBezTo>
                      <a:pt x="146" y="35"/>
                      <a:pt x="126" y="56"/>
                      <a:pt x="121" y="61"/>
                    </a:cubicBezTo>
                    <a:cubicBezTo>
                      <a:pt x="112" y="70"/>
                      <a:pt x="104" y="69"/>
                      <a:pt x="99" y="58"/>
                    </a:cubicBezTo>
                    <a:cubicBezTo>
                      <a:pt x="95" y="50"/>
                      <a:pt x="80" y="20"/>
                      <a:pt x="70" y="0"/>
                    </a:cubicBezTo>
                    <a:cubicBezTo>
                      <a:pt x="63" y="4"/>
                      <a:pt x="57" y="9"/>
                      <a:pt x="51" y="14"/>
                    </a:cubicBezTo>
                    <a:cubicBezTo>
                      <a:pt x="62" y="34"/>
                      <a:pt x="76" y="60"/>
                      <a:pt x="80" y="67"/>
                    </a:cubicBezTo>
                    <a:cubicBezTo>
                      <a:pt x="86" y="78"/>
                      <a:pt x="82" y="85"/>
                      <a:pt x="70" y="87"/>
                    </a:cubicBezTo>
                    <a:cubicBezTo>
                      <a:pt x="61" y="89"/>
                      <a:pt x="23" y="94"/>
                      <a:pt x="1" y="97"/>
                    </a:cubicBezTo>
                    <a:cubicBezTo>
                      <a:pt x="0" y="105"/>
                      <a:pt x="0" y="113"/>
                      <a:pt x="2" y="121"/>
                    </a:cubicBezTo>
                    <a:cubicBezTo>
                      <a:pt x="23" y="117"/>
                      <a:pt x="64" y="109"/>
                      <a:pt x="73" y="108"/>
                    </a:cubicBezTo>
                    <a:cubicBezTo>
                      <a:pt x="85" y="106"/>
                      <a:pt x="91" y="111"/>
                      <a:pt x="89" y="124"/>
                    </a:cubicBezTo>
                    <a:cubicBezTo>
                      <a:pt x="88" y="131"/>
                      <a:pt x="83" y="160"/>
                      <a:pt x="79" y="182"/>
                    </a:cubicBezTo>
                    <a:cubicBezTo>
                      <a:pt x="87" y="182"/>
                      <a:pt x="95" y="182"/>
                      <a:pt x="103" y="181"/>
                    </a:cubicBezTo>
                    <a:cubicBezTo>
                      <a:pt x="106" y="159"/>
                      <a:pt x="109" y="134"/>
                      <a:pt x="110" y="127"/>
                    </a:cubicBezTo>
                    <a:cubicBezTo>
                      <a:pt x="111" y="115"/>
                      <a:pt x="119" y="111"/>
                      <a:pt x="130" y="117"/>
                    </a:cubicBezTo>
                    <a:cubicBezTo>
                      <a:pt x="136" y="120"/>
                      <a:pt x="161" y="133"/>
                      <a:pt x="180" y="143"/>
                    </a:cubicBezTo>
                    <a:cubicBezTo>
                      <a:pt x="186" y="137"/>
                      <a:pt x="190" y="130"/>
                      <a:pt x="193" y="123"/>
                    </a:cubicBezTo>
                    <a:cubicBezTo>
                      <a:pt x="172" y="114"/>
                      <a:pt x="146" y="101"/>
                      <a:pt x="139" y="98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2101"/>
                <a:endParaRPr lang="en-US" sz="2100" dirty="0">
                  <a:solidFill>
                    <a:srgbClr val="0096D6"/>
                  </a:solidFill>
                  <a:latin typeface="Calibri"/>
                  <a:ea typeface="ＭＳ Ｐゴシック" pitchFamily="34" charset="-128"/>
                </a:endParaRPr>
              </a:p>
            </p:txBody>
          </p:sp>
          <p:grpSp>
            <p:nvGrpSpPr>
              <p:cNvPr id="132" name="Group 131"/>
              <p:cNvGrpSpPr/>
              <p:nvPr/>
            </p:nvGrpSpPr>
            <p:grpSpPr>
              <a:xfrm>
                <a:off x="5323541" y="4241313"/>
                <a:ext cx="720000" cy="189147"/>
                <a:chOff x="1470993" y="2648578"/>
                <a:chExt cx="720000" cy="189147"/>
              </a:xfrm>
            </p:grpSpPr>
            <p:sp>
              <p:nvSpPr>
                <p:cNvPr id="133" name="Rounded Rectangle 41"/>
                <p:cNvSpPr/>
                <p:nvPr/>
              </p:nvSpPr>
              <p:spPr>
                <a:xfrm>
                  <a:off x="1548156" y="2648578"/>
                  <a:ext cx="567692" cy="189147"/>
                </a:xfrm>
                <a:prstGeom prst="round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6"/>
                </a:lnRef>
                <a:fillRef idx="2">
                  <a:schemeClr val="accent6"/>
                </a:fillRef>
                <a:effectRef idx="1">
                  <a:schemeClr val="accent6"/>
                </a:effectRef>
                <a:fontRef idx="minor">
                  <a:schemeClr val="dk1"/>
                </a:fontRef>
              </p:style>
              <p:txBody>
                <a:bodyPr lIns="91440" tIns="45720" rIns="91440" bIns="45720" rtlCol="0" anchor="ctr"/>
                <a:lstStyle/>
                <a:p>
                  <a:pPr algn="ctr" defTabSz="452101"/>
                  <a:endParaRPr lang="en-US" sz="210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sp>
              <p:nvSpPr>
                <p:cNvPr id="134" name="Rectangle 133"/>
                <p:cNvSpPr/>
                <p:nvPr/>
              </p:nvSpPr>
              <p:spPr>
                <a:xfrm>
                  <a:off x="1470993" y="2657576"/>
                  <a:ext cx="720000" cy="155245"/>
                </a:xfrm>
                <a:prstGeom prst="rect">
                  <a:avLst/>
                </a:prstGeom>
                <a:ln>
                  <a:noFill/>
                </a:ln>
              </p:spPr>
              <p:txBody>
                <a:bodyPr wrap="square" lIns="67853" tIns="33916" rIns="67853" bIns="33916" anchor="ctr">
                  <a:spAutoFit/>
                </a:bodyPr>
                <a:lstStyle/>
                <a:p>
                  <a:pPr algn="ctr" defTabSz="1075912"/>
                  <a:r>
                    <a:rPr lang="en-US" sz="900" dirty="0">
                      <a:solidFill>
                        <a:schemeClr val="bg1"/>
                      </a:solidFill>
                      <a:latin typeface="+mj-lt"/>
                    </a:rPr>
                    <a:t>Virtual Switch</a:t>
                  </a:r>
                </a:p>
              </p:txBody>
            </p:sp>
          </p:grpSp>
        </p:grpSp>
        <p:sp>
          <p:nvSpPr>
            <p:cNvPr id="157" name="Rounded Rectangle 41"/>
            <p:cNvSpPr/>
            <p:nvPr/>
          </p:nvSpPr>
          <p:spPr>
            <a:xfrm>
              <a:off x="4850142" y="4697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C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C / IP_C</a:t>
              </a:r>
            </a:p>
          </p:txBody>
        </p:sp>
        <p:sp>
          <p:nvSpPr>
            <p:cNvPr id="159" name="Rounded Rectangle 41"/>
            <p:cNvSpPr/>
            <p:nvPr/>
          </p:nvSpPr>
          <p:spPr>
            <a:xfrm>
              <a:off x="5806382" y="4697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Y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Y / IP_Y</a:t>
              </a:r>
            </a:p>
          </p:txBody>
        </p:sp>
      </p:grpSp>
      <p:sp>
        <p:nvSpPr>
          <p:cNvPr id="170" name="Oval 169"/>
          <p:cNvSpPr/>
          <p:nvPr/>
        </p:nvSpPr>
        <p:spPr>
          <a:xfrm>
            <a:off x="5944583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sp>
        <p:nvSpPr>
          <p:cNvPr id="171" name="Oval 170"/>
          <p:cNvSpPr/>
          <p:nvPr/>
        </p:nvSpPr>
        <p:spPr>
          <a:xfrm>
            <a:off x="6575220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cxnSp>
        <p:nvCxnSpPr>
          <p:cNvPr id="12" name="Curved Connector 11"/>
          <p:cNvCxnSpPr>
            <a:stCxn id="2" idx="5"/>
            <a:endCxn id="170" idx="4"/>
          </p:cNvCxnSpPr>
          <p:nvPr/>
        </p:nvCxnSpPr>
        <p:spPr bwMode="auto">
          <a:xfrm rot="5400000" flipH="1" flipV="1">
            <a:off x="4619330" y="1416169"/>
            <a:ext cx="1003779" cy="219318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2" name="Curved Connector 171"/>
          <p:cNvCxnSpPr>
            <a:stCxn id="2" idx="5"/>
            <a:endCxn id="171" idx="4"/>
          </p:cNvCxnSpPr>
          <p:nvPr/>
        </p:nvCxnSpPr>
        <p:spPr bwMode="auto">
          <a:xfrm rot="5400000" flipH="1" flipV="1">
            <a:off x="4934649" y="1100850"/>
            <a:ext cx="1003779" cy="2823819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4" name="Curved Connector 173"/>
          <p:cNvCxnSpPr>
            <a:stCxn id="145" idx="5"/>
            <a:endCxn id="170" idx="4"/>
          </p:cNvCxnSpPr>
          <p:nvPr/>
        </p:nvCxnSpPr>
        <p:spPr bwMode="auto">
          <a:xfrm rot="5400000" flipH="1" flipV="1">
            <a:off x="4638121" y="3068336"/>
            <a:ext cx="2637153" cy="522255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5" name="Curved Connector 174"/>
          <p:cNvCxnSpPr>
            <a:stCxn id="145" idx="5"/>
            <a:endCxn id="171" idx="4"/>
          </p:cNvCxnSpPr>
          <p:nvPr/>
        </p:nvCxnSpPr>
        <p:spPr bwMode="auto">
          <a:xfrm rot="5400000" flipH="1" flipV="1">
            <a:off x="4953440" y="2753001"/>
            <a:ext cx="2637153" cy="115289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Curved Connector 175"/>
          <p:cNvCxnSpPr>
            <a:stCxn id="137" idx="4"/>
            <a:endCxn id="171" idx="4"/>
          </p:cNvCxnSpPr>
          <p:nvPr/>
        </p:nvCxnSpPr>
        <p:spPr bwMode="auto">
          <a:xfrm rot="16200000" flipV="1">
            <a:off x="7163376" y="1695957"/>
            <a:ext cx="909953" cy="153978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Curved Connector 176"/>
          <p:cNvCxnSpPr>
            <a:stCxn id="137" idx="4"/>
            <a:endCxn id="170" idx="4"/>
          </p:cNvCxnSpPr>
          <p:nvPr/>
        </p:nvCxnSpPr>
        <p:spPr bwMode="auto">
          <a:xfrm rot="16200000" flipV="1">
            <a:off x="6848059" y="1380654"/>
            <a:ext cx="909953" cy="2170417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pic>
        <p:nvPicPr>
          <p:cNvPr id="6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10912" y="2819417"/>
            <a:ext cx="820222" cy="805025"/>
          </a:xfrm>
          <a:prstGeom prst="rect">
            <a:avLst/>
          </a:prstGeom>
          <a:noFill/>
        </p:spPr>
      </p:pic>
      <p:pic>
        <p:nvPicPr>
          <p:cNvPr id="143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81839" y="4452791"/>
            <a:ext cx="820222" cy="805025"/>
          </a:xfrm>
          <a:prstGeom prst="rect">
            <a:avLst/>
          </a:prstGeom>
          <a:noFill/>
        </p:spPr>
      </p:pic>
      <p:pic>
        <p:nvPicPr>
          <p:cNvPr id="135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1721" y="2725591"/>
            <a:ext cx="820222" cy="805025"/>
          </a:xfrm>
          <a:prstGeom prst="rect">
            <a:avLst/>
          </a:prstGeom>
          <a:noFill/>
        </p:spPr>
      </p:pic>
      <p:grpSp>
        <p:nvGrpSpPr>
          <p:cNvPr id="26" name="Group 25"/>
          <p:cNvGrpSpPr/>
          <p:nvPr/>
        </p:nvGrpSpPr>
        <p:grpSpPr>
          <a:xfrm>
            <a:off x="3713813" y="2920823"/>
            <a:ext cx="4985229" cy="2141728"/>
            <a:chOff x="2784893" y="2190617"/>
            <a:chExt cx="3739896" cy="1606296"/>
          </a:xfrm>
        </p:grpSpPr>
        <p:grpSp>
          <p:nvGrpSpPr>
            <p:cNvPr id="136" name="Group 135"/>
            <p:cNvGrpSpPr/>
            <p:nvPr/>
          </p:nvGrpSpPr>
          <p:grpSpPr>
            <a:xfrm>
              <a:off x="6213893" y="2190617"/>
              <a:ext cx="310896" cy="310896"/>
              <a:chOff x="3200400" y="3562350"/>
              <a:chExt cx="310896" cy="310896"/>
            </a:xfrm>
          </p:grpSpPr>
          <p:sp>
            <p:nvSpPr>
              <p:cNvPr id="137" name="Hexagon 136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38" name="TextBox 137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2</a:t>
                </a: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2784893" y="2260986"/>
              <a:ext cx="310896" cy="310896"/>
              <a:chOff x="3200400" y="3562350"/>
              <a:chExt cx="310896" cy="310896"/>
            </a:xfrm>
          </p:grpSpPr>
          <p:sp>
            <p:nvSpPr>
              <p:cNvPr id="2" name="Hexagon 1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1</a:t>
                </a:r>
              </a:p>
            </p:txBody>
          </p:sp>
        </p:grpSp>
        <p:grpSp>
          <p:nvGrpSpPr>
            <p:cNvPr id="144" name="Group 143"/>
            <p:cNvGrpSpPr/>
            <p:nvPr/>
          </p:nvGrpSpPr>
          <p:grpSpPr>
            <a:xfrm>
              <a:off x="4038415" y="3486017"/>
              <a:ext cx="310896" cy="310896"/>
              <a:chOff x="3200400" y="3562350"/>
              <a:chExt cx="310896" cy="310896"/>
            </a:xfrm>
          </p:grpSpPr>
          <p:sp>
            <p:nvSpPr>
              <p:cNvPr id="145" name="Hexagon 144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46" name="TextBox 145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3</a:t>
                </a:r>
              </a:p>
            </p:txBody>
          </p:sp>
        </p:grpSp>
      </p:grpSp>
      <p:sp>
        <p:nvSpPr>
          <p:cNvPr id="154" name="Oval 153"/>
          <p:cNvSpPr>
            <a:spLocks noChangeAspect="1"/>
          </p:cNvSpPr>
          <p:nvPr/>
        </p:nvSpPr>
        <p:spPr bwMode="auto">
          <a:xfrm>
            <a:off x="5470063" y="4351175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53" name="Oval 152"/>
          <p:cNvSpPr>
            <a:spLocks noChangeAspect="1"/>
          </p:cNvSpPr>
          <p:nvPr/>
        </p:nvSpPr>
        <p:spPr bwMode="auto">
          <a:xfrm>
            <a:off x="4087359" y="3099992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55" name="Oval 154"/>
          <p:cNvSpPr>
            <a:spLocks noChangeAspect="1"/>
          </p:cNvSpPr>
          <p:nvPr/>
        </p:nvSpPr>
        <p:spPr bwMode="auto">
          <a:xfrm>
            <a:off x="8081721" y="3006167"/>
            <a:ext cx="243777" cy="24384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372"/>
            <a:endParaRPr lang="en-US" sz="19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361993" y="2078251"/>
            <a:ext cx="1752711" cy="992084"/>
            <a:chOff x="3271155" y="1558686"/>
            <a:chExt cx="1314876" cy="744063"/>
          </a:xfrm>
        </p:grpSpPr>
        <p:grpSp>
          <p:nvGrpSpPr>
            <p:cNvPr id="183" name="Group 182"/>
            <p:cNvGrpSpPr/>
            <p:nvPr/>
          </p:nvGrpSpPr>
          <p:grpSpPr>
            <a:xfrm>
              <a:off x="3824329" y="1932238"/>
              <a:ext cx="267465" cy="291048"/>
              <a:chOff x="1293288" y="1515133"/>
              <a:chExt cx="267465" cy="291048"/>
            </a:xfrm>
          </p:grpSpPr>
          <p:sp>
            <p:nvSpPr>
              <p:cNvPr id="184" name="Oval 183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85" name="TextBox 184"/>
              <p:cNvSpPr txBox="1"/>
              <p:nvPr/>
            </p:nvSpPr>
            <p:spPr>
              <a:xfrm>
                <a:off x="1306923" y="1515133"/>
                <a:ext cx="240195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cxnSp>
          <p:nvCxnSpPr>
            <p:cNvPr id="186" name="Straight Arrow Connector 185"/>
            <p:cNvCxnSpPr/>
            <p:nvPr/>
          </p:nvCxnSpPr>
          <p:spPr bwMode="auto">
            <a:xfrm flipV="1">
              <a:off x="3271155" y="1558686"/>
              <a:ext cx="1314876" cy="744063"/>
            </a:xfrm>
            <a:prstGeom prst="straightConnector1">
              <a:avLst/>
            </a:prstGeom>
            <a:ln>
              <a:headEnd type="arrow" w="lg" len="lg"/>
              <a:tailEnd type="none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/>
        </p:nvGrpSpPr>
        <p:grpSpPr>
          <a:xfrm>
            <a:off x="5601731" y="2112458"/>
            <a:ext cx="949029" cy="2155219"/>
            <a:chOff x="4201189" y="1584342"/>
            <a:chExt cx="711957" cy="1616414"/>
          </a:xfrm>
        </p:grpSpPr>
        <p:cxnSp>
          <p:nvCxnSpPr>
            <p:cNvPr id="187" name="Straight Arrow Connector 186"/>
            <p:cNvCxnSpPr/>
            <p:nvPr/>
          </p:nvCxnSpPr>
          <p:spPr bwMode="auto">
            <a:xfrm flipV="1">
              <a:off x="4201189" y="1584342"/>
              <a:ext cx="711957" cy="1616414"/>
            </a:xfrm>
            <a:prstGeom prst="straightConnector1">
              <a:avLst/>
            </a:prstGeom>
            <a:ln>
              <a:headEnd type="arrow" w="lg" len="lg"/>
              <a:tailEnd type="none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89" name="Group 188"/>
            <p:cNvGrpSpPr/>
            <p:nvPr/>
          </p:nvGrpSpPr>
          <p:grpSpPr>
            <a:xfrm>
              <a:off x="4271774" y="2116710"/>
              <a:ext cx="267465" cy="291048"/>
              <a:chOff x="1293288" y="1515133"/>
              <a:chExt cx="267465" cy="291048"/>
            </a:xfrm>
          </p:grpSpPr>
          <p:sp>
            <p:nvSpPr>
              <p:cNvPr id="190" name="Oval 189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91" name="TextBox 190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6790155" y="2129578"/>
            <a:ext cx="1402169" cy="752617"/>
            <a:chOff x="5092739" y="1597171"/>
            <a:chExt cx="1051901" cy="564463"/>
          </a:xfrm>
        </p:grpSpPr>
        <p:cxnSp>
          <p:nvCxnSpPr>
            <p:cNvPr id="188" name="Straight Arrow Connector 187"/>
            <p:cNvCxnSpPr/>
            <p:nvPr/>
          </p:nvCxnSpPr>
          <p:spPr bwMode="auto">
            <a:xfrm flipH="1" flipV="1">
              <a:off x="5092739" y="1597171"/>
              <a:ext cx="1051901" cy="564463"/>
            </a:xfrm>
            <a:prstGeom prst="straightConnector1">
              <a:avLst/>
            </a:prstGeom>
            <a:ln>
              <a:headEnd type="arrow" w="lg" len="lg"/>
              <a:tailEnd type="none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92" name="Group 191"/>
            <p:cNvGrpSpPr/>
            <p:nvPr/>
          </p:nvGrpSpPr>
          <p:grpSpPr>
            <a:xfrm>
              <a:off x="5745464" y="1646919"/>
              <a:ext cx="267465" cy="291048"/>
              <a:chOff x="1293288" y="1515133"/>
              <a:chExt cx="267465" cy="291048"/>
            </a:xfrm>
          </p:grpSpPr>
          <p:sp>
            <p:nvSpPr>
              <p:cNvPr id="193" name="Oval 192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96" name="TextBox 195"/>
              <p:cNvSpPr txBox="1"/>
              <p:nvPr/>
            </p:nvSpPr>
            <p:spPr>
              <a:xfrm>
                <a:off x="1306923" y="1515133"/>
                <a:ext cx="240195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</p:grpSp>
      <p:grpSp>
        <p:nvGrpSpPr>
          <p:cNvPr id="227" name="Group 226"/>
          <p:cNvGrpSpPr/>
          <p:nvPr/>
        </p:nvGrpSpPr>
        <p:grpSpPr>
          <a:xfrm>
            <a:off x="352189" y="5232364"/>
            <a:ext cx="3237511" cy="539635"/>
            <a:chOff x="359217" y="1262300"/>
            <a:chExt cx="2428766" cy="404726"/>
          </a:xfrm>
        </p:grpSpPr>
        <p:grpSp>
          <p:nvGrpSpPr>
            <p:cNvPr id="197" name="Group 196"/>
            <p:cNvGrpSpPr/>
            <p:nvPr/>
          </p:nvGrpSpPr>
          <p:grpSpPr>
            <a:xfrm>
              <a:off x="359217" y="1322316"/>
              <a:ext cx="267465" cy="291048"/>
              <a:chOff x="1293288" y="1515133"/>
              <a:chExt cx="267465" cy="291048"/>
            </a:xfrm>
          </p:grpSpPr>
          <p:sp>
            <p:nvSpPr>
              <p:cNvPr id="198" name="Oval 197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200" name="TextBox 199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sp>
          <p:nvSpPr>
            <p:cNvPr id="201" name="TextBox 200"/>
            <p:cNvSpPr txBox="1"/>
            <p:nvPr/>
          </p:nvSpPr>
          <p:spPr>
            <a:xfrm>
              <a:off x="684530" y="1262300"/>
              <a:ext cx="2103453" cy="404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BGP consolidates and</a:t>
              </a:r>
            </a:p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propagates VTEP list for VNI</a:t>
              </a:r>
            </a:p>
          </p:txBody>
        </p:sp>
      </p:grpSp>
      <p:graphicFrame>
        <p:nvGraphicFramePr>
          <p:cNvPr id="203" name="Table 202"/>
          <p:cNvGraphicFramePr>
            <a:graphicFrameLocks noGrp="1"/>
          </p:cNvGraphicFramePr>
          <p:nvPr>
            <p:extLst/>
          </p:nvPr>
        </p:nvGraphicFramePr>
        <p:xfrm>
          <a:off x="6118843" y="3883777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</a:p>
                    <a:p>
                      <a:r>
                        <a:rPr lang="en-US" sz="1200" dirty="0" smtClean="0"/>
                        <a:t>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1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2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4" name="Table 203"/>
          <p:cNvGraphicFramePr>
            <a:graphicFrameLocks noGrp="1"/>
          </p:cNvGraphicFramePr>
          <p:nvPr>
            <p:extLst/>
          </p:nvPr>
        </p:nvGraphicFramePr>
        <p:xfrm>
          <a:off x="8319567" y="1741748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</a:t>
                      </a:r>
                      <a:r>
                        <a:rPr lang="en-US" sz="1200" baseline="0" dirty="0" smtClean="0"/>
                        <a:t>1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3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3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05" name="Table 204"/>
          <p:cNvGraphicFramePr>
            <a:graphicFrameLocks noGrp="1"/>
          </p:cNvGraphicFramePr>
          <p:nvPr>
            <p:extLst/>
          </p:nvPr>
        </p:nvGraphicFramePr>
        <p:xfrm>
          <a:off x="2873991" y="1813349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2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3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</a:p>
                    <a:p>
                      <a:r>
                        <a:rPr lang="en-US" sz="1200" dirty="0" smtClean="0"/>
                        <a:t>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3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18" name="Group 117"/>
          <p:cNvGrpSpPr/>
          <p:nvPr/>
        </p:nvGrpSpPr>
        <p:grpSpPr>
          <a:xfrm>
            <a:off x="352189" y="5846081"/>
            <a:ext cx="2994255" cy="539635"/>
            <a:chOff x="359217" y="1262300"/>
            <a:chExt cx="2246276" cy="404726"/>
          </a:xfrm>
        </p:grpSpPr>
        <p:grpSp>
          <p:nvGrpSpPr>
            <p:cNvPr id="120" name="Group 119"/>
            <p:cNvGrpSpPr/>
            <p:nvPr/>
          </p:nvGrpSpPr>
          <p:grpSpPr>
            <a:xfrm>
              <a:off x="359217" y="1322316"/>
              <a:ext cx="267465" cy="291048"/>
              <a:chOff x="1293288" y="1515133"/>
              <a:chExt cx="267465" cy="291048"/>
            </a:xfrm>
          </p:grpSpPr>
          <p:sp>
            <p:nvSpPr>
              <p:cNvPr id="122" name="Oval 121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3" name="TextBox 122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  <p:sp>
          <p:nvSpPr>
            <p:cNvPr id="121" name="TextBox 120"/>
            <p:cNvSpPr txBox="1"/>
            <p:nvPr/>
          </p:nvSpPr>
          <p:spPr>
            <a:xfrm>
              <a:off x="684530" y="1262300"/>
              <a:ext cx="1920963" cy="4047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VTEP obtains list of VTEP</a:t>
              </a:r>
            </a:p>
            <a:p>
              <a:pPr>
                <a:lnSpc>
                  <a:spcPct val="90000"/>
                </a:lnSpc>
              </a:pPr>
              <a:r>
                <a:rPr lang="en-US" sz="1600" dirty="0">
                  <a:solidFill>
                    <a:srgbClr val="000000"/>
                  </a:solidFill>
                </a:rPr>
                <a:t>neighbors for each VNI</a:t>
              </a: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3737929" y="1385518"/>
            <a:ext cx="356529" cy="388064"/>
            <a:chOff x="1293288" y="1515133"/>
            <a:chExt cx="267465" cy="291048"/>
          </a:xfrm>
        </p:grpSpPr>
        <p:sp>
          <p:nvSpPr>
            <p:cNvPr id="125" name="Oval 124"/>
            <p:cNvSpPr>
              <a:spLocks noChangeAspect="1"/>
            </p:cNvSpPr>
            <p:nvPr/>
          </p:nvSpPr>
          <p:spPr bwMode="auto">
            <a:xfrm>
              <a:off x="1293288" y="1531861"/>
              <a:ext cx="267465" cy="27432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1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1306923" y="1515133"/>
              <a:ext cx="240193" cy="2885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0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9190661" y="1323594"/>
            <a:ext cx="356529" cy="388064"/>
            <a:chOff x="1293288" y="1515133"/>
            <a:chExt cx="267465" cy="291048"/>
          </a:xfrm>
        </p:grpSpPr>
        <p:sp>
          <p:nvSpPr>
            <p:cNvPr id="129" name="Oval 128"/>
            <p:cNvSpPr>
              <a:spLocks noChangeAspect="1"/>
            </p:cNvSpPr>
            <p:nvPr/>
          </p:nvSpPr>
          <p:spPr bwMode="auto">
            <a:xfrm>
              <a:off x="1293288" y="1531861"/>
              <a:ext cx="267465" cy="27432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1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306923" y="1515133"/>
              <a:ext cx="240193" cy="2885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00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6991311" y="3468196"/>
            <a:ext cx="356529" cy="388064"/>
            <a:chOff x="1293288" y="1515133"/>
            <a:chExt cx="267465" cy="291048"/>
          </a:xfrm>
        </p:grpSpPr>
        <p:sp>
          <p:nvSpPr>
            <p:cNvPr id="148" name="Oval 147"/>
            <p:cNvSpPr>
              <a:spLocks noChangeAspect="1"/>
            </p:cNvSpPr>
            <p:nvPr/>
          </p:nvSpPr>
          <p:spPr bwMode="auto">
            <a:xfrm>
              <a:off x="1293288" y="1531861"/>
              <a:ext cx="267465" cy="27432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1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49" name="TextBox 148"/>
            <p:cNvSpPr txBox="1"/>
            <p:nvPr/>
          </p:nvSpPr>
          <p:spPr>
            <a:xfrm>
              <a:off x="1306923" y="1515133"/>
              <a:ext cx="240193" cy="2885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00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53549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itle 9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-End </a:t>
            </a:r>
            <a:r>
              <a:rPr lang="en-US" dirty="0" smtClean="0"/>
              <a:t>Replica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ulticast Independ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26</a:t>
            </a:fld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1481112" y="3221912"/>
            <a:ext cx="2232700" cy="1832688"/>
            <a:chOff x="1109932" y="2416434"/>
            <a:chExt cx="1674961" cy="1374516"/>
          </a:xfrm>
        </p:grpSpPr>
        <p:cxnSp>
          <p:nvCxnSpPr>
            <p:cNvPr id="116" name="Elbow Connector 115"/>
            <p:cNvCxnSpPr>
              <a:stCxn id="2" idx="3"/>
              <a:endCxn id="99" idx="0"/>
            </p:cNvCxnSpPr>
            <p:nvPr/>
          </p:nvCxnSpPr>
          <p:spPr bwMode="auto">
            <a:xfrm rot="10800000" flipV="1">
              <a:off x="1567133" y="2416434"/>
              <a:ext cx="1217760" cy="23151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8" name="Group 97"/>
            <p:cNvGrpSpPr>
              <a:grpSpLocks noChangeAspect="1"/>
            </p:cNvGrpSpPr>
            <p:nvPr/>
          </p:nvGrpSpPr>
          <p:grpSpPr>
            <a:xfrm>
              <a:off x="1334355" y="2647950"/>
              <a:ext cx="465555" cy="764988"/>
              <a:chOff x="807667" y="2504215"/>
              <a:chExt cx="359997" cy="591541"/>
            </a:xfrm>
          </p:grpSpPr>
          <p:pic>
            <p:nvPicPr>
              <p:cNvPr id="99" name="Picture 2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00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101" name="Rounded Rectangle 100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01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102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104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5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6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3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sp>
          <p:nvSpPr>
            <p:cNvPr id="124" name="Rounded Rectangle 41"/>
            <p:cNvSpPr/>
            <p:nvPr/>
          </p:nvSpPr>
          <p:spPr>
            <a:xfrm>
              <a:off x="1109932" y="34778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A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A / IP_A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699058" y="3128100"/>
            <a:ext cx="2647061" cy="2028113"/>
            <a:chOff x="6524789" y="2346065"/>
            <a:chExt cx="1985813" cy="1521085"/>
          </a:xfrm>
        </p:grpSpPr>
        <p:grpSp>
          <p:nvGrpSpPr>
            <p:cNvPr id="60" name="Group 59"/>
            <p:cNvGrpSpPr>
              <a:grpSpLocks noChangeAspect="1"/>
            </p:cNvGrpSpPr>
            <p:nvPr/>
          </p:nvGrpSpPr>
          <p:grpSpPr>
            <a:xfrm>
              <a:off x="7820625" y="2715826"/>
              <a:ext cx="465555" cy="764988"/>
              <a:chOff x="807667" y="2504215"/>
              <a:chExt cx="359997" cy="591541"/>
            </a:xfrm>
          </p:grpSpPr>
          <p:pic>
            <p:nvPicPr>
              <p:cNvPr id="61" name="Picture 2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62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63" name="Rounded Rectangle 62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01"/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64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66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7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68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01"/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65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01"/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</a:endParaRPr>
                </a:p>
              </p:txBody>
            </p:sp>
          </p:grpSp>
        </p:grpSp>
        <p:cxnSp>
          <p:nvCxnSpPr>
            <p:cNvPr id="119" name="Elbow Connector 118"/>
            <p:cNvCxnSpPr>
              <a:stCxn id="137" idx="0"/>
              <a:endCxn id="61" idx="0"/>
            </p:cNvCxnSpPr>
            <p:nvPr/>
          </p:nvCxnSpPr>
          <p:spPr bwMode="auto">
            <a:xfrm>
              <a:off x="6524789" y="2346065"/>
              <a:ext cx="1528614" cy="369761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62" name="Rounded Rectangle 41"/>
            <p:cNvSpPr/>
            <p:nvPr/>
          </p:nvSpPr>
          <p:spPr>
            <a:xfrm>
              <a:off x="7596202" y="3554026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B</a:t>
              </a:r>
            </a:p>
            <a:p>
              <a:pPr algn="ctr" defTabSz="685372"/>
              <a:r>
                <a:rPr lang="en-US" sz="1100" dirty="0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MAC_B / IP_B</a:t>
              </a:r>
            </a:p>
          </p:txBody>
        </p:sp>
      </p:grpSp>
      <p:cxnSp>
        <p:nvCxnSpPr>
          <p:cNvPr id="194" name="Straight Connector 193"/>
          <p:cNvCxnSpPr>
            <a:stCxn id="127" idx="6"/>
          </p:cNvCxnSpPr>
          <p:nvPr/>
        </p:nvCxnSpPr>
        <p:spPr bwMode="auto">
          <a:xfrm flipV="1">
            <a:off x="4331136" y="2283853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5" name="Straight Connector 194"/>
          <p:cNvCxnSpPr>
            <a:stCxn id="142" idx="0"/>
          </p:cNvCxnSpPr>
          <p:nvPr/>
        </p:nvCxnSpPr>
        <p:spPr bwMode="auto">
          <a:xfrm flipV="1">
            <a:off x="5591949" y="2283851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>
            <a:endCxn id="134" idx="1"/>
          </p:cNvCxnSpPr>
          <p:nvPr/>
        </p:nvCxnSpPr>
        <p:spPr bwMode="auto">
          <a:xfrm>
            <a:off x="5596335" y="228386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/>
        </p:nvCxnSpPr>
        <p:spPr>
          <a:xfrm>
            <a:off x="7305940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7575524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7833109" y="5794201"/>
            <a:ext cx="0" cy="202408"/>
          </a:xfrm>
          <a:prstGeom prst="line">
            <a:avLst/>
          </a:prstGeom>
          <a:ln w="12700" cap="rnd" cmpd="sng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>
          <a:xfrm>
            <a:off x="7483012" y="5985505"/>
            <a:ext cx="202630" cy="205781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40" tIns="60920" rIns="121840" bIns="60920" rtlCol="0" anchor="ctr"/>
          <a:lstStyle/>
          <a:p>
            <a:pPr algn="ctr" defTabSz="452101"/>
            <a:endParaRPr lang="en-US" sz="210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80" name="Group 165"/>
          <p:cNvGrpSpPr/>
          <p:nvPr/>
        </p:nvGrpSpPr>
        <p:grpSpPr>
          <a:xfrm>
            <a:off x="7483012" y="6002035"/>
            <a:ext cx="190180" cy="171104"/>
            <a:chOff x="6688138" y="3305167"/>
            <a:chExt cx="1081087" cy="1030288"/>
          </a:xfrm>
          <a:solidFill>
            <a:schemeClr val="bg1"/>
          </a:solidFill>
        </p:grpSpPr>
        <p:sp>
          <p:nvSpPr>
            <p:cNvPr id="85" name="Freeform 129"/>
            <p:cNvSpPr>
              <a:spLocks noEditPoints="1"/>
            </p:cNvSpPr>
            <p:nvPr/>
          </p:nvSpPr>
          <p:spPr bwMode="auto">
            <a:xfrm>
              <a:off x="6688138" y="3470267"/>
              <a:ext cx="503237" cy="495300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101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86" name="Freeform 130"/>
            <p:cNvSpPr>
              <a:spLocks noEditPoints="1"/>
            </p:cNvSpPr>
            <p:nvPr/>
          </p:nvSpPr>
          <p:spPr bwMode="auto">
            <a:xfrm>
              <a:off x="7115175" y="3305167"/>
              <a:ext cx="350837" cy="354013"/>
            </a:xfrm>
            <a:custGeom>
              <a:avLst/>
              <a:gdLst/>
              <a:ahLst/>
              <a:cxnLst>
                <a:cxn ang="0">
                  <a:pos x="136" y="54"/>
                </a:cxn>
                <a:cxn ang="0">
                  <a:pos x="132" y="40"/>
                </a:cxn>
                <a:cxn ang="0">
                  <a:pos x="129" y="39"/>
                </a:cxn>
                <a:cxn ang="0">
                  <a:pos x="119" y="39"/>
                </a:cxn>
                <a:cxn ang="0">
                  <a:pos x="109" y="27"/>
                </a:cxn>
                <a:cxn ang="0">
                  <a:pos x="112" y="17"/>
                </a:cxn>
                <a:cxn ang="0">
                  <a:pos x="111" y="14"/>
                </a:cxn>
                <a:cxn ang="0">
                  <a:pos x="98" y="7"/>
                </a:cxn>
                <a:cxn ang="0">
                  <a:pos x="95" y="7"/>
                </a:cxn>
                <a:cxn ang="0">
                  <a:pos x="88" y="14"/>
                </a:cxn>
                <a:cxn ang="0">
                  <a:pos x="72" y="11"/>
                </a:cxn>
                <a:cxn ang="0">
                  <a:pos x="68" y="2"/>
                </a:cxn>
                <a:cxn ang="0">
                  <a:pos x="65" y="0"/>
                </a:cxn>
                <a:cxn ang="0">
                  <a:pos x="51" y="2"/>
                </a:cxn>
                <a:cxn ang="0">
                  <a:pos x="49" y="4"/>
                </a:cxn>
                <a:cxn ang="0">
                  <a:pos x="48" y="15"/>
                </a:cxn>
                <a:cxn ang="0">
                  <a:pos x="34" y="22"/>
                </a:cxn>
                <a:cxn ang="0">
                  <a:pos x="25" y="18"/>
                </a:cxn>
                <a:cxn ang="0">
                  <a:pos x="22" y="19"/>
                </a:cxn>
                <a:cxn ang="0">
                  <a:pos x="12" y="29"/>
                </a:cxn>
                <a:cxn ang="0">
                  <a:pos x="12" y="32"/>
                </a:cxn>
                <a:cxn ang="0">
                  <a:pos x="18" y="41"/>
                </a:cxn>
                <a:cxn ang="0">
                  <a:pos x="12" y="56"/>
                </a:cxn>
                <a:cxn ang="0">
                  <a:pos x="2" y="58"/>
                </a:cxn>
                <a:cxn ang="0">
                  <a:pos x="0" y="61"/>
                </a:cxn>
                <a:cxn ang="0">
                  <a:pos x="0" y="75"/>
                </a:cxn>
                <a:cxn ang="0">
                  <a:pos x="2" y="77"/>
                </a:cxn>
                <a:cxn ang="0">
                  <a:pos x="11" y="80"/>
                </a:cxn>
                <a:cxn ang="0">
                  <a:pos x="17" y="95"/>
                </a:cxn>
                <a:cxn ang="0">
                  <a:pos x="11" y="104"/>
                </a:cxn>
                <a:cxn ang="0">
                  <a:pos x="11" y="107"/>
                </a:cxn>
                <a:cxn ang="0">
                  <a:pos x="20" y="118"/>
                </a:cxn>
                <a:cxn ang="0">
                  <a:pos x="23" y="119"/>
                </a:cxn>
                <a:cxn ang="0">
                  <a:pos x="32" y="115"/>
                </a:cxn>
                <a:cxn ang="0">
                  <a:pos x="46" y="123"/>
                </a:cxn>
                <a:cxn ang="0">
                  <a:pos x="46" y="133"/>
                </a:cxn>
                <a:cxn ang="0">
                  <a:pos x="48" y="135"/>
                </a:cxn>
                <a:cxn ang="0">
                  <a:pos x="62" y="138"/>
                </a:cxn>
                <a:cxn ang="0">
                  <a:pos x="65" y="137"/>
                </a:cxn>
                <a:cxn ang="0">
                  <a:pos x="70" y="128"/>
                </a:cxn>
                <a:cxn ang="0">
                  <a:pos x="78" y="127"/>
                </a:cxn>
                <a:cxn ang="0">
                  <a:pos x="86" y="125"/>
                </a:cxn>
                <a:cxn ang="0">
                  <a:pos x="93" y="133"/>
                </a:cxn>
                <a:cxn ang="0">
                  <a:pos x="96" y="133"/>
                </a:cxn>
                <a:cxn ang="0">
                  <a:pos x="108" y="126"/>
                </a:cxn>
                <a:cxn ang="0">
                  <a:pos x="110" y="123"/>
                </a:cxn>
                <a:cxn ang="0">
                  <a:pos x="107" y="113"/>
                </a:cxn>
                <a:cxn ang="0">
                  <a:pos x="118" y="101"/>
                </a:cxn>
                <a:cxn ang="0">
                  <a:pos x="128" y="102"/>
                </a:cxn>
                <a:cxn ang="0">
                  <a:pos x="130" y="101"/>
                </a:cxn>
                <a:cxn ang="0">
                  <a:pos x="136" y="88"/>
                </a:cxn>
                <a:cxn ang="0">
                  <a:pos x="135" y="85"/>
                </a:cxn>
                <a:cxn ang="0">
                  <a:pos x="127" y="78"/>
                </a:cxn>
                <a:cxn ang="0">
                  <a:pos x="127" y="63"/>
                </a:cxn>
                <a:cxn ang="0">
                  <a:pos x="135" y="57"/>
                </a:cxn>
                <a:cxn ang="0">
                  <a:pos x="136" y="54"/>
                </a:cxn>
                <a:cxn ang="0">
                  <a:pos x="86" y="91"/>
                </a:cxn>
                <a:cxn ang="0">
                  <a:pos x="47" y="87"/>
                </a:cxn>
                <a:cxn ang="0">
                  <a:pos x="51" y="47"/>
                </a:cxn>
                <a:cxn ang="0">
                  <a:pos x="91" y="52"/>
                </a:cxn>
                <a:cxn ang="0">
                  <a:pos x="86" y="91"/>
                </a:cxn>
              </a:cxnLst>
              <a:rect l="0" t="0" r="r" b="b"/>
              <a:pathLst>
                <a:path w="137" h="138">
                  <a:moveTo>
                    <a:pt x="136" y="54"/>
                  </a:moveTo>
                  <a:cubicBezTo>
                    <a:pt x="136" y="53"/>
                    <a:pt x="132" y="41"/>
                    <a:pt x="132" y="40"/>
                  </a:cubicBezTo>
                  <a:cubicBezTo>
                    <a:pt x="131" y="39"/>
                    <a:pt x="130" y="38"/>
                    <a:pt x="129" y="39"/>
                  </a:cubicBezTo>
                  <a:cubicBezTo>
                    <a:pt x="128" y="39"/>
                    <a:pt x="120" y="39"/>
                    <a:pt x="119" y="39"/>
                  </a:cubicBezTo>
                  <a:cubicBezTo>
                    <a:pt x="116" y="35"/>
                    <a:pt x="113" y="30"/>
                    <a:pt x="109" y="27"/>
                  </a:cubicBezTo>
                  <a:cubicBezTo>
                    <a:pt x="109" y="26"/>
                    <a:pt x="111" y="18"/>
                    <a:pt x="112" y="17"/>
                  </a:cubicBezTo>
                  <a:cubicBezTo>
                    <a:pt x="112" y="16"/>
                    <a:pt x="112" y="15"/>
                    <a:pt x="111" y="14"/>
                  </a:cubicBezTo>
                  <a:cubicBezTo>
                    <a:pt x="110" y="14"/>
                    <a:pt x="99" y="7"/>
                    <a:pt x="98" y="7"/>
                  </a:cubicBezTo>
                  <a:cubicBezTo>
                    <a:pt x="97" y="6"/>
                    <a:pt x="96" y="6"/>
                    <a:pt x="95" y="7"/>
                  </a:cubicBezTo>
                  <a:cubicBezTo>
                    <a:pt x="94" y="8"/>
                    <a:pt x="89" y="13"/>
                    <a:pt x="88" y="14"/>
                  </a:cubicBezTo>
                  <a:cubicBezTo>
                    <a:pt x="83" y="12"/>
                    <a:pt x="78" y="11"/>
                    <a:pt x="72" y="11"/>
                  </a:cubicBezTo>
                  <a:cubicBezTo>
                    <a:pt x="72" y="10"/>
                    <a:pt x="69" y="3"/>
                    <a:pt x="68" y="2"/>
                  </a:cubicBezTo>
                  <a:cubicBezTo>
                    <a:pt x="68" y="1"/>
                    <a:pt x="67" y="0"/>
                    <a:pt x="65" y="0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49" y="3"/>
                    <a:pt x="49" y="4"/>
                  </a:cubicBezTo>
                  <a:cubicBezTo>
                    <a:pt x="49" y="6"/>
                    <a:pt x="48" y="13"/>
                    <a:pt x="48" y="15"/>
                  </a:cubicBezTo>
                  <a:cubicBezTo>
                    <a:pt x="43" y="17"/>
                    <a:pt x="38" y="19"/>
                    <a:pt x="34" y="22"/>
                  </a:cubicBezTo>
                  <a:cubicBezTo>
                    <a:pt x="33" y="22"/>
                    <a:pt x="26" y="19"/>
                    <a:pt x="25" y="18"/>
                  </a:cubicBezTo>
                  <a:cubicBezTo>
                    <a:pt x="24" y="17"/>
                    <a:pt x="23" y="17"/>
                    <a:pt x="22" y="19"/>
                  </a:cubicBezTo>
                  <a:cubicBezTo>
                    <a:pt x="21" y="19"/>
                    <a:pt x="13" y="29"/>
                    <a:pt x="12" y="29"/>
                  </a:cubicBezTo>
                  <a:cubicBezTo>
                    <a:pt x="11" y="30"/>
                    <a:pt x="11" y="31"/>
                    <a:pt x="12" y="32"/>
                  </a:cubicBezTo>
                  <a:cubicBezTo>
                    <a:pt x="13" y="34"/>
                    <a:pt x="17" y="40"/>
                    <a:pt x="18" y="41"/>
                  </a:cubicBezTo>
                  <a:cubicBezTo>
                    <a:pt x="15" y="46"/>
                    <a:pt x="13" y="50"/>
                    <a:pt x="12" y="56"/>
                  </a:cubicBezTo>
                  <a:cubicBezTo>
                    <a:pt x="11" y="56"/>
                    <a:pt x="4" y="58"/>
                    <a:pt x="2" y="58"/>
                  </a:cubicBezTo>
                  <a:cubicBezTo>
                    <a:pt x="1" y="59"/>
                    <a:pt x="0" y="59"/>
                    <a:pt x="0" y="61"/>
                  </a:cubicBezTo>
                  <a:cubicBezTo>
                    <a:pt x="0" y="61"/>
                    <a:pt x="0" y="74"/>
                    <a:pt x="0" y="75"/>
                  </a:cubicBezTo>
                  <a:cubicBezTo>
                    <a:pt x="0" y="76"/>
                    <a:pt x="1" y="77"/>
                    <a:pt x="2" y="77"/>
                  </a:cubicBezTo>
                  <a:cubicBezTo>
                    <a:pt x="3" y="78"/>
                    <a:pt x="10" y="80"/>
                    <a:pt x="11" y="80"/>
                  </a:cubicBezTo>
                  <a:cubicBezTo>
                    <a:pt x="12" y="86"/>
                    <a:pt x="14" y="91"/>
                    <a:pt x="17" y="95"/>
                  </a:cubicBezTo>
                  <a:cubicBezTo>
                    <a:pt x="16" y="96"/>
                    <a:pt x="11" y="102"/>
                    <a:pt x="11" y="104"/>
                  </a:cubicBezTo>
                  <a:cubicBezTo>
                    <a:pt x="10" y="105"/>
                    <a:pt x="10" y="106"/>
                    <a:pt x="11" y="107"/>
                  </a:cubicBezTo>
                  <a:cubicBezTo>
                    <a:pt x="11" y="107"/>
                    <a:pt x="19" y="118"/>
                    <a:pt x="20" y="118"/>
                  </a:cubicBezTo>
                  <a:cubicBezTo>
                    <a:pt x="21" y="119"/>
                    <a:pt x="22" y="119"/>
                    <a:pt x="23" y="119"/>
                  </a:cubicBezTo>
                  <a:cubicBezTo>
                    <a:pt x="24" y="118"/>
                    <a:pt x="31" y="115"/>
                    <a:pt x="32" y="115"/>
                  </a:cubicBezTo>
                  <a:cubicBezTo>
                    <a:pt x="36" y="118"/>
                    <a:pt x="41" y="121"/>
                    <a:pt x="46" y="123"/>
                  </a:cubicBezTo>
                  <a:cubicBezTo>
                    <a:pt x="46" y="124"/>
                    <a:pt x="46" y="132"/>
                    <a:pt x="46" y="133"/>
                  </a:cubicBezTo>
                  <a:cubicBezTo>
                    <a:pt x="46" y="134"/>
                    <a:pt x="47" y="135"/>
                    <a:pt x="48" y="135"/>
                  </a:cubicBezTo>
                  <a:cubicBezTo>
                    <a:pt x="49" y="136"/>
                    <a:pt x="62" y="138"/>
                    <a:pt x="62" y="138"/>
                  </a:cubicBezTo>
                  <a:cubicBezTo>
                    <a:pt x="64" y="138"/>
                    <a:pt x="65" y="138"/>
                    <a:pt x="65" y="137"/>
                  </a:cubicBezTo>
                  <a:cubicBezTo>
                    <a:pt x="66" y="135"/>
                    <a:pt x="69" y="129"/>
                    <a:pt x="70" y="128"/>
                  </a:cubicBezTo>
                  <a:cubicBezTo>
                    <a:pt x="72" y="128"/>
                    <a:pt x="75" y="127"/>
                    <a:pt x="78" y="127"/>
                  </a:cubicBezTo>
                  <a:cubicBezTo>
                    <a:pt x="80" y="127"/>
                    <a:pt x="83" y="126"/>
                    <a:pt x="86" y="125"/>
                  </a:cubicBezTo>
                  <a:cubicBezTo>
                    <a:pt x="86" y="126"/>
                    <a:pt x="92" y="132"/>
                    <a:pt x="93" y="133"/>
                  </a:cubicBezTo>
                  <a:cubicBezTo>
                    <a:pt x="93" y="133"/>
                    <a:pt x="95" y="134"/>
                    <a:pt x="96" y="133"/>
                  </a:cubicBezTo>
                  <a:cubicBezTo>
                    <a:pt x="96" y="133"/>
                    <a:pt x="108" y="126"/>
                    <a:pt x="108" y="126"/>
                  </a:cubicBezTo>
                  <a:cubicBezTo>
                    <a:pt x="110" y="126"/>
                    <a:pt x="110" y="124"/>
                    <a:pt x="110" y="123"/>
                  </a:cubicBezTo>
                  <a:cubicBezTo>
                    <a:pt x="109" y="122"/>
                    <a:pt x="108" y="115"/>
                    <a:pt x="107" y="113"/>
                  </a:cubicBezTo>
                  <a:cubicBezTo>
                    <a:pt x="111" y="110"/>
                    <a:pt x="115" y="106"/>
                    <a:pt x="118" y="101"/>
                  </a:cubicBezTo>
                  <a:cubicBezTo>
                    <a:pt x="119" y="102"/>
                    <a:pt x="126" y="102"/>
                    <a:pt x="128" y="102"/>
                  </a:cubicBezTo>
                  <a:cubicBezTo>
                    <a:pt x="129" y="103"/>
                    <a:pt x="130" y="102"/>
                    <a:pt x="130" y="101"/>
                  </a:cubicBezTo>
                  <a:cubicBezTo>
                    <a:pt x="131" y="100"/>
                    <a:pt x="135" y="88"/>
                    <a:pt x="136" y="88"/>
                  </a:cubicBezTo>
                  <a:cubicBezTo>
                    <a:pt x="136" y="86"/>
                    <a:pt x="136" y="85"/>
                    <a:pt x="135" y="85"/>
                  </a:cubicBezTo>
                  <a:cubicBezTo>
                    <a:pt x="133" y="84"/>
                    <a:pt x="128" y="79"/>
                    <a:pt x="127" y="78"/>
                  </a:cubicBezTo>
                  <a:cubicBezTo>
                    <a:pt x="127" y="73"/>
                    <a:pt x="128" y="68"/>
                    <a:pt x="127" y="63"/>
                  </a:cubicBezTo>
                  <a:cubicBezTo>
                    <a:pt x="128" y="62"/>
                    <a:pt x="134" y="58"/>
                    <a:pt x="135" y="57"/>
                  </a:cubicBezTo>
                  <a:cubicBezTo>
                    <a:pt x="136" y="56"/>
                    <a:pt x="137" y="55"/>
                    <a:pt x="136" y="54"/>
                  </a:cubicBezTo>
                  <a:close/>
                  <a:moveTo>
                    <a:pt x="86" y="91"/>
                  </a:moveTo>
                  <a:cubicBezTo>
                    <a:pt x="74" y="101"/>
                    <a:pt x="57" y="99"/>
                    <a:pt x="47" y="87"/>
                  </a:cubicBezTo>
                  <a:cubicBezTo>
                    <a:pt x="37" y="75"/>
                    <a:pt x="39" y="57"/>
                    <a:pt x="51" y="47"/>
                  </a:cubicBezTo>
                  <a:cubicBezTo>
                    <a:pt x="63" y="38"/>
                    <a:pt x="81" y="40"/>
                    <a:pt x="91" y="52"/>
                  </a:cubicBezTo>
                  <a:cubicBezTo>
                    <a:pt x="100" y="64"/>
                    <a:pt x="99" y="81"/>
                    <a:pt x="86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101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  <p:sp>
          <p:nvSpPr>
            <p:cNvPr id="87" name="Freeform 131"/>
            <p:cNvSpPr>
              <a:spLocks noEditPoints="1"/>
            </p:cNvSpPr>
            <p:nvPr/>
          </p:nvSpPr>
          <p:spPr bwMode="auto">
            <a:xfrm>
              <a:off x="7104063" y="3678230"/>
              <a:ext cx="665162" cy="657225"/>
            </a:xfrm>
            <a:custGeom>
              <a:avLst/>
              <a:gdLst/>
              <a:ahLst/>
              <a:cxnLst>
                <a:cxn ang="0">
                  <a:pos x="259" y="120"/>
                </a:cxn>
                <a:cxn ang="0">
                  <a:pos x="254" y="93"/>
                </a:cxn>
                <a:cxn ang="0">
                  <a:pos x="250" y="89"/>
                </a:cxn>
                <a:cxn ang="0">
                  <a:pos x="231" y="87"/>
                </a:cxn>
                <a:cxn ang="0">
                  <a:pos x="216" y="62"/>
                </a:cxn>
                <a:cxn ang="0">
                  <a:pos x="224" y="44"/>
                </a:cxn>
                <a:cxn ang="0">
                  <a:pos x="222" y="39"/>
                </a:cxn>
                <a:cxn ang="0">
                  <a:pos x="202" y="22"/>
                </a:cxn>
                <a:cxn ang="0">
                  <a:pos x="196" y="21"/>
                </a:cxn>
                <a:cxn ang="0">
                  <a:pos x="180" y="32"/>
                </a:cxn>
                <a:cxn ang="0">
                  <a:pos x="152" y="22"/>
                </a:cxn>
                <a:cxn ang="0">
                  <a:pos x="147" y="4"/>
                </a:cxn>
                <a:cxn ang="0">
                  <a:pos x="143" y="0"/>
                </a:cxn>
                <a:cxn ang="0">
                  <a:pos x="116" y="0"/>
                </a:cxn>
                <a:cxn ang="0">
                  <a:pos x="111" y="4"/>
                </a:cxn>
                <a:cxn ang="0">
                  <a:pos x="106" y="22"/>
                </a:cxn>
                <a:cxn ang="0">
                  <a:pos x="78" y="32"/>
                </a:cxn>
                <a:cxn ang="0">
                  <a:pos x="62" y="22"/>
                </a:cxn>
                <a:cxn ang="0">
                  <a:pos x="56" y="22"/>
                </a:cxn>
                <a:cxn ang="0">
                  <a:pos x="36" y="39"/>
                </a:cxn>
                <a:cxn ang="0">
                  <a:pos x="35" y="45"/>
                </a:cxn>
                <a:cxn ang="0">
                  <a:pos x="43" y="62"/>
                </a:cxn>
                <a:cxn ang="0">
                  <a:pos x="28" y="88"/>
                </a:cxn>
                <a:cxn ang="0">
                  <a:pos x="9" y="90"/>
                </a:cxn>
                <a:cxn ang="0">
                  <a:pos x="5" y="94"/>
                </a:cxn>
                <a:cxn ang="0">
                  <a:pos x="0" y="120"/>
                </a:cxn>
                <a:cxn ang="0">
                  <a:pos x="3" y="126"/>
                </a:cxn>
                <a:cxn ang="0">
                  <a:pos x="20" y="134"/>
                </a:cxn>
                <a:cxn ang="0">
                  <a:pos x="25" y="163"/>
                </a:cxn>
                <a:cxn ang="0">
                  <a:pos x="12" y="177"/>
                </a:cxn>
                <a:cxn ang="0">
                  <a:pos x="11" y="183"/>
                </a:cxn>
                <a:cxn ang="0">
                  <a:pos x="25" y="206"/>
                </a:cxn>
                <a:cxn ang="0">
                  <a:pos x="30" y="208"/>
                </a:cxn>
                <a:cxn ang="0">
                  <a:pos x="49" y="203"/>
                </a:cxn>
                <a:cxn ang="0">
                  <a:pos x="71" y="222"/>
                </a:cxn>
                <a:cxn ang="0">
                  <a:pos x="70" y="241"/>
                </a:cxn>
                <a:cxn ang="0">
                  <a:pos x="73" y="246"/>
                </a:cxn>
                <a:cxn ang="0">
                  <a:pos x="98" y="255"/>
                </a:cxn>
                <a:cxn ang="0">
                  <a:pos x="104" y="254"/>
                </a:cxn>
                <a:cxn ang="0">
                  <a:pos x="115" y="238"/>
                </a:cxn>
                <a:cxn ang="0">
                  <a:pos x="130" y="239"/>
                </a:cxn>
                <a:cxn ang="0">
                  <a:pos x="145" y="238"/>
                </a:cxn>
                <a:cxn ang="0">
                  <a:pos x="156" y="253"/>
                </a:cxn>
                <a:cxn ang="0">
                  <a:pos x="161" y="255"/>
                </a:cxn>
                <a:cxn ang="0">
                  <a:pos x="187" y="246"/>
                </a:cxn>
                <a:cxn ang="0">
                  <a:pos x="190" y="241"/>
                </a:cxn>
                <a:cxn ang="0">
                  <a:pos x="188" y="222"/>
                </a:cxn>
                <a:cxn ang="0">
                  <a:pos x="211" y="203"/>
                </a:cxn>
                <a:cxn ang="0">
                  <a:pos x="230" y="207"/>
                </a:cxn>
                <a:cxn ang="0">
                  <a:pos x="235" y="205"/>
                </a:cxn>
                <a:cxn ang="0">
                  <a:pos x="248" y="182"/>
                </a:cxn>
                <a:cxn ang="0">
                  <a:pos x="248" y="176"/>
                </a:cxn>
                <a:cxn ang="0">
                  <a:pos x="234" y="162"/>
                </a:cxn>
                <a:cxn ang="0">
                  <a:pos x="239" y="133"/>
                </a:cxn>
                <a:cxn ang="0">
                  <a:pos x="256" y="125"/>
                </a:cxn>
                <a:cxn ang="0">
                  <a:pos x="259" y="120"/>
                </a:cxn>
                <a:cxn ang="0">
                  <a:pos x="165" y="190"/>
                </a:cxn>
                <a:cxn ang="0">
                  <a:pos x="69" y="165"/>
                </a:cxn>
                <a:cxn ang="0">
                  <a:pos x="94" y="69"/>
                </a:cxn>
                <a:cxn ang="0">
                  <a:pos x="190" y="94"/>
                </a:cxn>
                <a:cxn ang="0">
                  <a:pos x="165" y="190"/>
                </a:cxn>
              </a:cxnLst>
              <a:rect l="0" t="0" r="r" b="b"/>
              <a:pathLst>
                <a:path w="259" h="256">
                  <a:moveTo>
                    <a:pt x="259" y="120"/>
                  </a:moveTo>
                  <a:cubicBezTo>
                    <a:pt x="259" y="118"/>
                    <a:pt x="254" y="94"/>
                    <a:pt x="254" y="93"/>
                  </a:cubicBezTo>
                  <a:cubicBezTo>
                    <a:pt x="254" y="91"/>
                    <a:pt x="252" y="89"/>
                    <a:pt x="250" y="89"/>
                  </a:cubicBezTo>
                  <a:cubicBezTo>
                    <a:pt x="247" y="89"/>
                    <a:pt x="233" y="88"/>
                    <a:pt x="231" y="87"/>
                  </a:cubicBezTo>
                  <a:cubicBezTo>
                    <a:pt x="227" y="78"/>
                    <a:pt x="222" y="70"/>
                    <a:pt x="216" y="62"/>
                  </a:cubicBezTo>
                  <a:cubicBezTo>
                    <a:pt x="217" y="60"/>
                    <a:pt x="223" y="47"/>
                    <a:pt x="224" y="44"/>
                  </a:cubicBezTo>
                  <a:cubicBezTo>
                    <a:pt x="225" y="42"/>
                    <a:pt x="224" y="40"/>
                    <a:pt x="222" y="39"/>
                  </a:cubicBezTo>
                  <a:cubicBezTo>
                    <a:pt x="222" y="38"/>
                    <a:pt x="203" y="22"/>
                    <a:pt x="202" y="22"/>
                  </a:cubicBezTo>
                  <a:cubicBezTo>
                    <a:pt x="200" y="20"/>
                    <a:pt x="198" y="20"/>
                    <a:pt x="196" y="21"/>
                  </a:cubicBezTo>
                  <a:cubicBezTo>
                    <a:pt x="194" y="23"/>
                    <a:pt x="182" y="31"/>
                    <a:pt x="180" y="32"/>
                  </a:cubicBezTo>
                  <a:cubicBezTo>
                    <a:pt x="172" y="27"/>
                    <a:pt x="162" y="24"/>
                    <a:pt x="152" y="22"/>
                  </a:cubicBezTo>
                  <a:cubicBezTo>
                    <a:pt x="152" y="20"/>
                    <a:pt x="148" y="6"/>
                    <a:pt x="147" y="4"/>
                  </a:cubicBezTo>
                  <a:cubicBezTo>
                    <a:pt x="147" y="2"/>
                    <a:pt x="145" y="0"/>
                    <a:pt x="14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3" y="0"/>
                    <a:pt x="112" y="2"/>
                    <a:pt x="111" y="4"/>
                  </a:cubicBezTo>
                  <a:cubicBezTo>
                    <a:pt x="110" y="7"/>
                    <a:pt x="107" y="20"/>
                    <a:pt x="106" y="22"/>
                  </a:cubicBezTo>
                  <a:cubicBezTo>
                    <a:pt x="96" y="24"/>
                    <a:pt x="87" y="28"/>
                    <a:pt x="78" y="32"/>
                  </a:cubicBezTo>
                  <a:cubicBezTo>
                    <a:pt x="76" y="31"/>
                    <a:pt x="65" y="23"/>
                    <a:pt x="62" y="22"/>
                  </a:cubicBezTo>
                  <a:cubicBezTo>
                    <a:pt x="61" y="21"/>
                    <a:pt x="58" y="20"/>
                    <a:pt x="56" y="22"/>
                  </a:cubicBezTo>
                  <a:cubicBezTo>
                    <a:pt x="56" y="23"/>
                    <a:pt x="37" y="38"/>
                    <a:pt x="36" y="39"/>
                  </a:cubicBezTo>
                  <a:cubicBezTo>
                    <a:pt x="34" y="41"/>
                    <a:pt x="34" y="43"/>
                    <a:pt x="35" y="45"/>
                  </a:cubicBezTo>
                  <a:cubicBezTo>
                    <a:pt x="36" y="48"/>
                    <a:pt x="42" y="60"/>
                    <a:pt x="43" y="62"/>
                  </a:cubicBezTo>
                  <a:cubicBezTo>
                    <a:pt x="37" y="70"/>
                    <a:pt x="32" y="79"/>
                    <a:pt x="28" y="88"/>
                  </a:cubicBezTo>
                  <a:cubicBezTo>
                    <a:pt x="25" y="88"/>
                    <a:pt x="12" y="90"/>
                    <a:pt x="9" y="90"/>
                  </a:cubicBezTo>
                  <a:cubicBezTo>
                    <a:pt x="7" y="90"/>
                    <a:pt x="5" y="91"/>
                    <a:pt x="5" y="94"/>
                  </a:cubicBezTo>
                  <a:cubicBezTo>
                    <a:pt x="4" y="95"/>
                    <a:pt x="0" y="119"/>
                    <a:pt x="0" y="120"/>
                  </a:cubicBezTo>
                  <a:cubicBezTo>
                    <a:pt x="0" y="123"/>
                    <a:pt x="1" y="125"/>
                    <a:pt x="3" y="126"/>
                  </a:cubicBezTo>
                  <a:cubicBezTo>
                    <a:pt x="6" y="127"/>
                    <a:pt x="18" y="133"/>
                    <a:pt x="20" y="134"/>
                  </a:cubicBezTo>
                  <a:cubicBezTo>
                    <a:pt x="20" y="144"/>
                    <a:pt x="22" y="154"/>
                    <a:pt x="25" y="163"/>
                  </a:cubicBezTo>
                  <a:cubicBezTo>
                    <a:pt x="24" y="165"/>
                    <a:pt x="14" y="175"/>
                    <a:pt x="12" y="177"/>
                  </a:cubicBezTo>
                  <a:cubicBezTo>
                    <a:pt x="10" y="178"/>
                    <a:pt x="10" y="180"/>
                    <a:pt x="11" y="183"/>
                  </a:cubicBezTo>
                  <a:cubicBezTo>
                    <a:pt x="12" y="184"/>
                    <a:pt x="24" y="205"/>
                    <a:pt x="25" y="206"/>
                  </a:cubicBezTo>
                  <a:cubicBezTo>
                    <a:pt x="26" y="208"/>
                    <a:pt x="28" y="208"/>
                    <a:pt x="30" y="208"/>
                  </a:cubicBezTo>
                  <a:cubicBezTo>
                    <a:pt x="33" y="207"/>
                    <a:pt x="46" y="204"/>
                    <a:pt x="49" y="203"/>
                  </a:cubicBezTo>
                  <a:cubicBezTo>
                    <a:pt x="55" y="210"/>
                    <a:pt x="63" y="217"/>
                    <a:pt x="71" y="222"/>
                  </a:cubicBezTo>
                  <a:cubicBezTo>
                    <a:pt x="71" y="224"/>
                    <a:pt x="70" y="238"/>
                    <a:pt x="70" y="241"/>
                  </a:cubicBezTo>
                  <a:cubicBezTo>
                    <a:pt x="70" y="243"/>
                    <a:pt x="71" y="245"/>
                    <a:pt x="73" y="246"/>
                  </a:cubicBezTo>
                  <a:cubicBezTo>
                    <a:pt x="74" y="247"/>
                    <a:pt x="97" y="255"/>
                    <a:pt x="98" y="255"/>
                  </a:cubicBezTo>
                  <a:cubicBezTo>
                    <a:pt x="101" y="256"/>
                    <a:pt x="103" y="255"/>
                    <a:pt x="104" y="254"/>
                  </a:cubicBezTo>
                  <a:cubicBezTo>
                    <a:pt x="106" y="251"/>
                    <a:pt x="114" y="240"/>
                    <a:pt x="115" y="238"/>
                  </a:cubicBezTo>
                  <a:cubicBezTo>
                    <a:pt x="120" y="239"/>
                    <a:pt x="125" y="239"/>
                    <a:pt x="130" y="239"/>
                  </a:cubicBezTo>
                  <a:cubicBezTo>
                    <a:pt x="135" y="239"/>
                    <a:pt x="140" y="239"/>
                    <a:pt x="145" y="238"/>
                  </a:cubicBezTo>
                  <a:cubicBezTo>
                    <a:pt x="146" y="240"/>
                    <a:pt x="154" y="251"/>
                    <a:pt x="156" y="253"/>
                  </a:cubicBezTo>
                  <a:cubicBezTo>
                    <a:pt x="157" y="255"/>
                    <a:pt x="159" y="256"/>
                    <a:pt x="161" y="255"/>
                  </a:cubicBezTo>
                  <a:cubicBezTo>
                    <a:pt x="163" y="255"/>
                    <a:pt x="186" y="246"/>
                    <a:pt x="187" y="246"/>
                  </a:cubicBezTo>
                  <a:cubicBezTo>
                    <a:pt x="189" y="245"/>
                    <a:pt x="190" y="243"/>
                    <a:pt x="190" y="241"/>
                  </a:cubicBezTo>
                  <a:cubicBezTo>
                    <a:pt x="190" y="238"/>
                    <a:pt x="188" y="224"/>
                    <a:pt x="188" y="222"/>
                  </a:cubicBezTo>
                  <a:cubicBezTo>
                    <a:pt x="197" y="216"/>
                    <a:pt x="204" y="210"/>
                    <a:pt x="211" y="203"/>
                  </a:cubicBezTo>
                  <a:cubicBezTo>
                    <a:pt x="213" y="203"/>
                    <a:pt x="227" y="207"/>
                    <a:pt x="230" y="207"/>
                  </a:cubicBezTo>
                  <a:cubicBezTo>
                    <a:pt x="231" y="208"/>
                    <a:pt x="234" y="207"/>
                    <a:pt x="235" y="205"/>
                  </a:cubicBezTo>
                  <a:cubicBezTo>
                    <a:pt x="235" y="204"/>
                    <a:pt x="248" y="183"/>
                    <a:pt x="248" y="182"/>
                  </a:cubicBezTo>
                  <a:cubicBezTo>
                    <a:pt x="249" y="180"/>
                    <a:pt x="249" y="178"/>
                    <a:pt x="248" y="176"/>
                  </a:cubicBezTo>
                  <a:cubicBezTo>
                    <a:pt x="245" y="174"/>
                    <a:pt x="236" y="164"/>
                    <a:pt x="234" y="162"/>
                  </a:cubicBezTo>
                  <a:cubicBezTo>
                    <a:pt x="237" y="153"/>
                    <a:pt x="239" y="143"/>
                    <a:pt x="239" y="133"/>
                  </a:cubicBezTo>
                  <a:cubicBezTo>
                    <a:pt x="241" y="132"/>
                    <a:pt x="254" y="126"/>
                    <a:pt x="256" y="125"/>
                  </a:cubicBezTo>
                  <a:cubicBezTo>
                    <a:pt x="258" y="124"/>
                    <a:pt x="259" y="122"/>
                    <a:pt x="259" y="120"/>
                  </a:cubicBezTo>
                  <a:close/>
                  <a:moveTo>
                    <a:pt x="165" y="190"/>
                  </a:moveTo>
                  <a:cubicBezTo>
                    <a:pt x="131" y="209"/>
                    <a:pt x="88" y="198"/>
                    <a:pt x="69" y="165"/>
                  </a:cubicBezTo>
                  <a:cubicBezTo>
                    <a:pt x="50" y="131"/>
                    <a:pt x="61" y="88"/>
                    <a:pt x="94" y="69"/>
                  </a:cubicBezTo>
                  <a:cubicBezTo>
                    <a:pt x="128" y="49"/>
                    <a:pt x="171" y="60"/>
                    <a:pt x="190" y="94"/>
                  </a:cubicBezTo>
                  <a:cubicBezTo>
                    <a:pt x="210" y="127"/>
                    <a:pt x="198" y="170"/>
                    <a:pt x="165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2101"/>
              <a:endParaRPr lang="en-US" sz="2100">
                <a:solidFill>
                  <a:srgbClr val="0096D6"/>
                </a:solidFill>
                <a:latin typeface="Calibri"/>
                <a:ea typeface="ＭＳ Ｐゴシック" pitchFamily="34" charset="-128"/>
              </a:endParaRPr>
            </a:p>
          </p:txBody>
        </p:sp>
      </p:grpSp>
      <p:sp>
        <p:nvSpPr>
          <p:cNvPr id="81" name="Freeform 132"/>
          <p:cNvSpPr>
            <a:spLocks/>
          </p:cNvSpPr>
          <p:nvPr/>
        </p:nvSpPr>
        <p:spPr bwMode="auto">
          <a:xfrm>
            <a:off x="7567925" y="6078774"/>
            <a:ext cx="87131" cy="77775"/>
          </a:xfrm>
          <a:custGeom>
            <a:avLst/>
            <a:gdLst/>
            <a:ahLst/>
            <a:cxnLst>
              <a:cxn ang="0">
                <a:pos x="139" y="98"/>
              </a:cxn>
              <a:cxn ang="0">
                <a:pos x="136" y="76"/>
              </a:cxn>
              <a:cxn ang="0">
                <a:pos x="177" y="36"/>
              </a:cxn>
              <a:cxn ang="0">
                <a:pos x="161" y="18"/>
              </a:cxn>
              <a:cxn ang="0">
                <a:pos x="121" y="61"/>
              </a:cxn>
              <a:cxn ang="0">
                <a:pos x="99" y="58"/>
              </a:cxn>
              <a:cxn ang="0">
                <a:pos x="70" y="0"/>
              </a:cxn>
              <a:cxn ang="0">
                <a:pos x="51" y="14"/>
              </a:cxn>
              <a:cxn ang="0">
                <a:pos x="80" y="67"/>
              </a:cxn>
              <a:cxn ang="0">
                <a:pos x="70" y="87"/>
              </a:cxn>
              <a:cxn ang="0">
                <a:pos x="1" y="97"/>
              </a:cxn>
              <a:cxn ang="0">
                <a:pos x="2" y="121"/>
              </a:cxn>
              <a:cxn ang="0">
                <a:pos x="73" y="108"/>
              </a:cxn>
              <a:cxn ang="0">
                <a:pos x="89" y="124"/>
              </a:cxn>
              <a:cxn ang="0">
                <a:pos x="79" y="182"/>
              </a:cxn>
              <a:cxn ang="0">
                <a:pos x="103" y="181"/>
              </a:cxn>
              <a:cxn ang="0">
                <a:pos x="110" y="127"/>
              </a:cxn>
              <a:cxn ang="0">
                <a:pos x="130" y="117"/>
              </a:cxn>
              <a:cxn ang="0">
                <a:pos x="180" y="143"/>
              </a:cxn>
              <a:cxn ang="0">
                <a:pos x="193" y="123"/>
              </a:cxn>
              <a:cxn ang="0">
                <a:pos x="139" y="98"/>
              </a:cxn>
            </a:cxnLst>
            <a:rect l="0" t="0" r="r" b="b"/>
            <a:pathLst>
              <a:path w="193" h="182">
                <a:moveTo>
                  <a:pt x="139" y="98"/>
                </a:moveTo>
                <a:cubicBezTo>
                  <a:pt x="128" y="93"/>
                  <a:pt x="127" y="85"/>
                  <a:pt x="136" y="76"/>
                </a:cubicBezTo>
                <a:cubicBezTo>
                  <a:pt x="141" y="71"/>
                  <a:pt x="161" y="51"/>
                  <a:pt x="177" y="36"/>
                </a:cubicBezTo>
                <a:cubicBezTo>
                  <a:pt x="172" y="30"/>
                  <a:pt x="167" y="24"/>
                  <a:pt x="161" y="18"/>
                </a:cubicBezTo>
                <a:cubicBezTo>
                  <a:pt x="146" y="35"/>
                  <a:pt x="126" y="56"/>
                  <a:pt x="121" y="61"/>
                </a:cubicBezTo>
                <a:cubicBezTo>
                  <a:pt x="112" y="70"/>
                  <a:pt x="104" y="69"/>
                  <a:pt x="99" y="58"/>
                </a:cubicBezTo>
                <a:cubicBezTo>
                  <a:pt x="95" y="50"/>
                  <a:pt x="80" y="20"/>
                  <a:pt x="70" y="0"/>
                </a:cubicBezTo>
                <a:cubicBezTo>
                  <a:pt x="63" y="4"/>
                  <a:pt x="57" y="9"/>
                  <a:pt x="51" y="14"/>
                </a:cubicBezTo>
                <a:cubicBezTo>
                  <a:pt x="62" y="34"/>
                  <a:pt x="76" y="60"/>
                  <a:pt x="80" y="67"/>
                </a:cubicBezTo>
                <a:cubicBezTo>
                  <a:pt x="86" y="78"/>
                  <a:pt x="82" y="85"/>
                  <a:pt x="70" y="87"/>
                </a:cubicBezTo>
                <a:cubicBezTo>
                  <a:pt x="61" y="89"/>
                  <a:pt x="23" y="94"/>
                  <a:pt x="1" y="97"/>
                </a:cubicBezTo>
                <a:cubicBezTo>
                  <a:pt x="0" y="105"/>
                  <a:pt x="0" y="113"/>
                  <a:pt x="2" y="121"/>
                </a:cubicBezTo>
                <a:cubicBezTo>
                  <a:pt x="23" y="117"/>
                  <a:pt x="64" y="109"/>
                  <a:pt x="73" y="108"/>
                </a:cubicBezTo>
                <a:cubicBezTo>
                  <a:pt x="85" y="106"/>
                  <a:pt x="91" y="111"/>
                  <a:pt x="89" y="124"/>
                </a:cubicBezTo>
                <a:cubicBezTo>
                  <a:pt x="88" y="131"/>
                  <a:pt x="83" y="160"/>
                  <a:pt x="79" y="182"/>
                </a:cubicBezTo>
                <a:cubicBezTo>
                  <a:pt x="87" y="182"/>
                  <a:pt x="95" y="182"/>
                  <a:pt x="103" y="181"/>
                </a:cubicBezTo>
                <a:cubicBezTo>
                  <a:pt x="106" y="159"/>
                  <a:pt x="109" y="134"/>
                  <a:pt x="110" y="127"/>
                </a:cubicBezTo>
                <a:cubicBezTo>
                  <a:pt x="111" y="115"/>
                  <a:pt x="119" y="111"/>
                  <a:pt x="130" y="117"/>
                </a:cubicBezTo>
                <a:cubicBezTo>
                  <a:pt x="136" y="120"/>
                  <a:pt x="161" y="133"/>
                  <a:pt x="180" y="143"/>
                </a:cubicBezTo>
                <a:cubicBezTo>
                  <a:pt x="186" y="137"/>
                  <a:pt x="190" y="130"/>
                  <a:pt x="193" y="123"/>
                </a:cubicBezTo>
                <a:cubicBezTo>
                  <a:pt x="172" y="114"/>
                  <a:pt x="146" y="101"/>
                  <a:pt x="139" y="9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121840" tIns="60920" rIns="121840" bIns="60920" numCol="1" anchor="t" anchorCtr="0" compatLnSpc="1">
            <a:prstTxWarp prst="textNoShape">
              <a:avLst/>
            </a:prstTxWarp>
          </a:bodyPr>
          <a:lstStyle/>
          <a:p>
            <a:pPr defTabSz="452101"/>
            <a:endParaRPr lang="en-US" sz="2100" dirty="0">
              <a:solidFill>
                <a:srgbClr val="0096D6"/>
              </a:solidFill>
              <a:latin typeface="Calibri"/>
              <a:ea typeface="ＭＳ Ｐゴシック" pitchFamily="34" charset="-128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799160" y="4855303"/>
            <a:ext cx="2258977" cy="1051993"/>
            <a:chOff x="4349310" y="3641465"/>
            <a:chExt cx="1694674" cy="788995"/>
          </a:xfrm>
        </p:grpSpPr>
        <p:cxnSp>
          <p:nvCxnSpPr>
            <p:cNvPr id="211" name="Elbow Connector 210"/>
            <p:cNvCxnSpPr>
              <a:stCxn id="145" idx="0"/>
              <a:endCxn id="84" idx="0"/>
            </p:cNvCxnSpPr>
            <p:nvPr/>
          </p:nvCxnSpPr>
          <p:spPr bwMode="auto">
            <a:xfrm>
              <a:off x="4349310" y="3641465"/>
              <a:ext cx="1334674" cy="608846"/>
            </a:xfrm>
            <a:prstGeom prst="bentConnector2">
              <a:avLst/>
            </a:prstGeom>
            <a:solidFill>
              <a:srgbClr val="0183B7"/>
            </a:solidFill>
            <a:ln w="25400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2" name="Group 81"/>
            <p:cNvGrpSpPr/>
            <p:nvPr/>
          </p:nvGrpSpPr>
          <p:grpSpPr>
            <a:xfrm>
              <a:off x="5323984" y="4241313"/>
              <a:ext cx="720000" cy="189147"/>
              <a:chOff x="1470993" y="2648578"/>
              <a:chExt cx="720000" cy="189147"/>
            </a:xfrm>
          </p:grpSpPr>
          <p:sp>
            <p:nvSpPr>
              <p:cNvPr id="83" name="Rounded Rectangle 41"/>
              <p:cNvSpPr/>
              <p:nvPr/>
            </p:nvSpPr>
            <p:spPr>
              <a:xfrm>
                <a:off x="1548156" y="2648578"/>
                <a:ext cx="567692" cy="189147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lIns="91440" tIns="45720" rIns="91440" bIns="45720" rtlCol="0" anchor="ctr"/>
              <a:lstStyle/>
              <a:p>
                <a:pPr algn="ctr" defTabSz="452101"/>
                <a:endParaRPr lang="en-US" sz="210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1470993" y="2657576"/>
                <a:ext cx="720000" cy="155245"/>
              </a:xfrm>
              <a:prstGeom prst="rect">
                <a:avLst/>
              </a:prstGeom>
              <a:ln>
                <a:noFill/>
              </a:ln>
            </p:spPr>
            <p:txBody>
              <a:bodyPr wrap="square" lIns="67853" tIns="33916" rIns="67853" bIns="33916" anchor="ctr">
                <a:spAutoFit/>
              </a:bodyPr>
              <a:lstStyle/>
              <a:p>
                <a:pPr algn="ctr" defTabSz="1075912"/>
                <a:r>
                  <a:rPr lang="en-US" sz="900" dirty="0">
                    <a:solidFill>
                      <a:schemeClr val="bg1"/>
                    </a:solidFill>
                    <a:latin typeface="+mj-lt"/>
                  </a:rPr>
                  <a:t>Virtual Switch</a:t>
                </a:r>
              </a:p>
            </p:txBody>
          </p:sp>
        </p:grpSp>
      </p:grpSp>
      <p:cxnSp>
        <p:nvCxnSpPr>
          <p:cNvPr id="216" name="Straight Connector 215"/>
          <p:cNvCxnSpPr>
            <a:stCxn id="127" idx="6"/>
          </p:cNvCxnSpPr>
          <p:nvPr/>
        </p:nvCxnSpPr>
        <p:spPr bwMode="auto">
          <a:xfrm flipV="1">
            <a:off x="4331134" y="2283853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>
            <a:stCxn id="127" idx="6"/>
          </p:cNvCxnSpPr>
          <p:nvPr/>
        </p:nvCxnSpPr>
        <p:spPr bwMode="auto">
          <a:xfrm flipV="1">
            <a:off x="4331136" y="2283853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>
            <a:stCxn id="127" idx="6"/>
          </p:cNvCxnSpPr>
          <p:nvPr/>
        </p:nvCxnSpPr>
        <p:spPr bwMode="auto">
          <a:xfrm flipV="1">
            <a:off x="4331134" y="2283853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6" name="Straight Connector 225"/>
          <p:cNvCxnSpPr>
            <a:stCxn id="142" idx="0"/>
          </p:cNvCxnSpPr>
          <p:nvPr/>
        </p:nvCxnSpPr>
        <p:spPr bwMode="auto">
          <a:xfrm flipV="1">
            <a:off x="5591950" y="2283851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>
            <a:stCxn id="142" idx="0"/>
          </p:cNvCxnSpPr>
          <p:nvPr/>
        </p:nvCxnSpPr>
        <p:spPr bwMode="auto">
          <a:xfrm flipV="1">
            <a:off x="5591949" y="2283851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>
            <a:stCxn id="142" idx="0"/>
          </p:cNvCxnSpPr>
          <p:nvPr/>
        </p:nvCxnSpPr>
        <p:spPr bwMode="auto">
          <a:xfrm flipV="1">
            <a:off x="5591950" y="2283851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>
            <a:endCxn id="134" idx="1"/>
          </p:cNvCxnSpPr>
          <p:nvPr/>
        </p:nvCxnSpPr>
        <p:spPr bwMode="auto">
          <a:xfrm>
            <a:off x="6239650" y="228386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>
            <a:endCxn id="134" idx="1"/>
          </p:cNvCxnSpPr>
          <p:nvPr/>
        </p:nvCxnSpPr>
        <p:spPr bwMode="auto">
          <a:xfrm>
            <a:off x="6882933" y="228386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>
            <a:endCxn id="134" idx="1"/>
          </p:cNvCxnSpPr>
          <p:nvPr/>
        </p:nvCxnSpPr>
        <p:spPr bwMode="auto">
          <a:xfrm>
            <a:off x="7526248" y="228386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78" name="Group 277"/>
          <p:cNvGrpSpPr/>
          <p:nvPr/>
        </p:nvGrpSpPr>
        <p:grpSpPr>
          <a:xfrm>
            <a:off x="5283413" y="1905002"/>
            <a:ext cx="2522935" cy="582051"/>
            <a:chOff x="3581400" y="2152650"/>
            <a:chExt cx="1892694" cy="436538"/>
          </a:xfrm>
        </p:grpSpPr>
        <p:pic>
          <p:nvPicPr>
            <p:cNvPr id="27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2" cstate="print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96" name="Freeform 6"/>
          <p:cNvSpPr>
            <a:spLocks noChangeAspect="1"/>
          </p:cNvSpPr>
          <p:nvPr/>
        </p:nvSpPr>
        <p:spPr bwMode="auto">
          <a:xfrm>
            <a:off x="2949258" y="990600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/>
          <a:p>
            <a:pPr algn="ctr" defTabSz="1218175"/>
            <a:endParaRPr lang="en-US" sz="3200" dirty="0">
              <a:cs typeface="Cambria"/>
            </a:endParaRPr>
          </a:p>
        </p:txBody>
      </p:sp>
      <p:grpSp>
        <p:nvGrpSpPr>
          <p:cNvPr id="107" name="Group 106"/>
          <p:cNvGrpSpPr/>
          <p:nvPr/>
        </p:nvGrpSpPr>
        <p:grpSpPr>
          <a:xfrm>
            <a:off x="5895905" y="4931013"/>
            <a:ext cx="2599716" cy="839581"/>
            <a:chOff x="4421889" y="3698248"/>
            <a:chExt cx="1950295" cy="629684"/>
          </a:xfrm>
        </p:grpSpPr>
        <p:cxnSp>
          <p:nvCxnSpPr>
            <p:cNvPr id="312" name="Straight Arrow Connector 311"/>
            <p:cNvCxnSpPr>
              <a:endCxn id="84" idx="1"/>
            </p:cNvCxnSpPr>
            <p:nvPr/>
          </p:nvCxnSpPr>
          <p:spPr bwMode="auto">
            <a:xfrm>
              <a:off x="4421889" y="3698248"/>
              <a:ext cx="902096" cy="629684"/>
            </a:xfrm>
            <a:prstGeom prst="straightConnector1">
              <a:avLst/>
            </a:prstGeom>
            <a:ln>
              <a:headEnd type="none" w="med" len="med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sp>
          <p:nvSpPr>
            <p:cNvPr id="317" name="Rounded Rectangle 316"/>
            <p:cNvSpPr/>
            <p:nvPr>
              <p:custDataLst>
                <p:tags r:id="rId19"/>
              </p:custDataLst>
            </p:nvPr>
          </p:nvSpPr>
          <p:spPr bwMode="auto">
            <a:xfrm>
              <a:off x="4986313" y="3780240"/>
              <a:ext cx="1385871" cy="333621"/>
            </a:xfrm>
            <a:prstGeom prst="roundRect">
              <a:avLst>
                <a:gd name="adj" fmla="val 4036"/>
              </a:avLst>
            </a:prstGeom>
            <a:solidFill>
              <a:srgbClr val="FDE5D2"/>
            </a:solidFill>
            <a:ln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72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ARP Request for IP_B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rc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MAC_A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st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FF:FF:FF:FF:FF:FF</a:t>
              </a:r>
            </a:p>
          </p:txBody>
        </p:sp>
        <p:grpSp>
          <p:nvGrpSpPr>
            <p:cNvPr id="318" name="Group 317"/>
            <p:cNvGrpSpPr/>
            <p:nvPr/>
          </p:nvGrpSpPr>
          <p:grpSpPr>
            <a:xfrm>
              <a:off x="4604549" y="3972374"/>
              <a:ext cx="267465" cy="291048"/>
              <a:chOff x="1293288" y="1515133"/>
              <a:chExt cx="267465" cy="291048"/>
            </a:xfrm>
          </p:grpSpPr>
          <p:sp>
            <p:nvSpPr>
              <p:cNvPr id="319" name="Oval 318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320" name="TextBox 319"/>
              <p:cNvSpPr txBox="1"/>
              <p:nvPr/>
            </p:nvSpPr>
            <p:spPr>
              <a:xfrm>
                <a:off x="1306923" y="1515133"/>
                <a:ext cx="240194" cy="28854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grpSp>
        <p:nvGrpSpPr>
          <p:cNvPr id="97" name="Group 96"/>
          <p:cNvGrpSpPr/>
          <p:nvPr/>
        </p:nvGrpSpPr>
        <p:grpSpPr>
          <a:xfrm>
            <a:off x="8869379" y="2973885"/>
            <a:ext cx="2184783" cy="1003983"/>
            <a:chOff x="6652575" y="2230397"/>
            <a:chExt cx="1639014" cy="752987"/>
          </a:xfrm>
        </p:grpSpPr>
        <p:sp>
          <p:nvSpPr>
            <p:cNvPr id="311" name="Rounded Rectangle 310"/>
            <p:cNvSpPr/>
            <p:nvPr>
              <p:custDataLst>
                <p:tags r:id="rId18"/>
              </p:custDataLst>
            </p:nvPr>
          </p:nvSpPr>
          <p:spPr bwMode="auto">
            <a:xfrm>
              <a:off x="6905718" y="2230397"/>
              <a:ext cx="1385871" cy="333621"/>
            </a:xfrm>
            <a:prstGeom prst="roundRect">
              <a:avLst>
                <a:gd name="adj" fmla="val 4036"/>
              </a:avLst>
            </a:prstGeom>
            <a:solidFill>
              <a:srgbClr val="FDE5D2"/>
            </a:solidFill>
            <a:ln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72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ARP Request for IP_B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rc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MAC_A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st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FF:FF:FF:FF:FF:FF</a:t>
              </a:r>
            </a:p>
          </p:txBody>
        </p:sp>
        <p:grpSp>
          <p:nvGrpSpPr>
            <p:cNvPr id="313" name="Group 312"/>
            <p:cNvGrpSpPr/>
            <p:nvPr/>
          </p:nvGrpSpPr>
          <p:grpSpPr>
            <a:xfrm>
              <a:off x="7010888" y="2692336"/>
              <a:ext cx="267465" cy="291048"/>
              <a:chOff x="1293288" y="1515133"/>
              <a:chExt cx="267465" cy="291048"/>
            </a:xfrm>
          </p:grpSpPr>
          <p:sp>
            <p:nvSpPr>
              <p:cNvPr id="314" name="Oval 313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315" name="TextBox 314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  <p:cxnSp>
          <p:nvCxnSpPr>
            <p:cNvPr id="321" name="Straight Arrow Connector 320"/>
            <p:cNvCxnSpPr/>
            <p:nvPr/>
          </p:nvCxnSpPr>
          <p:spPr bwMode="auto">
            <a:xfrm>
              <a:off x="6652575" y="2546666"/>
              <a:ext cx="1164694" cy="269801"/>
            </a:xfrm>
            <a:prstGeom prst="straightConnector1">
              <a:avLst/>
            </a:prstGeom>
            <a:ln>
              <a:headEnd type="none" w="med" len="med"/>
              <a:tailEnd type="arrow" w="lg" len="lg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148" name="Group 147"/>
          <p:cNvGrpSpPr/>
          <p:nvPr/>
        </p:nvGrpSpPr>
        <p:grpSpPr>
          <a:xfrm>
            <a:off x="2957521" y="3574811"/>
            <a:ext cx="1952354" cy="2531913"/>
            <a:chOff x="2217527" y="2681096"/>
            <a:chExt cx="1464647" cy="1898935"/>
          </a:xfrm>
        </p:grpSpPr>
        <p:grpSp>
          <p:nvGrpSpPr>
            <p:cNvPr id="149" name="Group 148"/>
            <p:cNvGrpSpPr/>
            <p:nvPr/>
          </p:nvGrpSpPr>
          <p:grpSpPr>
            <a:xfrm>
              <a:off x="2217527" y="2917661"/>
              <a:ext cx="1464647" cy="1662370"/>
              <a:chOff x="2217527" y="2917661"/>
              <a:chExt cx="1464647" cy="1662370"/>
            </a:xfrm>
          </p:grpSpPr>
          <p:grpSp>
            <p:nvGrpSpPr>
              <p:cNvPr id="153" name="Group 152"/>
              <p:cNvGrpSpPr/>
              <p:nvPr/>
            </p:nvGrpSpPr>
            <p:grpSpPr>
              <a:xfrm>
                <a:off x="2217527" y="2917661"/>
                <a:ext cx="1464647" cy="809744"/>
                <a:chOff x="2217527" y="2917661"/>
                <a:chExt cx="1464647" cy="809744"/>
              </a:xfrm>
            </p:grpSpPr>
            <p:sp>
              <p:nvSpPr>
                <p:cNvPr id="161" name="Rounded Rectangle 160"/>
                <p:cNvSpPr/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2217527" y="2917661"/>
                  <a:ext cx="1464638" cy="809744"/>
                </a:xfrm>
                <a:prstGeom prst="roundRect">
                  <a:avLst>
                    <a:gd name="adj" fmla="val 4036"/>
                  </a:avLst>
                </a:prstGeom>
                <a:solidFill>
                  <a:schemeClr val="bg1">
                    <a:lumMod val="85000"/>
                  </a:schemeClr>
                </a:solidFill>
                <a:ln w="3175" cmpd="sng">
                  <a:solidFill>
                    <a:schemeClr val="tx1"/>
                  </a:solidFill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218175"/>
                  <a:endParaRPr lang="en-US" sz="3200" dirty="0">
                    <a:cs typeface="Cambria"/>
                    <a:sym typeface="Arial" pitchFamily="-107" charset="0"/>
                  </a:endParaRPr>
                </a:p>
              </p:txBody>
            </p:sp>
            <p:sp>
              <p:nvSpPr>
                <p:cNvPr id="163" name="TextBox 162"/>
                <p:cNvSpPr txBox="1"/>
                <p:nvPr/>
              </p:nvSpPr>
              <p:spPr>
                <a:xfrm rot="16200000">
                  <a:off x="3352736" y="3240278"/>
                  <a:ext cx="49436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Underlay</a:t>
                  </a:r>
                </a:p>
              </p:txBody>
            </p:sp>
            <p:grpSp>
              <p:nvGrpSpPr>
                <p:cNvPr id="164" name="Group 163"/>
                <p:cNvGrpSpPr/>
                <p:nvPr/>
              </p:nvGrpSpPr>
              <p:grpSpPr>
                <a:xfrm>
                  <a:off x="2239463" y="2951231"/>
                  <a:ext cx="1316504" cy="742604"/>
                  <a:chOff x="2239463" y="2949648"/>
                  <a:chExt cx="1316504" cy="742604"/>
                </a:xfrm>
              </p:grpSpPr>
              <p:sp>
                <p:nvSpPr>
                  <p:cNvPr id="165" name="Rounded Rectangle 164"/>
                  <p:cNvSpPr/>
                  <p:nvPr>
                    <p:custDataLst>
                      <p:tags r:id="rId15"/>
                    </p:custDataLst>
                  </p:nvPr>
                </p:nvSpPr>
                <p:spPr bwMode="auto">
                  <a:xfrm>
                    <a:off x="2239463" y="3252370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IP: IP_V1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IP: IP_V3</a:t>
                    </a:r>
                  </a:p>
                </p:txBody>
              </p:sp>
              <p:sp>
                <p:nvSpPr>
                  <p:cNvPr id="166" name="Rounded Rectangle 165"/>
                  <p:cNvSpPr/>
                  <p:nvPr>
                    <p:custDataLst>
                      <p:tags r:id="rId16"/>
                    </p:custDataLst>
                  </p:nvPr>
                </p:nvSpPr>
                <p:spPr bwMode="auto">
                  <a:xfrm>
                    <a:off x="2239463" y="294964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V1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MAC_V3</a:t>
                    </a:r>
                  </a:p>
                </p:txBody>
              </p:sp>
              <p:sp>
                <p:nvSpPr>
                  <p:cNvPr id="167" name="Rounded Rectangle 166"/>
                  <p:cNvSpPr/>
                  <p:nvPr>
                    <p:custDataLst>
                      <p:tags r:id="rId17"/>
                    </p:custDataLst>
                  </p:nvPr>
                </p:nvSpPr>
                <p:spPr bwMode="auto">
                  <a:xfrm>
                    <a:off x="2244647" y="3555092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2"/>
                  </a:lnRef>
                  <a:fillRef idx="2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UDP</a:t>
                    </a:r>
                  </a:p>
                </p:txBody>
              </p:sp>
            </p:grpSp>
          </p:grpSp>
          <p:grpSp>
            <p:nvGrpSpPr>
              <p:cNvPr id="154" name="Group 153"/>
              <p:cNvGrpSpPr/>
              <p:nvPr/>
            </p:nvGrpSpPr>
            <p:grpSpPr>
              <a:xfrm>
                <a:off x="2217527" y="3746193"/>
                <a:ext cx="1464647" cy="833838"/>
                <a:chOff x="2217527" y="3746193"/>
                <a:chExt cx="1464647" cy="833838"/>
              </a:xfrm>
            </p:grpSpPr>
            <p:sp>
              <p:nvSpPr>
                <p:cNvPr id="155" name="Rounded Rectangle 154"/>
                <p:cNvSpPr/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2217527" y="3746193"/>
                  <a:ext cx="1464638" cy="833838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defTabSz="685372"/>
                  <a:endParaRPr lang="en-US" sz="1100" dirty="0">
                    <a:solidFill>
                      <a:schemeClr val="tx1"/>
                    </a:solidFill>
                    <a:ea typeface="Arial" pitchFamily="-107" charset="0"/>
                    <a:cs typeface="Arial" pitchFamily="-107" charset="0"/>
                    <a:sym typeface="Arial" pitchFamily="-107" charset="0"/>
                  </a:endParaRPr>
                </a:p>
              </p:txBody>
            </p:sp>
            <p:grpSp>
              <p:nvGrpSpPr>
                <p:cNvPr id="156" name="Group 155"/>
                <p:cNvGrpSpPr/>
                <p:nvPr/>
              </p:nvGrpSpPr>
              <p:grpSpPr>
                <a:xfrm>
                  <a:off x="2244647" y="3782652"/>
                  <a:ext cx="1311320" cy="760920"/>
                  <a:chOff x="2244647" y="3787538"/>
                  <a:chExt cx="1311320" cy="760920"/>
                </a:xfrm>
              </p:grpSpPr>
              <p:sp>
                <p:nvSpPr>
                  <p:cNvPr id="158" name="Rounded Rectangle 157"/>
                  <p:cNvSpPr/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2244647" y="3787538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VXLAN VNID: 30000</a:t>
                    </a:r>
                  </a:p>
                </p:txBody>
              </p:sp>
              <p:sp>
                <p:nvSpPr>
                  <p:cNvPr id="159" name="Rounded Rectangle 158"/>
                  <p:cNvSpPr/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2244647" y="396225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ARP Request</a:t>
                    </a:r>
                  </a:p>
                </p:txBody>
              </p:sp>
              <p:sp>
                <p:nvSpPr>
                  <p:cNvPr id="160" name="Rounded Rectangle 159"/>
                  <p:cNvSpPr/>
                  <p:nvPr>
                    <p:custDataLst>
                      <p:tags r:id="rId13"/>
                    </p:custDataLst>
                  </p:nvPr>
                </p:nvSpPr>
                <p:spPr bwMode="auto">
                  <a:xfrm>
                    <a:off x="2244647" y="427413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A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FF:FF:FF:FF:FF:FF</a:t>
                    </a:r>
                  </a:p>
                </p:txBody>
              </p:sp>
            </p:grpSp>
            <p:sp>
              <p:nvSpPr>
                <p:cNvPr id="157" name="TextBox 156"/>
                <p:cNvSpPr txBox="1"/>
                <p:nvPr/>
              </p:nvSpPr>
              <p:spPr>
                <a:xfrm rot="16200000">
                  <a:off x="3376781" y="4080858"/>
                  <a:ext cx="44627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Overlay</a:t>
                  </a:r>
                </a:p>
              </p:txBody>
            </p:sp>
          </p:grpSp>
        </p:grpSp>
        <p:grpSp>
          <p:nvGrpSpPr>
            <p:cNvPr id="150" name="Group 149"/>
            <p:cNvGrpSpPr/>
            <p:nvPr/>
          </p:nvGrpSpPr>
          <p:grpSpPr>
            <a:xfrm>
              <a:off x="2816114" y="2681096"/>
              <a:ext cx="267465" cy="291048"/>
              <a:chOff x="1293288" y="1515133"/>
              <a:chExt cx="267465" cy="291048"/>
            </a:xfrm>
          </p:grpSpPr>
          <p:sp>
            <p:nvSpPr>
              <p:cNvPr id="151" name="Oval 150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52" name="TextBox 151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sp>
        <p:nvSpPr>
          <p:cNvPr id="171" name="Rounded Rectangle 41"/>
          <p:cNvSpPr/>
          <p:nvPr/>
        </p:nvSpPr>
        <p:spPr>
          <a:xfrm>
            <a:off x="6466762" y="6262702"/>
            <a:ext cx="1218883" cy="41749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21840" tIns="60920" rIns="121840" bIns="60920" rtlCol="0" anchor="ctr"/>
          <a:lstStyle/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Host C</a:t>
            </a:r>
          </a:p>
          <a:p>
            <a:pPr algn="ctr" defTabSz="685372"/>
            <a:r>
              <a:rPr lang="en-US" sz="11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AC_C / IP_C</a:t>
            </a:r>
          </a:p>
        </p:txBody>
      </p:sp>
      <p:graphicFrame>
        <p:nvGraphicFramePr>
          <p:cNvPr id="170" name="Table 169"/>
          <p:cNvGraphicFramePr>
            <a:graphicFrameLocks noGrp="1"/>
          </p:cNvGraphicFramePr>
          <p:nvPr>
            <p:extLst/>
          </p:nvPr>
        </p:nvGraphicFramePr>
        <p:xfrm>
          <a:off x="6118843" y="3883777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</a:p>
                    <a:p>
                      <a:r>
                        <a:rPr lang="en-US" sz="1200" dirty="0" smtClean="0"/>
                        <a:t>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1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2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4" name="Oval 173"/>
          <p:cNvSpPr/>
          <p:nvPr/>
        </p:nvSpPr>
        <p:spPr>
          <a:xfrm>
            <a:off x="5944583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sp>
        <p:nvSpPr>
          <p:cNvPr id="175" name="Oval 174"/>
          <p:cNvSpPr/>
          <p:nvPr/>
        </p:nvSpPr>
        <p:spPr>
          <a:xfrm>
            <a:off x="6575220" y="1464278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00" dirty="0"/>
              <a:t>RR</a:t>
            </a:r>
          </a:p>
        </p:txBody>
      </p:sp>
      <p:cxnSp>
        <p:nvCxnSpPr>
          <p:cNvPr id="176" name="Straight Connector 175"/>
          <p:cNvCxnSpPr/>
          <p:nvPr/>
        </p:nvCxnSpPr>
        <p:spPr bwMode="auto">
          <a:xfrm flipV="1">
            <a:off x="4032134" y="3128088"/>
            <a:ext cx="4309232" cy="97712"/>
          </a:xfrm>
          <a:prstGeom prst="line">
            <a:avLst/>
          </a:prstGeom>
          <a:solidFill>
            <a:srgbClr val="0183B7"/>
          </a:solidFill>
          <a:ln w="762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cxnSp>
        <p:nvCxnSpPr>
          <p:cNvPr id="177" name="Straight Arrow Connector 176"/>
          <p:cNvCxnSpPr/>
          <p:nvPr/>
        </p:nvCxnSpPr>
        <p:spPr bwMode="auto">
          <a:xfrm flipV="1">
            <a:off x="4712537" y="3386781"/>
            <a:ext cx="3367426" cy="51309"/>
          </a:xfrm>
          <a:prstGeom prst="straightConnector1">
            <a:avLst/>
          </a:prstGeom>
          <a:ln>
            <a:headEnd type="none" w="lg" len="lg"/>
            <a:tailEnd type="arrow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78" name="Curved Connector 177"/>
          <p:cNvCxnSpPr/>
          <p:nvPr/>
        </p:nvCxnSpPr>
        <p:spPr bwMode="auto">
          <a:xfrm rot="5400000" flipH="1" flipV="1">
            <a:off x="4619330" y="1416169"/>
            <a:ext cx="1003779" cy="219318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9" name="Curved Connector 178"/>
          <p:cNvCxnSpPr/>
          <p:nvPr/>
        </p:nvCxnSpPr>
        <p:spPr bwMode="auto">
          <a:xfrm rot="5400000" flipH="1" flipV="1">
            <a:off x="4934649" y="1100850"/>
            <a:ext cx="1003779" cy="2823819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0" name="Curved Connector 179"/>
          <p:cNvCxnSpPr/>
          <p:nvPr/>
        </p:nvCxnSpPr>
        <p:spPr bwMode="auto">
          <a:xfrm rot="5400000" flipH="1" flipV="1">
            <a:off x="4638121" y="3068336"/>
            <a:ext cx="2637153" cy="522255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1" name="Curved Connector 180"/>
          <p:cNvCxnSpPr/>
          <p:nvPr/>
        </p:nvCxnSpPr>
        <p:spPr bwMode="auto">
          <a:xfrm rot="5400000" flipH="1" flipV="1">
            <a:off x="4953440" y="2753001"/>
            <a:ext cx="2637153" cy="1152892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Curved Connector 181"/>
          <p:cNvCxnSpPr/>
          <p:nvPr/>
        </p:nvCxnSpPr>
        <p:spPr bwMode="auto">
          <a:xfrm rot="16200000" flipV="1">
            <a:off x="7163376" y="1695957"/>
            <a:ext cx="909953" cy="1539780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Curved Connector 182"/>
          <p:cNvCxnSpPr/>
          <p:nvPr/>
        </p:nvCxnSpPr>
        <p:spPr bwMode="auto">
          <a:xfrm rot="16200000" flipV="1">
            <a:off x="6848059" y="1380654"/>
            <a:ext cx="909953" cy="2170417"/>
          </a:xfrm>
          <a:prstGeom prst="curvedConnector3">
            <a:avLst>
              <a:gd name="adj1" fmla="val 50000"/>
            </a:avLst>
          </a:prstGeom>
          <a:solidFill>
            <a:srgbClr val="0183B7"/>
          </a:solidFill>
          <a:ln w="6350" cap="flat" cmpd="sng" algn="ctr">
            <a:solidFill>
              <a:schemeClr val="bg2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39" name="Group 138"/>
          <p:cNvGrpSpPr/>
          <p:nvPr/>
        </p:nvGrpSpPr>
        <p:grpSpPr>
          <a:xfrm>
            <a:off x="8081721" y="2725591"/>
            <a:ext cx="820222" cy="805025"/>
            <a:chOff x="6096000" y="3257550"/>
            <a:chExt cx="615327" cy="603769"/>
          </a:xfrm>
        </p:grpSpPr>
        <p:grpSp>
          <p:nvGrpSpPr>
            <p:cNvPr id="133" name="Group 132"/>
            <p:cNvGrpSpPr/>
            <p:nvPr/>
          </p:nvGrpSpPr>
          <p:grpSpPr>
            <a:xfrm>
              <a:off x="6096000" y="3257550"/>
              <a:ext cx="615327" cy="603769"/>
              <a:chOff x="3048000" y="3676650"/>
              <a:chExt cx="615327" cy="603769"/>
            </a:xfrm>
          </p:grpSpPr>
          <p:pic>
            <p:nvPicPr>
              <p:cNvPr id="135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36" name="Group 135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37" name="Hexagon 136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38" name="TextBox 137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2</a:t>
                  </a:r>
                </a:p>
              </p:txBody>
            </p:sp>
          </p:grpSp>
        </p:grpSp>
        <p:sp>
          <p:nvSpPr>
            <p:cNvPr id="134" name="Oval 133"/>
            <p:cNvSpPr>
              <a:spLocks noChangeAspect="1"/>
            </p:cNvSpPr>
            <p:nvPr/>
          </p:nvSpPr>
          <p:spPr bwMode="auto">
            <a:xfrm>
              <a:off x="6096000" y="3467994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aphicFrame>
        <p:nvGraphicFramePr>
          <p:cNvPr id="172" name="Table 171"/>
          <p:cNvGraphicFramePr>
            <a:graphicFrameLocks noGrp="1"/>
          </p:cNvGraphicFramePr>
          <p:nvPr>
            <p:extLst/>
          </p:nvPr>
        </p:nvGraphicFramePr>
        <p:xfrm>
          <a:off x="8319567" y="1741748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</a:t>
                      </a:r>
                      <a:r>
                        <a:rPr lang="en-US" sz="1200" baseline="0" dirty="0" smtClean="0"/>
                        <a:t>1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3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3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84" name="Straight Connector 183"/>
          <p:cNvCxnSpPr>
            <a:stCxn id="127" idx="2"/>
            <a:endCxn id="145" idx="5"/>
          </p:cNvCxnSpPr>
          <p:nvPr/>
        </p:nvCxnSpPr>
        <p:spPr bwMode="auto">
          <a:xfrm>
            <a:off x="4087358" y="3221928"/>
            <a:ext cx="1608197" cy="1426111"/>
          </a:xfrm>
          <a:prstGeom prst="line">
            <a:avLst/>
          </a:prstGeom>
          <a:solidFill>
            <a:srgbClr val="0183B7"/>
          </a:solidFill>
          <a:ln w="76200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grpSp>
        <p:nvGrpSpPr>
          <p:cNvPr id="131" name="Group 130"/>
          <p:cNvGrpSpPr/>
          <p:nvPr/>
        </p:nvGrpSpPr>
        <p:grpSpPr>
          <a:xfrm>
            <a:off x="3510912" y="2819417"/>
            <a:ext cx="820222" cy="805025"/>
            <a:chOff x="3048000" y="2791272"/>
            <a:chExt cx="615327" cy="603769"/>
          </a:xfrm>
        </p:grpSpPr>
        <p:grpSp>
          <p:nvGrpSpPr>
            <p:cNvPr id="130" name="Group 129"/>
            <p:cNvGrpSpPr/>
            <p:nvPr/>
          </p:nvGrpSpPr>
          <p:grpSpPr>
            <a:xfrm>
              <a:off x="3048000" y="2791272"/>
              <a:ext cx="615327" cy="603769"/>
              <a:chOff x="3048000" y="3676650"/>
              <a:chExt cx="615327" cy="603769"/>
            </a:xfrm>
          </p:grpSpPr>
          <p:pic>
            <p:nvPicPr>
              <p:cNvPr id="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5" name="Group 4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2" name="Hexagon 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4" name="TextBox 3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1</a:t>
                  </a:r>
                </a:p>
              </p:txBody>
            </p:sp>
          </p:grpSp>
        </p:grpSp>
        <p:sp>
          <p:nvSpPr>
            <p:cNvPr id="127" name="Oval 126"/>
            <p:cNvSpPr>
              <a:spLocks noChangeAspect="1"/>
            </p:cNvSpPr>
            <p:nvPr/>
          </p:nvSpPr>
          <p:spPr bwMode="auto">
            <a:xfrm>
              <a:off x="3480447" y="3001716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5181839" y="4351191"/>
            <a:ext cx="820222" cy="906625"/>
            <a:chOff x="4953000" y="1123950"/>
            <a:chExt cx="615327" cy="679969"/>
          </a:xfrm>
        </p:grpSpPr>
        <p:grpSp>
          <p:nvGrpSpPr>
            <p:cNvPr id="141" name="Group 140"/>
            <p:cNvGrpSpPr/>
            <p:nvPr/>
          </p:nvGrpSpPr>
          <p:grpSpPr>
            <a:xfrm>
              <a:off x="4953000" y="1200150"/>
              <a:ext cx="615327" cy="603769"/>
              <a:chOff x="3048000" y="3676650"/>
              <a:chExt cx="615327" cy="603769"/>
            </a:xfrm>
          </p:grpSpPr>
          <p:pic>
            <p:nvPicPr>
              <p:cNvPr id="143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8000" y="3676650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44" name="Group 143"/>
              <p:cNvGrpSpPr/>
              <p:nvPr/>
            </p:nvGrpSpPr>
            <p:grpSpPr>
              <a:xfrm>
                <a:off x="3200215" y="3823086"/>
                <a:ext cx="310896" cy="310896"/>
                <a:chOff x="3200400" y="3562350"/>
                <a:chExt cx="310896" cy="310896"/>
              </a:xfrm>
            </p:grpSpPr>
            <p:sp>
              <p:nvSpPr>
                <p:cNvPr id="145" name="Hexagon 144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b="1" dirty="0" err="1">
                    <a:solidFill>
                      <a:schemeClr val="bg1"/>
                    </a:solidFill>
                    <a:latin typeface="+mj-lt"/>
                    <a:sym typeface="Arial" pitchFamily="-107" charset="0"/>
                  </a:endParaRPr>
                </a:p>
              </p:txBody>
            </p:sp>
            <p:sp>
              <p:nvSpPr>
                <p:cNvPr id="146" name="TextBox 145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2100" b="1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chemeClr val="bg1"/>
                      </a:solidFill>
                      <a:latin typeface="+mj-lt"/>
                      <a:cs typeface="Arial"/>
                    </a:rPr>
                    <a:t>3</a:t>
                  </a:r>
                </a:p>
              </p:txBody>
            </p:sp>
          </p:grpSp>
        </p:grpSp>
        <p:sp>
          <p:nvSpPr>
            <p:cNvPr id="142" name="Oval 141"/>
            <p:cNvSpPr>
              <a:spLocks noChangeAspect="1"/>
            </p:cNvSpPr>
            <p:nvPr/>
          </p:nvSpPr>
          <p:spPr bwMode="auto">
            <a:xfrm>
              <a:off x="5169223" y="1123950"/>
              <a:ext cx="182880" cy="18288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9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cxnSp>
        <p:nvCxnSpPr>
          <p:cNvPr id="185" name="Straight Arrow Connector 184"/>
          <p:cNvCxnSpPr/>
          <p:nvPr/>
        </p:nvCxnSpPr>
        <p:spPr bwMode="auto">
          <a:xfrm>
            <a:off x="4712534" y="3446642"/>
            <a:ext cx="1094376" cy="803931"/>
          </a:xfrm>
          <a:prstGeom prst="straightConnector1">
            <a:avLst/>
          </a:prstGeom>
          <a:ln>
            <a:headEnd type="none" w="lg" len="lg"/>
            <a:tailEnd type="arrow" w="lg" len="lg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graphicFrame>
        <p:nvGraphicFramePr>
          <p:cNvPr id="173" name="Table 172"/>
          <p:cNvGraphicFramePr>
            <a:graphicFrameLocks noGrp="1"/>
          </p:cNvGraphicFramePr>
          <p:nvPr>
            <p:extLst/>
          </p:nvPr>
        </p:nvGraphicFramePr>
        <p:xfrm>
          <a:off x="2873991" y="1813349"/>
          <a:ext cx="2136885" cy="10972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7855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74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839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eer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NI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TEP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2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2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V3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0000</a:t>
                      </a:r>
                    </a:p>
                    <a:p>
                      <a:r>
                        <a:rPr lang="en-US" sz="1200" dirty="0" smtClean="0"/>
                        <a:t>30001</a:t>
                      </a:r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/>
                        <a:t>V3</a:t>
                      </a:r>
                      <a:endParaRPr lang="en-US" sz="1200" baseline="0" dirty="0"/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1721277" y="2878915"/>
            <a:ext cx="1876546" cy="846652"/>
            <a:chOff x="1290103" y="2159174"/>
            <a:chExt cx="1407776" cy="634989"/>
          </a:xfrm>
        </p:grpSpPr>
        <p:grpSp>
          <p:nvGrpSpPr>
            <p:cNvPr id="109" name="Group 108"/>
            <p:cNvGrpSpPr/>
            <p:nvPr/>
          </p:nvGrpSpPr>
          <p:grpSpPr>
            <a:xfrm>
              <a:off x="1743751" y="2503115"/>
              <a:ext cx="954128" cy="291048"/>
              <a:chOff x="1743751" y="2503115"/>
              <a:chExt cx="954128" cy="291048"/>
            </a:xfrm>
          </p:grpSpPr>
          <p:cxnSp>
            <p:nvCxnSpPr>
              <p:cNvPr id="298" name="Straight Arrow Connector 297"/>
              <p:cNvCxnSpPr/>
              <p:nvPr/>
            </p:nvCxnSpPr>
            <p:spPr bwMode="auto">
              <a:xfrm flipV="1">
                <a:off x="1743751" y="2612467"/>
                <a:ext cx="954128" cy="72386"/>
              </a:xfrm>
              <a:prstGeom prst="straightConnector1">
                <a:avLst/>
              </a:prstGeom>
              <a:ln>
                <a:headEnd type="none" w="med" len="med"/>
                <a:tailEnd type="arrow" w="lg" len="lg"/>
              </a:ln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grpSp>
            <p:nvGrpSpPr>
              <p:cNvPr id="32" name="Group 31"/>
              <p:cNvGrpSpPr/>
              <p:nvPr/>
            </p:nvGrpSpPr>
            <p:grpSpPr>
              <a:xfrm>
                <a:off x="1829566" y="2503115"/>
                <a:ext cx="267465" cy="291048"/>
                <a:chOff x="1293288" y="1515133"/>
                <a:chExt cx="267465" cy="291048"/>
              </a:xfrm>
            </p:grpSpPr>
            <p:sp>
              <p:nvSpPr>
                <p:cNvPr id="295" name="Oval 294"/>
                <p:cNvSpPr>
                  <a:spLocks noChangeAspect="1"/>
                </p:cNvSpPr>
                <p:nvPr/>
              </p:nvSpPr>
              <p:spPr bwMode="auto">
                <a:xfrm>
                  <a:off x="1293288" y="1531861"/>
                  <a:ext cx="267465" cy="274320"/>
                </a:xfrm>
                <a:prstGeom prst="ellipse">
                  <a:avLst/>
                </a:prstGeom>
                <a:ln>
                  <a:headEnd type="none" w="med" len="med"/>
                  <a:tailEnd type="none" w="med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defTabSz="685372"/>
                  <a:endParaRPr lang="en-US" sz="1100" dirty="0" err="1">
                    <a:solidFill>
                      <a:schemeClr val="bg1"/>
                    </a:solidFill>
                    <a:ea typeface="Arial" pitchFamily="-107" charset="0"/>
                    <a:cs typeface="Arial" pitchFamily="-107" charset="0"/>
                    <a:sym typeface="Arial" pitchFamily="-107" charset="0"/>
                  </a:endParaRPr>
                </a:p>
              </p:txBody>
            </p:sp>
            <p:sp>
              <p:nvSpPr>
                <p:cNvPr id="297" name="TextBox 296"/>
                <p:cNvSpPr txBox="1"/>
                <p:nvPr/>
              </p:nvSpPr>
              <p:spPr>
                <a:xfrm>
                  <a:off x="1306923" y="1515133"/>
                  <a:ext cx="240195" cy="28854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1900" dirty="0">
                      <a:solidFill>
                        <a:schemeClr val="bg1"/>
                      </a:solidFill>
                    </a:rPr>
                    <a:t>1</a:t>
                  </a:r>
                </a:p>
              </p:txBody>
            </p:sp>
          </p:grpSp>
        </p:grpSp>
        <p:sp>
          <p:nvSpPr>
            <p:cNvPr id="186" name="Rounded Rectangle 185"/>
            <p:cNvSpPr/>
            <p:nvPr>
              <p:custDataLst>
                <p:tags r:id="rId9"/>
              </p:custDataLst>
            </p:nvPr>
          </p:nvSpPr>
          <p:spPr bwMode="auto">
            <a:xfrm>
              <a:off x="1290103" y="2159174"/>
              <a:ext cx="1385871" cy="333621"/>
            </a:xfrm>
            <a:prstGeom prst="roundRect">
              <a:avLst>
                <a:gd name="adj" fmla="val 4036"/>
              </a:avLst>
            </a:prstGeom>
            <a:solidFill>
              <a:srgbClr val="FDE5D2"/>
            </a:solidFill>
            <a:ln>
              <a:solidFill>
                <a:schemeClr val="bg1">
                  <a:lumMod val="6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defTabSz="685372"/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ARP Request for IP_B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Src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MAC_A</a:t>
              </a:r>
            </a:p>
            <a:p>
              <a:pPr defTabSz="685372"/>
              <a:r>
                <a:rPr lang="en-US" sz="900" dirty="0" err="1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Dst</a:t>
              </a:r>
              <a:r>
                <a:rPr lang="en-US" sz="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MAC: FF:FF:FF:FF:FF:FF</a:t>
              </a:r>
            </a:p>
          </p:txBody>
        </p:sp>
      </p:grpSp>
      <p:grpSp>
        <p:nvGrpSpPr>
          <p:cNvPr id="190" name="Group 189"/>
          <p:cNvGrpSpPr/>
          <p:nvPr/>
        </p:nvGrpSpPr>
        <p:grpSpPr>
          <a:xfrm>
            <a:off x="3737929" y="1385518"/>
            <a:ext cx="356529" cy="388064"/>
            <a:chOff x="1293288" y="1515133"/>
            <a:chExt cx="267465" cy="291048"/>
          </a:xfrm>
        </p:grpSpPr>
        <p:sp>
          <p:nvSpPr>
            <p:cNvPr id="191" name="Oval 190"/>
            <p:cNvSpPr>
              <a:spLocks noChangeAspect="1"/>
            </p:cNvSpPr>
            <p:nvPr/>
          </p:nvSpPr>
          <p:spPr bwMode="auto">
            <a:xfrm>
              <a:off x="1293288" y="1531861"/>
              <a:ext cx="267465" cy="27432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1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1306923" y="1515133"/>
              <a:ext cx="240193" cy="2885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00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sp>
        <p:nvSpPr>
          <p:cNvPr id="193" name="AutoShape 73"/>
          <p:cNvSpPr>
            <a:spLocks noChangeAspect="1" noChangeArrowheads="1"/>
          </p:cNvSpPr>
          <p:nvPr/>
        </p:nvSpPr>
        <p:spPr bwMode="auto">
          <a:xfrm rot="12840645" flipV="1">
            <a:off x="3898591" y="2943857"/>
            <a:ext cx="609441" cy="609600"/>
          </a:xfrm>
          <a:custGeom>
            <a:avLst/>
            <a:gdLst>
              <a:gd name="G0" fmla="+- 1453104 0 0"/>
              <a:gd name="G1" fmla="+- 7261436 0 0"/>
              <a:gd name="G2" fmla="+- 1453104 0 7261436"/>
              <a:gd name="G3" fmla="+- 10800 0 0"/>
              <a:gd name="G4" fmla="+- 0 0 1453104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961 0 0"/>
              <a:gd name="G9" fmla="+- 0 0 7261436"/>
              <a:gd name="G10" fmla="+- 5961 0 2700"/>
              <a:gd name="G11" fmla="cos G10 1453104"/>
              <a:gd name="G12" fmla="sin G10 1453104"/>
              <a:gd name="G13" fmla="cos 13500 1453104"/>
              <a:gd name="G14" fmla="sin 13500 1453104"/>
              <a:gd name="G15" fmla="+- G11 10800 0"/>
              <a:gd name="G16" fmla="+- G12 10800 0"/>
              <a:gd name="G17" fmla="+- G13 10800 0"/>
              <a:gd name="G18" fmla="+- G14 10800 0"/>
              <a:gd name="G19" fmla="*/ 5961 1 2"/>
              <a:gd name="G20" fmla="+- G19 5400 0"/>
              <a:gd name="G21" fmla="cos G20 1453104"/>
              <a:gd name="G22" fmla="sin G20 1453104"/>
              <a:gd name="G23" fmla="+- G21 10800 0"/>
              <a:gd name="G24" fmla="+- G12 G23 G22"/>
              <a:gd name="G25" fmla="+- G22 G23 G11"/>
              <a:gd name="G26" fmla="cos 10800 1453104"/>
              <a:gd name="G27" fmla="sin 10800 1453104"/>
              <a:gd name="G28" fmla="cos 5961 1453104"/>
              <a:gd name="G29" fmla="sin 5961 1453104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7261436"/>
              <a:gd name="G36" fmla="sin G34 7261436"/>
              <a:gd name="G37" fmla="+/ 7261436 1453104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961 G39"/>
              <a:gd name="G43" fmla="sin 5961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491 w 21600"/>
              <a:gd name="T5" fmla="*/ 896 h 21600"/>
              <a:gd name="T6" fmla="*/ 7823 w 21600"/>
              <a:gd name="T7" fmla="*/ 18634 h 21600"/>
              <a:gd name="T8" fmla="*/ 8421 w 21600"/>
              <a:gd name="T9" fmla="*/ 5333 h 21600"/>
              <a:gd name="T10" fmla="*/ 23301 w 21600"/>
              <a:gd name="T11" fmla="*/ 15894 h 21600"/>
              <a:gd name="T12" fmla="*/ 16629 w 21600"/>
              <a:gd name="T13" fmla="*/ 18704 h 21600"/>
              <a:gd name="T14" fmla="*/ 13819 w 21600"/>
              <a:gd name="T15" fmla="*/ 1203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320" y="13049"/>
                </a:moveTo>
                <a:cubicBezTo>
                  <a:pt x="16611" y="12335"/>
                  <a:pt x="16761" y="11571"/>
                  <a:pt x="16761" y="10800"/>
                </a:cubicBezTo>
                <a:cubicBezTo>
                  <a:pt x="16761" y="7507"/>
                  <a:pt x="14092" y="4839"/>
                  <a:pt x="10800" y="4839"/>
                </a:cubicBezTo>
                <a:cubicBezTo>
                  <a:pt x="7507" y="4839"/>
                  <a:pt x="4839" y="7507"/>
                  <a:pt x="4839" y="10800"/>
                </a:cubicBezTo>
                <a:cubicBezTo>
                  <a:pt x="4838" y="13275"/>
                  <a:pt x="6368" y="15493"/>
                  <a:pt x="8683" y="16372"/>
                </a:cubicBezTo>
                <a:lnTo>
                  <a:pt x="6964" y="20896"/>
                </a:lnTo>
                <a:cubicBezTo>
                  <a:pt x="2771" y="19303"/>
                  <a:pt x="0" y="1528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599" y="12197"/>
                  <a:pt x="21328" y="13581"/>
                  <a:pt x="20801" y="14875"/>
                </a:cubicBezTo>
                <a:lnTo>
                  <a:pt x="23301" y="15894"/>
                </a:lnTo>
                <a:lnTo>
                  <a:pt x="16629" y="18704"/>
                </a:lnTo>
                <a:lnTo>
                  <a:pt x="13819" y="12030"/>
                </a:lnTo>
                <a:lnTo>
                  <a:pt x="16320" y="13049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2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lIns="129705" tIns="64851" rIns="129705" bIns="64851" anchor="ctr">
            <a:prstTxWarp prst="textNoShape">
              <a:avLst/>
            </a:prstTxWarp>
          </a:bodyPr>
          <a:lstStyle/>
          <a:p>
            <a:pPr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220" name="Group 219"/>
          <p:cNvGrpSpPr/>
          <p:nvPr/>
        </p:nvGrpSpPr>
        <p:grpSpPr>
          <a:xfrm>
            <a:off x="5947907" y="442553"/>
            <a:ext cx="1952354" cy="2531913"/>
            <a:chOff x="2217527" y="2681096"/>
            <a:chExt cx="1464647" cy="1898935"/>
          </a:xfrm>
        </p:grpSpPr>
        <p:grpSp>
          <p:nvGrpSpPr>
            <p:cNvPr id="221" name="Group 220"/>
            <p:cNvGrpSpPr/>
            <p:nvPr/>
          </p:nvGrpSpPr>
          <p:grpSpPr>
            <a:xfrm>
              <a:off x="2217527" y="2917661"/>
              <a:ext cx="1464647" cy="1662370"/>
              <a:chOff x="2217527" y="2917661"/>
              <a:chExt cx="1464647" cy="1662370"/>
            </a:xfrm>
          </p:grpSpPr>
          <p:grpSp>
            <p:nvGrpSpPr>
              <p:cNvPr id="227" name="Group 226"/>
              <p:cNvGrpSpPr/>
              <p:nvPr/>
            </p:nvGrpSpPr>
            <p:grpSpPr>
              <a:xfrm>
                <a:off x="2217527" y="2917661"/>
                <a:ext cx="1464647" cy="809744"/>
                <a:chOff x="2217527" y="2917661"/>
                <a:chExt cx="1464647" cy="809744"/>
              </a:xfrm>
            </p:grpSpPr>
            <p:sp>
              <p:nvSpPr>
                <p:cNvPr id="237" name="Rounded Rectangle 236"/>
                <p:cNvSpPr/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2217527" y="2917661"/>
                  <a:ext cx="1464638" cy="809744"/>
                </a:xfrm>
                <a:prstGeom prst="roundRect">
                  <a:avLst>
                    <a:gd name="adj" fmla="val 4036"/>
                  </a:avLst>
                </a:prstGeom>
                <a:solidFill>
                  <a:schemeClr val="bg1">
                    <a:lumMod val="85000"/>
                  </a:schemeClr>
                </a:solidFill>
                <a:ln w="3175" cmpd="sng">
                  <a:solidFill>
                    <a:schemeClr val="tx1"/>
                  </a:solidFill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218175"/>
                  <a:endParaRPr lang="en-US" sz="3200" dirty="0">
                    <a:cs typeface="Cambria"/>
                    <a:sym typeface="Arial" pitchFamily="-107" charset="0"/>
                  </a:endParaRPr>
                </a:p>
              </p:txBody>
            </p:sp>
            <p:sp>
              <p:nvSpPr>
                <p:cNvPr id="239" name="TextBox 238"/>
                <p:cNvSpPr txBox="1"/>
                <p:nvPr/>
              </p:nvSpPr>
              <p:spPr>
                <a:xfrm rot="16200000">
                  <a:off x="3352736" y="3240278"/>
                  <a:ext cx="49436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Underlay</a:t>
                  </a:r>
                </a:p>
              </p:txBody>
            </p:sp>
            <p:grpSp>
              <p:nvGrpSpPr>
                <p:cNvPr id="240" name="Group 239"/>
                <p:cNvGrpSpPr/>
                <p:nvPr/>
              </p:nvGrpSpPr>
              <p:grpSpPr>
                <a:xfrm>
                  <a:off x="2239463" y="2951231"/>
                  <a:ext cx="1316504" cy="742604"/>
                  <a:chOff x="2239463" y="2949648"/>
                  <a:chExt cx="1316504" cy="742604"/>
                </a:xfrm>
              </p:grpSpPr>
              <p:sp>
                <p:nvSpPr>
                  <p:cNvPr id="242" name="Rounded Rectangle 241"/>
                  <p:cNvSpPr/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2239463" y="3252370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IP: IP_V1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IP: IP_V2</a:t>
                    </a:r>
                  </a:p>
                </p:txBody>
              </p:sp>
              <p:sp>
                <p:nvSpPr>
                  <p:cNvPr id="243" name="Rounded Rectangle 242"/>
                  <p:cNvSpPr/>
                  <p:nvPr>
                    <p:custDataLst>
                      <p:tags r:id="rId7"/>
                    </p:custDataLst>
                  </p:nvPr>
                </p:nvSpPr>
                <p:spPr bwMode="auto">
                  <a:xfrm>
                    <a:off x="2239463" y="294964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V1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MAC_V2</a:t>
                    </a:r>
                  </a:p>
                </p:txBody>
              </p:sp>
              <p:sp>
                <p:nvSpPr>
                  <p:cNvPr id="245" name="Rounded Rectangle 244"/>
                  <p:cNvSpPr/>
                  <p:nvPr>
                    <p:custDataLst>
                      <p:tags r:id="rId8"/>
                    </p:custDataLst>
                  </p:nvPr>
                </p:nvSpPr>
                <p:spPr bwMode="auto">
                  <a:xfrm>
                    <a:off x="2244647" y="3555092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2"/>
                  </a:lnRef>
                  <a:fillRef idx="2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UDP</a:t>
                    </a:r>
                  </a:p>
                </p:txBody>
              </p:sp>
            </p:grpSp>
          </p:grpSp>
          <p:grpSp>
            <p:nvGrpSpPr>
              <p:cNvPr id="228" name="Group 227"/>
              <p:cNvGrpSpPr/>
              <p:nvPr/>
            </p:nvGrpSpPr>
            <p:grpSpPr>
              <a:xfrm>
                <a:off x="2217527" y="3746193"/>
                <a:ext cx="1464647" cy="833838"/>
                <a:chOff x="2217527" y="3746193"/>
                <a:chExt cx="1464647" cy="833838"/>
              </a:xfrm>
            </p:grpSpPr>
            <p:sp>
              <p:nvSpPr>
                <p:cNvPr id="229" name="Rounded Rectangle 228"/>
                <p:cNvSpPr/>
                <p:nvPr>
                  <p:custDataLst>
                    <p:tags r:id="rId1"/>
                  </p:custDataLst>
                </p:nvPr>
              </p:nvSpPr>
              <p:spPr bwMode="auto">
                <a:xfrm>
                  <a:off x="2217527" y="3746193"/>
                  <a:ext cx="1464638" cy="833838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defTabSz="685372"/>
                  <a:endParaRPr lang="en-US" sz="1100" dirty="0">
                    <a:solidFill>
                      <a:schemeClr val="tx1"/>
                    </a:solidFill>
                    <a:ea typeface="Arial" pitchFamily="-107" charset="0"/>
                    <a:cs typeface="Arial" pitchFamily="-107" charset="0"/>
                    <a:sym typeface="Arial" pitchFamily="-107" charset="0"/>
                  </a:endParaRPr>
                </a:p>
              </p:txBody>
            </p:sp>
            <p:grpSp>
              <p:nvGrpSpPr>
                <p:cNvPr id="231" name="Group 230"/>
                <p:cNvGrpSpPr/>
                <p:nvPr/>
              </p:nvGrpSpPr>
              <p:grpSpPr>
                <a:xfrm>
                  <a:off x="2244647" y="3782652"/>
                  <a:ext cx="1311320" cy="760920"/>
                  <a:chOff x="2244647" y="3787538"/>
                  <a:chExt cx="1311320" cy="760920"/>
                </a:xfrm>
              </p:grpSpPr>
              <p:sp>
                <p:nvSpPr>
                  <p:cNvPr id="234" name="Rounded Rectangle 233"/>
                  <p:cNvSpPr/>
                  <p:nvPr>
                    <p:custDataLst>
                      <p:tags r:id="rId2"/>
                    </p:custDataLst>
                  </p:nvPr>
                </p:nvSpPr>
                <p:spPr bwMode="auto">
                  <a:xfrm>
                    <a:off x="2244647" y="3787538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VXLAN VNID: 30000</a:t>
                    </a:r>
                  </a:p>
                </p:txBody>
              </p:sp>
              <p:sp>
                <p:nvSpPr>
                  <p:cNvPr id="235" name="Rounded Rectangle 234"/>
                  <p:cNvSpPr/>
                  <p:nvPr>
                    <p:custDataLst>
                      <p:tags r:id="rId3"/>
                    </p:custDataLst>
                  </p:nvPr>
                </p:nvSpPr>
                <p:spPr bwMode="auto">
                  <a:xfrm>
                    <a:off x="2244647" y="396225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ARP Request</a:t>
                    </a:r>
                  </a:p>
                </p:txBody>
              </p:sp>
              <p:sp>
                <p:nvSpPr>
                  <p:cNvPr id="236" name="Rounded Rectangle 235"/>
                  <p:cNvSpPr/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2244647" y="427413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SMAC: MAC_A</a:t>
                    </a:r>
                  </a:p>
                  <a:p>
                    <a:pPr defTabSz="685372"/>
                    <a:r>
                      <a:rPr lang="en-US" sz="900" dirty="0">
                        <a:solidFill>
                          <a:schemeClr val="tx1"/>
                        </a:solidFill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DMAC: FF:FF:FF:FF:FF:FF</a:t>
                    </a:r>
                  </a:p>
                </p:txBody>
              </p:sp>
            </p:grpSp>
            <p:sp>
              <p:nvSpPr>
                <p:cNvPr id="232" name="TextBox 231"/>
                <p:cNvSpPr txBox="1"/>
                <p:nvPr/>
              </p:nvSpPr>
              <p:spPr>
                <a:xfrm rot="16200000">
                  <a:off x="3376781" y="4080858"/>
                  <a:ext cx="446276" cy="1645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</a:rPr>
                    <a:t>Overlay</a:t>
                  </a:r>
                </a:p>
              </p:txBody>
            </p:sp>
          </p:grpSp>
        </p:grpSp>
        <p:grpSp>
          <p:nvGrpSpPr>
            <p:cNvPr id="223" name="Group 222"/>
            <p:cNvGrpSpPr/>
            <p:nvPr/>
          </p:nvGrpSpPr>
          <p:grpSpPr>
            <a:xfrm>
              <a:off x="2816114" y="2681096"/>
              <a:ext cx="267465" cy="291048"/>
              <a:chOff x="1293288" y="1515133"/>
              <a:chExt cx="267465" cy="291048"/>
            </a:xfrm>
          </p:grpSpPr>
          <p:sp>
            <p:nvSpPr>
              <p:cNvPr id="224" name="Oval 223"/>
              <p:cNvSpPr>
                <a:spLocks noChangeAspect="1"/>
              </p:cNvSpPr>
              <p:nvPr/>
            </p:nvSpPr>
            <p:spPr bwMode="auto">
              <a:xfrm>
                <a:off x="1293288" y="1531861"/>
                <a:ext cx="267465" cy="27432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5372"/>
                <a:endParaRPr lang="en-US" sz="1100" dirty="0" err="1">
                  <a:solidFill>
                    <a:schemeClr val="bg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225" name="TextBox 224"/>
              <p:cNvSpPr txBox="1"/>
              <p:nvPr/>
            </p:nvSpPr>
            <p:spPr>
              <a:xfrm>
                <a:off x="1306923" y="1515133"/>
                <a:ext cx="240194" cy="2885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00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</p:grpSp>
      <p:grpSp>
        <p:nvGrpSpPr>
          <p:cNvPr id="246" name="Group 245"/>
          <p:cNvGrpSpPr/>
          <p:nvPr/>
        </p:nvGrpSpPr>
        <p:grpSpPr>
          <a:xfrm>
            <a:off x="4436965" y="2940002"/>
            <a:ext cx="356529" cy="388064"/>
            <a:chOff x="1293288" y="1515133"/>
            <a:chExt cx="267465" cy="291048"/>
          </a:xfrm>
        </p:grpSpPr>
        <p:sp>
          <p:nvSpPr>
            <p:cNvPr id="247" name="Oval 246"/>
            <p:cNvSpPr>
              <a:spLocks noChangeAspect="1"/>
            </p:cNvSpPr>
            <p:nvPr/>
          </p:nvSpPr>
          <p:spPr bwMode="auto">
            <a:xfrm>
              <a:off x="1293288" y="1531861"/>
              <a:ext cx="267465" cy="274320"/>
            </a:xfrm>
            <a:prstGeom prst="ellipse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85372"/>
              <a:endParaRPr lang="en-US" sz="1100" dirty="0" err="1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1306923" y="1515133"/>
              <a:ext cx="240193" cy="2885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900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69009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83595" y="2587302"/>
            <a:ext cx="2426477" cy="1202904"/>
          </a:xfrm>
        </p:spPr>
        <p:txBody>
          <a:bodyPr/>
          <a:lstStyle/>
          <a:p>
            <a:r>
              <a:rPr lang="en-US" smtClean="0"/>
              <a:t>How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4167260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Content Placeholder 65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buFont typeface="Arial"/>
              <a:buChar char="•"/>
            </a:pPr>
            <a:r>
              <a:rPr lang="en-US" dirty="0" smtClean="0"/>
              <a:t>MTU and Overlays</a:t>
            </a:r>
            <a:endParaRPr lang="en-US" dirty="0"/>
          </a:p>
          <a:p>
            <a:pPr>
              <a:buFont typeface="Arial"/>
              <a:buChar char="•"/>
            </a:pPr>
            <a:r>
              <a:rPr lang="en-US" dirty="0" smtClean="0"/>
              <a:t>Unicast Routing Protocol and IP Addressing</a:t>
            </a:r>
          </a:p>
          <a:p>
            <a:pPr>
              <a:buFont typeface="Arial"/>
              <a:buChar char="•"/>
            </a:pPr>
            <a:r>
              <a:rPr lang="en-US" dirty="0" smtClean="0"/>
              <a:t>Multicast for BUM* Traffic Replication</a:t>
            </a:r>
            <a:endParaRPr lang="en-US" dirty="0"/>
          </a:p>
          <a:p>
            <a:pPr>
              <a:buFont typeface="Arial"/>
              <a:buChar char="•"/>
            </a:pPr>
            <a:endParaRPr lang="en-US" dirty="0"/>
          </a:p>
          <a:p>
            <a:pPr>
              <a:buFont typeface="Arial"/>
              <a:buChar char="•"/>
            </a:pPr>
            <a:endParaRPr lang="en-US" dirty="0"/>
          </a:p>
        </p:txBody>
      </p:sp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ployment </a:t>
            </a:r>
            <a:r>
              <a:rPr lang="en-US" dirty="0"/>
              <a:t>Considerations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28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5462192" y="1706789"/>
            <a:ext cx="6293486" cy="4267200"/>
            <a:chOff x="2211328" y="742950"/>
            <a:chExt cx="4721344" cy="3200400"/>
          </a:xfrm>
        </p:grpSpPr>
        <p:sp>
          <p:nvSpPr>
            <p:cNvPr id="61" name="Freeform 6"/>
            <p:cNvSpPr>
              <a:spLocks noChangeAspect="1"/>
            </p:cNvSpPr>
            <p:nvPr/>
          </p:nvSpPr>
          <p:spPr bwMode="auto">
            <a:xfrm>
              <a:off x="2211328" y="742950"/>
              <a:ext cx="4721344" cy="2743200"/>
            </a:xfrm>
            <a:custGeom>
              <a:avLst/>
              <a:gdLst>
                <a:gd name="T0" fmla="*/ 2096 w 2396"/>
                <a:gd name="T1" fmla="*/ 792 h 1392"/>
                <a:gd name="T2" fmla="*/ 2093 w 2396"/>
                <a:gd name="T3" fmla="*/ 792 h 1392"/>
                <a:gd name="T4" fmla="*/ 2096 w 2396"/>
                <a:gd name="T5" fmla="*/ 759 h 1392"/>
                <a:gd name="T6" fmla="*/ 1904 w 2396"/>
                <a:gd name="T7" fmla="*/ 570 h 1392"/>
                <a:gd name="T8" fmla="*/ 1868 w 2396"/>
                <a:gd name="T9" fmla="*/ 573 h 1392"/>
                <a:gd name="T10" fmla="*/ 1886 w 2396"/>
                <a:gd name="T11" fmla="*/ 459 h 1392"/>
                <a:gd name="T12" fmla="*/ 1370 w 2396"/>
                <a:gd name="T13" fmla="*/ 0 h 1392"/>
                <a:gd name="T14" fmla="*/ 864 w 2396"/>
                <a:gd name="T15" fmla="*/ 372 h 1392"/>
                <a:gd name="T16" fmla="*/ 687 w 2396"/>
                <a:gd name="T17" fmla="*/ 306 h 1392"/>
                <a:gd name="T18" fmla="*/ 414 w 2396"/>
                <a:gd name="T19" fmla="*/ 582 h 1392"/>
                <a:gd name="T20" fmla="*/ 414 w 2396"/>
                <a:gd name="T21" fmla="*/ 597 h 1392"/>
                <a:gd name="T22" fmla="*/ 399 w 2396"/>
                <a:gd name="T23" fmla="*/ 594 h 1392"/>
                <a:gd name="T24" fmla="*/ 0 w 2396"/>
                <a:gd name="T25" fmla="*/ 993 h 1392"/>
                <a:gd name="T26" fmla="*/ 399 w 2396"/>
                <a:gd name="T27" fmla="*/ 1392 h 1392"/>
                <a:gd name="T28" fmla="*/ 2096 w 2396"/>
                <a:gd name="T29" fmla="*/ 1392 h 1392"/>
                <a:gd name="T30" fmla="*/ 2396 w 2396"/>
                <a:gd name="T31" fmla="*/ 1092 h 1392"/>
                <a:gd name="T32" fmla="*/ 2096 w 2396"/>
                <a:gd name="T33" fmla="*/ 792 h 1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96" h="1392">
                  <a:moveTo>
                    <a:pt x="2096" y="792"/>
                  </a:moveTo>
                  <a:cubicBezTo>
                    <a:pt x="2093" y="792"/>
                    <a:pt x="2093" y="792"/>
                    <a:pt x="2093" y="792"/>
                  </a:cubicBezTo>
                  <a:cubicBezTo>
                    <a:pt x="2093" y="780"/>
                    <a:pt x="2096" y="771"/>
                    <a:pt x="2096" y="759"/>
                  </a:cubicBezTo>
                  <a:cubicBezTo>
                    <a:pt x="2096" y="654"/>
                    <a:pt x="2009" y="570"/>
                    <a:pt x="1904" y="570"/>
                  </a:cubicBezTo>
                  <a:cubicBezTo>
                    <a:pt x="1892" y="570"/>
                    <a:pt x="1880" y="570"/>
                    <a:pt x="1868" y="573"/>
                  </a:cubicBezTo>
                  <a:cubicBezTo>
                    <a:pt x="1880" y="537"/>
                    <a:pt x="1886" y="498"/>
                    <a:pt x="1886" y="459"/>
                  </a:cubicBezTo>
                  <a:cubicBezTo>
                    <a:pt x="1886" y="207"/>
                    <a:pt x="1655" y="0"/>
                    <a:pt x="1370" y="0"/>
                  </a:cubicBezTo>
                  <a:cubicBezTo>
                    <a:pt x="1118" y="0"/>
                    <a:pt x="912" y="159"/>
                    <a:pt x="864" y="372"/>
                  </a:cubicBezTo>
                  <a:cubicBezTo>
                    <a:pt x="816" y="330"/>
                    <a:pt x="756" y="306"/>
                    <a:pt x="687" y="306"/>
                  </a:cubicBezTo>
                  <a:cubicBezTo>
                    <a:pt x="537" y="306"/>
                    <a:pt x="414" y="429"/>
                    <a:pt x="414" y="582"/>
                  </a:cubicBezTo>
                  <a:cubicBezTo>
                    <a:pt x="414" y="585"/>
                    <a:pt x="414" y="591"/>
                    <a:pt x="414" y="597"/>
                  </a:cubicBezTo>
                  <a:cubicBezTo>
                    <a:pt x="399" y="594"/>
                    <a:pt x="399" y="594"/>
                    <a:pt x="399" y="594"/>
                  </a:cubicBezTo>
                  <a:cubicBezTo>
                    <a:pt x="177" y="594"/>
                    <a:pt x="0" y="771"/>
                    <a:pt x="0" y="993"/>
                  </a:cubicBezTo>
                  <a:cubicBezTo>
                    <a:pt x="0" y="1212"/>
                    <a:pt x="177" y="1392"/>
                    <a:pt x="399" y="1392"/>
                  </a:cubicBezTo>
                  <a:cubicBezTo>
                    <a:pt x="2096" y="1392"/>
                    <a:pt x="2096" y="1392"/>
                    <a:pt x="2096" y="1392"/>
                  </a:cubicBezTo>
                  <a:cubicBezTo>
                    <a:pt x="2261" y="1392"/>
                    <a:pt x="2396" y="1257"/>
                    <a:pt x="2396" y="1092"/>
                  </a:cubicBezTo>
                  <a:cubicBezTo>
                    <a:pt x="2396" y="927"/>
                    <a:pt x="2261" y="792"/>
                    <a:pt x="2096" y="79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70000"/>
              </a:schemeClr>
            </a:solidFill>
            <a:ln w="3175" cmpd="sng">
              <a:solidFill>
                <a:schemeClr val="tx1"/>
              </a:solidFill>
            </a:ln>
            <a:scene3d>
              <a:camera prst="isometricTopUp"/>
              <a:lightRig rig="threePt" dir="t"/>
            </a:scene3d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1217111"/>
              <a:endParaRPr lang="en-US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endParaRPr>
            </a:p>
          </p:txBody>
        </p:sp>
        <p:cxnSp>
          <p:nvCxnSpPr>
            <p:cNvPr id="48" name="Straight Connector 47"/>
            <p:cNvCxnSpPr/>
            <p:nvPr/>
          </p:nvCxnSpPr>
          <p:spPr bwMode="auto">
            <a:xfrm flipV="1">
              <a:off x="3248005" y="1712888"/>
              <a:ext cx="949148" cy="703546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 flipV="1">
              <a:off x="4193863" y="1712888"/>
              <a:ext cx="3290" cy="1550493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 bwMode="auto">
            <a:xfrm>
              <a:off x="4197153" y="1712888"/>
              <a:ext cx="1891307" cy="568519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/>
            <p:nvPr/>
          </p:nvCxnSpPr>
          <p:spPr bwMode="auto">
            <a:xfrm flipV="1">
              <a:off x="3248005" y="1712888"/>
              <a:ext cx="1431748" cy="703546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 flipV="1">
              <a:off x="3248005" y="1712888"/>
              <a:ext cx="1914348" cy="703546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2"/>
            <p:cNvCxnSpPr/>
            <p:nvPr/>
          </p:nvCxnSpPr>
          <p:spPr bwMode="auto">
            <a:xfrm flipV="1">
              <a:off x="3248005" y="1712888"/>
              <a:ext cx="2396948" cy="703546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Straight Connector 53"/>
            <p:cNvCxnSpPr/>
            <p:nvPr/>
          </p:nvCxnSpPr>
          <p:spPr bwMode="auto">
            <a:xfrm flipV="1">
              <a:off x="4193863" y="1712888"/>
              <a:ext cx="485890" cy="1550493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 bwMode="auto">
            <a:xfrm flipV="1">
              <a:off x="4193863" y="1712888"/>
              <a:ext cx="968490" cy="1550493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6" name="Straight Connector 55"/>
            <p:cNvCxnSpPr/>
            <p:nvPr/>
          </p:nvCxnSpPr>
          <p:spPr bwMode="auto">
            <a:xfrm flipV="1">
              <a:off x="4193863" y="1712888"/>
              <a:ext cx="1451090" cy="1550493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rgbClr val="9A9B9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7" name="Straight Connector 56"/>
            <p:cNvCxnSpPr/>
            <p:nvPr/>
          </p:nvCxnSpPr>
          <p:spPr bwMode="auto">
            <a:xfrm>
              <a:off x="4679753" y="1712888"/>
              <a:ext cx="1408707" cy="568519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 bwMode="auto">
            <a:xfrm>
              <a:off x="5162353" y="1712888"/>
              <a:ext cx="926107" cy="568519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 bwMode="auto">
            <a:xfrm>
              <a:off x="5644953" y="1712888"/>
              <a:ext cx="443507" cy="568519"/>
            </a:xfrm>
            <a:prstGeom prst="line">
              <a:avLst/>
            </a:prstGeom>
            <a:solidFill>
              <a:srgbClr val="0183B7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60" name="Group 59"/>
            <p:cNvGrpSpPr/>
            <p:nvPr/>
          </p:nvGrpSpPr>
          <p:grpSpPr>
            <a:xfrm>
              <a:off x="3962400" y="1428750"/>
              <a:ext cx="1892694" cy="436538"/>
              <a:chOff x="3581400" y="2152650"/>
              <a:chExt cx="1892694" cy="436538"/>
            </a:xfrm>
          </p:grpSpPr>
          <p:pic>
            <p:nvPicPr>
              <p:cNvPr id="89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alphaModFix amt="50000"/>
              </a:blip>
              <a:srcRect/>
              <a:stretch>
                <a:fillRect/>
              </a:stretch>
            </p:blipFill>
            <p:spPr bwMode="auto">
              <a:xfrm>
                <a:off x="3581400" y="2152650"/>
                <a:ext cx="444894" cy="436538"/>
              </a:xfrm>
              <a:prstGeom prst="rect">
                <a:avLst/>
              </a:prstGeom>
              <a:noFill/>
            </p:spPr>
          </p:pic>
          <p:pic>
            <p:nvPicPr>
              <p:cNvPr id="9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alphaModFix amt="50000"/>
              </a:blip>
              <a:srcRect/>
              <a:stretch>
                <a:fillRect/>
              </a:stretch>
            </p:blipFill>
            <p:spPr bwMode="auto">
              <a:xfrm>
                <a:off x="4064000" y="2152650"/>
                <a:ext cx="444894" cy="436538"/>
              </a:xfrm>
              <a:prstGeom prst="rect">
                <a:avLst/>
              </a:prstGeom>
              <a:noFill/>
            </p:spPr>
          </p:pic>
          <p:pic>
            <p:nvPicPr>
              <p:cNvPr id="91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alphaModFix amt="50000"/>
              </a:blip>
              <a:srcRect/>
              <a:stretch>
                <a:fillRect/>
              </a:stretch>
            </p:blipFill>
            <p:spPr bwMode="auto">
              <a:xfrm>
                <a:off x="4546600" y="2152650"/>
                <a:ext cx="444894" cy="436538"/>
              </a:xfrm>
              <a:prstGeom prst="rect">
                <a:avLst/>
              </a:prstGeom>
              <a:noFill/>
            </p:spPr>
          </p:pic>
          <p:pic>
            <p:nvPicPr>
              <p:cNvPr id="92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alphaModFix amt="50000"/>
              </a:blip>
              <a:srcRect/>
              <a:stretch>
                <a:fillRect/>
              </a:stretch>
            </p:blipFill>
            <p:spPr bwMode="auto">
              <a:xfrm>
                <a:off x="5029200" y="2152650"/>
                <a:ext cx="444894" cy="436538"/>
              </a:xfrm>
              <a:prstGeom prst="rect">
                <a:avLst/>
              </a:prstGeom>
              <a:noFill/>
            </p:spPr>
          </p:pic>
        </p:grpSp>
        <p:pic>
          <p:nvPicPr>
            <p:cNvPr id="7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632678" y="2114550"/>
              <a:ext cx="615327" cy="603769"/>
            </a:xfrm>
            <a:prstGeom prst="rect">
              <a:avLst/>
            </a:prstGeom>
            <a:noFill/>
          </p:spPr>
        </p:pic>
        <p:pic>
          <p:nvPicPr>
            <p:cNvPr id="77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86200" y="3339581"/>
              <a:ext cx="615327" cy="603769"/>
            </a:xfrm>
            <a:prstGeom prst="rect">
              <a:avLst/>
            </a:prstGeom>
            <a:noFill/>
          </p:spPr>
        </p:pic>
        <p:pic>
          <p:nvPicPr>
            <p:cNvPr id="78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061678" y="2044181"/>
              <a:ext cx="615327" cy="603769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8694486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TU and VXLA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6331652" y="1657151"/>
            <a:ext cx="5424027" cy="4457700"/>
          </a:xfrm>
        </p:spPr>
        <p:txBody>
          <a:bodyPr/>
          <a:lstStyle/>
          <a:p>
            <a:r>
              <a:rPr lang="en-US" dirty="0" smtClean="0"/>
              <a:t>VXLAN adds 50 Bytes to the Original Ethernet Frame</a:t>
            </a:r>
          </a:p>
          <a:p>
            <a:r>
              <a:rPr lang="en-US" dirty="0" smtClean="0"/>
              <a:t>Avoid Fragmentation by adjusting the IP Networks MTU</a:t>
            </a:r>
          </a:p>
          <a:p>
            <a:r>
              <a:rPr lang="en-US" dirty="0" smtClean="0"/>
              <a:t>Data Centers often require Jumbo MTU; most Server NIC do support up to 9000 Bytes</a:t>
            </a:r>
          </a:p>
          <a:p>
            <a:r>
              <a:rPr lang="en-US" dirty="0" smtClean="0"/>
              <a:t>Using a MTU of 9216* Bytes accommodates VXLAN Overhead plus Server max. MT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29</a:t>
            </a:fld>
            <a:endParaRPr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819436" y="1588710"/>
            <a:ext cx="4600922" cy="4689651"/>
            <a:chOff x="215130" y="1191530"/>
            <a:chExt cx="3451590" cy="3517238"/>
          </a:xfrm>
        </p:grpSpPr>
        <p:grpSp>
          <p:nvGrpSpPr>
            <p:cNvPr id="22" name="Group 21"/>
            <p:cNvGrpSpPr>
              <a:grpSpLocks noChangeAspect="1"/>
            </p:cNvGrpSpPr>
            <p:nvPr/>
          </p:nvGrpSpPr>
          <p:grpSpPr>
            <a:xfrm>
              <a:off x="569001" y="1191530"/>
              <a:ext cx="3097719" cy="3515924"/>
              <a:chOff x="2217527" y="2917661"/>
              <a:chExt cx="1464638" cy="1662370"/>
            </a:xfrm>
          </p:grpSpPr>
          <p:grpSp>
            <p:nvGrpSpPr>
              <p:cNvPr id="23" name="Group 22"/>
              <p:cNvGrpSpPr/>
              <p:nvPr/>
            </p:nvGrpSpPr>
            <p:grpSpPr>
              <a:xfrm>
                <a:off x="2217527" y="2917661"/>
                <a:ext cx="1464638" cy="809744"/>
                <a:chOff x="2217527" y="2917661"/>
                <a:chExt cx="1464638" cy="809744"/>
              </a:xfrm>
            </p:grpSpPr>
            <p:sp>
              <p:nvSpPr>
                <p:cNvPr id="30" name="Rounded Rectangle 29"/>
                <p:cNvSpPr/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2217527" y="2917661"/>
                  <a:ext cx="1464638" cy="809744"/>
                </a:xfrm>
                <a:prstGeom prst="roundRect">
                  <a:avLst>
                    <a:gd name="adj" fmla="val 4036"/>
                  </a:avLst>
                </a:prstGeom>
                <a:solidFill>
                  <a:schemeClr val="bg1">
                    <a:lumMod val="85000"/>
                  </a:schemeClr>
                </a:solidFill>
                <a:ln w="3175" cmpd="sng">
                  <a:solidFill>
                    <a:schemeClr val="tx1"/>
                  </a:solidFill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</a:bodyPr>
                <a:lstStyle/>
                <a:p>
                  <a:pPr algn="ctr" defTabSz="1217111"/>
                  <a:endParaRPr lang="en-US" sz="5900" dirty="0">
                    <a:solidFill>
                      <a:srgbClr val="000000"/>
                    </a:solidFill>
                    <a:latin typeface="Arial"/>
                    <a:ea typeface="Apple LiGothic Medium"/>
                    <a:cs typeface="Cambria"/>
                    <a:sym typeface="Arial" pitchFamily="-107" charset="0"/>
                  </a:endParaRPr>
                </a:p>
              </p:txBody>
            </p:sp>
            <p:sp>
              <p:nvSpPr>
                <p:cNvPr id="31" name="TextBox 30"/>
                <p:cNvSpPr txBox="1"/>
                <p:nvPr/>
              </p:nvSpPr>
              <p:spPr>
                <a:xfrm rot="16200000">
                  <a:off x="3428477" y="3268632"/>
                  <a:ext cx="342882" cy="10780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1217366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pple LiGothic Medium"/>
                      <a:cs typeface="Apple LiGothic Medium"/>
                    </a:rPr>
                    <a:t>Underlay</a:t>
                  </a:r>
                </a:p>
              </p:txBody>
            </p:sp>
            <p:grpSp>
              <p:nvGrpSpPr>
                <p:cNvPr id="32" name="Group 31"/>
                <p:cNvGrpSpPr/>
                <p:nvPr/>
              </p:nvGrpSpPr>
              <p:grpSpPr>
                <a:xfrm>
                  <a:off x="2239463" y="2951231"/>
                  <a:ext cx="1316504" cy="742604"/>
                  <a:chOff x="2239463" y="2949648"/>
                  <a:chExt cx="1316504" cy="742604"/>
                </a:xfrm>
              </p:grpSpPr>
              <p:sp>
                <p:nvSpPr>
                  <p:cNvPr id="33" name="Rounded Rectangle 32"/>
                  <p:cNvSpPr/>
                  <p:nvPr>
                    <p:custDataLst>
                      <p:tags r:id="rId6"/>
                    </p:custDataLst>
                  </p:nvPr>
                </p:nvSpPr>
                <p:spPr bwMode="auto">
                  <a:xfrm>
                    <a:off x="2239463" y="3252370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4783">
                      <a:spcBef>
                        <a:spcPts val="800"/>
                      </a:spcBef>
                    </a:pPr>
                    <a:r>
                      <a:rPr lang="en-US" sz="1500" dirty="0">
                        <a:solidFill>
                          <a:srgbClr val="000000"/>
                        </a:solidFill>
                        <a:latin typeface="Arial"/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Outer IP Header</a:t>
                    </a:r>
                  </a:p>
                </p:txBody>
              </p:sp>
              <p:sp>
                <p:nvSpPr>
                  <p:cNvPr id="34" name="Rounded Rectangle 33"/>
                  <p:cNvSpPr/>
                  <p:nvPr>
                    <p:custDataLst>
                      <p:tags r:id="rId7"/>
                    </p:custDataLst>
                  </p:nvPr>
                </p:nvSpPr>
                <p:spPr bwMode="auto">
                  <a:xfrm>
                    <a:off x="2239463" y="2949648"/>
                    <a:ext cx="1311320" cy="27432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dk1"/>
                  </a:lnRef>
                  <a:fillRef idx="2">
                    <a:schemeClr val="dk1"/>
                  </a:fillRef>
                  <a:effectRef idx="1">
                    <a:schemeClr val="dk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4783">
                      <a:spcBef>
                        <a:spcPts val="800"/>
                      </a:spcBef>
                    </a:pPr>
                    <a:r>
                      <a:rPr lang="en-US" sz="1500" dirty="0">
                        <a:solidFill>
                          <a:srgbClr val="000000"/>
                        </a:solidFill>
                        <a:latin typeface="Arial"/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Outer MAC Header</a:t>
                    </a:r>
                  </a:p>
                </p:txBody>
              </p:sp>
              <p:sp>
                <p:nvSpPr>
                  <p:cNvPr id="35" name="Rounded Rectangle 34"/>
                  <p:cNvSpPr/>
                  <p:nvPr>
                    <p:custDataLst>
                      <p:tags r:id="rId8"/>
                    </p:custDataLst>
                  </p:nvPr>
                </p:nvSpPr>
                <p:spPr bwMode="auto">
                  <a:xfrm>
                    <a:off x="2244647" y="3555092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2"/>
                  </a:lnRef>
                  <a:fillRef idx="2">
                    <a:schemeClr val="accent2"/>
                  </a:fillRef>
                  <a:effectRef idx="1">
                    <a:schemeClr val="accent2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4783"/>
                    <a:r>
                      <a:rPr lang="en-US" sz="1500" dirty="0">
                        <a:solidFill>
                          <a:srgbClr val="000000"/>
                        </a:solidFill>
                        <a:latin typeface="Arial"/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UDP Header</a:t>
                    </a:r>
                  </a:p>
                </p:txBody>
              </p:sp>
            </p:grpSp>
          </p:grpSp>
          <p:grpSp>
            <p:nvGrpSpPr>
              <p:cNvPr id="24" name="Group 23"/>
              <p:cNvGrpSpPr/>
              <p:nvPr/>
            </p:nvGrpSpPr>
            <p:grpSpPr>
              <a:xfrm>
                <a:off x="2217527" y="3746193"/>
                <a:ext cx="1464638" cy="833838"/>
                <a:chOff x="2217527" y="3746193"/>
                <a:chExt cx="1464638" cy="833838"/>
              </a:xfrm>
            </p:grpSpPr>
            <p:sp>
              <p:nvSpPr>
                <p:cNvPr id="25" name="Rounded Rectangle 24"/>
                <p:cNvSpPr/>
                <p:nvPr>
                  <p:custDataLst>
                    <p:tags r:id="rId2"/>
                  </p:custDataLst>
                </p:nvPr>
              </p:nvSpPr>
              <p:spPr bwMode="auto">
                <a:xfrm>
                  <a:off x="2217527" y="3746193"/>
                  <a:ext cx="1464638" cy="833838"/>
                </a:xfrm>
                <a:prstGeom prst="roundRect">
                  <a:avLst>
                    <a:gd name="adj" fmla="val 4036"/>
                  </a:avLst>
                </a:prstGeom>
                <a:ln>
                  <a:headEnd type="none" w="med" len="med"/>
                  <a:tailEnd type="none" w="med" len="med"/>
                </a:ln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 lIns="91440" tIns="0" rIns="91440" bIns="0" rtlCol="0" anchor="ctr"/>
                <a:lstStyle/>
                <a:p>
                  <a:pPr defTabSz="684783"/>
                  <a:endParaRPr lang="en-US" sz="1600" dirty="0">
                    <a:solidFill>
                      <a:srgbClr val="000000"/>
                    </a:solidFill>
                    <a:latin typeface="Arial"/>
                    <a:ea typeface="Arial" pitchFamily="-107" charset="0"/>
                    <a:cs typeface="Arial" pitchFamily="-107" charset="0"/>
                    <a:sym typeface="Arial" pitchFamily="-107" charset="0"/>
                  </a:endParaRPr>
                </a:p>
              </p:txBody>
            </p:sp>
            <p:grpSp>
              <p:nvGrpSpPr>
                <p:cNvPr id="26" name="Group 25"/>
                <p:cNvGrpSpPr/>
                <p:nvPr/>
              </p:nvGrpSpPr>
              <p:grpSpPr>
                <a:xfrm>
                  <a:off x="2244647" y="3782652"/>
                  <a:ext cx="1311320" cy="761049"/>
                  <a:chOff x="2244647" y="3787538"/>
                  <a:chExt cx="1311320" cy="761049"/>
                </a:xfrm>
              </p:grpSpPr>
              <p:sp>
                <p:nvSpPr>
                  <p:cNvPr id="28" name="Rounded Rectangle 27"/>
                  <p:cNvSpPr/>
                  <p:nvPr>
                    <p:custDataLst>
                      <p:tags r:id="rId3"/>
                    </p:custDataLst>
                  </p:nvPr>
                </p:nvSpPr>
                <p:spPr bwMode="auto">
                  <a:xfrm>
                    <a:off x="2244647" y="3787538"/>
                    <a:ext cx="1311320" cy="137160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4"/>
                  </a:lnRef>
                  <a:fillRef idx="2">
                    <a:schemeClr val="accent4"/>
                  </a:fillRef>
                  <a:effectRef idx="1">
                    <a:schemeClr val="accent4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4783"/>
                    <a:r>
                      <a:rPr lang="en-US" sz="1500" dirty="0">
                        <a:solidFill>
                          <a:srgbClr val="000000"/>
                        </a:solidFill>
                        <a:latin typeface="Arial"/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VXLAN Header</a:t>
                    </a:r>
                  </a:p>
                </p:txBody>
              </p:sp>
              <p:sp>
                <p:nvSpPr>
                  <p:cNvPr id="29" name="Rounded Rectangle 28"/>
                  <p:cNvSpPr/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2244647" y="3962258"/>
                    <a:ext cx="1311320" cy="586329"/>
                  </a:xfrm>
                  <a:prstGeom prst="roundRect">
                    <a:avLst>
                      <a:gd name="adj" fmla="val 4036"/>
                    </a:avLst>
                  </a:prstGeom>
                  <a:ln>
                    <a:headEnd type="none" w="med" len="med"/>
                    <a:tailEnd type="none" w="med" len="med"/>
                  </a:ln>
                </p:spPr>
                <p:style>
                  <a:lnRef idx="1">
                    <a:schemeClr val="accent1"/>
                  </a:lnRef>
                  <a:fillRef idx="2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dk1"/>
                  </a:fontRef>
                </p:style>
                <p:txBody>
                  <a:bodyPr lIns="91440" tIns="0" rIns="91440" bIns="0" rtlCol="0" anchor="ctr"/>
                  <a:lstStyle/>
                  <a:p>
                    <a:pPr algn="ctr" defTabSz="684783">
                      <a:spcBef>
                        <a:spcPts val="800"/>
                      </a:spcBef>
                    </a:pPr>
                    <a:r>
                      <a:rPr lang="en-US" sz="1500" dirty="0">
                        <a:solidFill>
                          <a:srgbClr val="000000"/>
                        </a:solidFill>
                        <a:latin typeface="Arial"/>
                        <a:ea typeface="Arial" pitchFamily="-107" charset="0"/>
                        <a:cs typeface="Arial" pitchFamily="-107" charset="0"/>
                        <a:sym typeface="Arial" pitchFamily="-107" charset="0"/>
                      </a:rPr>
                      <a:t>Original Layer-2 Frame</a:t>
                    </a:r>
                  </a:p>
                </p:txBody>
              </p:sp>
            </p:grpSp>
            <p:sp>
              <p:nvSpPr>
                <p:cNvPr id="27" name="TextBox 26"/>
                <p:cNvSpPr txBox="1"/>
                <p:nvPr/>
              </p:nvSpPr>
              <p:spPr>
                <a:xfrm rot="16200000">
                  <a:off x="3448942" y="4109211"/>
                  <a:ext cx="301955" cy="10780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 defTabSz="1217366">
                    <a:lnSpc>
                      <a:spcPct val="90000"/>
                    </a:lnSpc>
                    <a:spcBef>
                      <a:spcPts val="800"/>
                    </a:spcBef>
                  </a:pPr>
                  <a:r>
                    <a:rPr lang="en-US" sz="1500" dirty="0">
                      <a:solidFill>
                        <a:srgbClr val="000000"/>
                      </a:solidFill>
                      <a:latin typeface="Arial"/>
                      <a:ea typeface="Apple LiGothic Medium"/>
                      <a:cs typeface="Apple LiGothic Medium"/>
                    </a:rPr>
                    <a:t>Overlay</a:t>
                  </a:r>
                </a:p>
              </p:txBody>
            </p:sp>
          </p:grpSp>
        </p:grpSp>
        <p:sp>
          <p:nvSpPr>
            <p:cNvPr id="36" name="Rounded Rectangle 35"/>
            <p:cNvSpPr/>
            <p:nvPr>
              <p:custDataLst>
                <p:tags r:id="rId1"/>
              </p:custDataLst>
            </p:nvPr>
          </p:nvSpPr>
          <p:spPr bwMode="auto">
            <a:xfrm rot="16200000">
              <a:off x="-1397028" y="2804003"/>
              <a:ext cx="3516923" cy="292608"/>
            </a:xfrm>
            <a:prstGeom prst="roundRect">
              <a:avLst>
                <a:gd name="adj" fmla="val 4036"/>
              </a:avLst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91440" tIns="0" rIns="91440" bIns="0" rtlCol="0" anchor="ctr"/>
            <a:lstStyle/>
            <a:p>
              <a:pPr algn="ctr" defTabSz="684783">
                <a:spcBef>
                  <a:spcPts val="800"/>
                </a:spcBef>
              </a:pPr>
              <a:r>
                <a:rPr lang="en-US" sz="1500" dirty="0">
                  <a:solidFill>
                    <a:srgbClr val="000000"/>
                  </a:solidFill>
                  <a:latin typeface="Arial"/>
                  <a:ea typeface="Arial" pitchFamily="-107" charset="0"/>
                  <a:cs typeface="Arial" pitchFamily="-107" charset="0"/>
                  <a:sym typeface="Arial" pitchFamily="-107" charset="0"/>
                </a:rPr>
                <a:t>50 (54) Bytes of Overhead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331652" y="5822463"/>
            <a:ext cx="5391433" cy="292388"/>
          </a:xfrm>
          <a:prstGeom prst="rect">
            <a:avLst/>
          </a:prstGeom>
          <a:noFill/>
        </p:spPr>
        <p:txBody>
          <a:bodyPr wrap="none" lIns="121728" tIns="60864" rIns="121728" bIns="60864" rtlCol="0">
            <a:spAutoFit/>
          </a:bodyPr>
          <a:lstStyle/>
          <a:p>
            <a:pPr defTabSz="1217366">
              <a:lnSpc>
                <a:spcPct val="90000"/>
              </a:lnSpc>
              <a:spcBef>
                <a:spcPts val="800"/>
              </a:spcBef>
            </a:pPr>
            <a:r>
              <a:rPr lang="en-US" sz="1200" dirty="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*Cisco Nexus 5600/6000 switches only support 9192 Byte for Layer-3 Traffic</a:t>
            </a:r>
          </a:p>
        </p:txBody>
      </p:sp>
      <p:sp>
        <p:nvSpPr>
          <p:cNvPr id="39" name="Rectangle 38"/>
          <p:cNvSpPr/>
          <p:nvPr/>
        </p:nvSpPr>
        <p:spPr bwMode="auto">
          <a:xfrm rot="21280186">
            <a:off x="7177453" y="1080564"/>
            <a:ext cx="3732425" cy="427367"/>
          </a:xfrm>
          <a:prstGeom prst="rect">
            <a:avLst/>
          </a:prstGeom>
          <a:noFill/>
          <a:ln w="12700" cap="flat">
            <a:solidFill>
              <a:srgbClr val="FF0000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4783"/>
            <a:r>
              <a:rPr lang="en-US" sz="2100" b="1" dirty="0">
                <a:ln w="12700" cmpd="sng">
                  <a:solidFill>
                    <a:srgbClr val="E44132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"/>
                <a:ea typeface="Arial" pitchFamily="-107" charset="0"/>
                <a:cs typeface="Arial" pitchFamily="-107" charset="0"/>
                <a:sym typeface="Arial" pitchFamily="-107" charset="0"/>
              </a:rPr>
              <a:t>No Fragmentation Needed</a:t>
            </a:r>
          </a:p>
        </p:txBody>
      </p:sp>
    </p:spTree>
    <p:extLst>
      <p:ext uri="{BB962C8B-B14F-4D97-AF65-F5344CB8AC3E}">
        <p14:creationId xmlns:p14="http://schemas.microsoft.com/office/powerpoint/2010/main" val="213733518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 decel="100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8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8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800" decel="100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20624" y="488046"/>
            <a:ext cx="11350752" cy="5470793"/>
          </a:xfrm>
        </p:spPr>
        <p:txBody>
          <a:bodyPr/>
          <a:lstStyle/>
          <a:p>
            <a:pPr marL="2380" indent="0">
              <a:buNone/>
            </a:pPr>
            <a:r>
              <a:rPr lang="en-US" sz="4800" dirty="0"/>
              <a:t>VXLAN provides a Network with  Segmentation, IP Mobility, and </a:t>
            </a:r>
            <a:r>
              <a:rPr lang="en-US" sz="4800" dirty="0" smtClean="0"/>
              <a:t>Scale</a:t>
            </a:r>
          </a:p>
          <a:p>
            <a:pPr marL="2380" indent="0">
              <a:buNone/>
            </a:pPr>
            <a:endParaRPr lang="en-US" sz="1900" dirty="0"/>
          </a:p>
          <a:p>
            <a:r>
              <a:rPr lang="en-US" sz="2800" dirty="0" smtClean="0"/>
              <a:t>“</a:t>
            </a:r>
            <a:r>
              <a:rPr lang="en-US" sz="2800" dirty="0"/>
              <a:t>Standards” based </a:t>
            </a:r>
            <a:r>
              <a:rPr lang="en-US" sz="2800" dirty="0" smtClean="0"/>
              <a:t>overlay</a:t>
            </a:r>
            <a:endParaRPr lang="en-US" sz="2800" dirty="0"/>
          </a:p>
          <a:p>
            <a:r>
              <a:rPr lang="en-US" sz="2800" dirty="0"/>
              <a:t>Leverages Layer-3 ECMP </a:t>
            </a:r>
            <a:r>
              <a:rPr lang="en-US" sz="2800" dirty="0" smtClean="0"/>
              <a:t>with all </a:t>
            </a:r>
            <a:r>
              <a:rPr lang="en-US" sz="2800" dirty="0"/>
              <a:t>links forwarding</a:t>
            </a:r>
          </a:p>
          <a:p>
            <a:r>
              <a:rPr lang="en-US" sz="2800" dirty="0"/>
              <a:t>Increased </a:t>
            </a:r>
            <a:r>
              <a:rPr lang="en-US" sz="2800" dirty="0" smtClean="0"/>
              <a:t>name space from 4K to 16M Layer-2 identifiers</a:t>
            </a:r>
          </a:p>
          <a:p>
            <a:r>
              <a:rPr lang="en-US" sz="2800" dirty="0" smtClean="0"/>
              <a:t>Segmentation and multi-tenancy</a:t>
            </a:r>
            <a:endParaRPr lang="en-US" sz="2800" dirty="0"/>
          </a:p>
          <a:p>
            <a:r>
              <a:rPr lang="en-US" sz="2800" dirty="0"/>
              <a:t>Integration of </a:t>
            </a:r>
            <a:r>
              <a:rPr lang="en-US" sz="2800" dirty="0" smtClean="0"/>
              <a:t>physical </a:t>
            </a:r>
            <a:r>
              <a:rPr lang="en-US" sz="2800" dirty="0"/>
              <a:t>and </a:t>
            </a:r>
            <a:r>
              <a:rPr lang="en-US" sz="2800" dirty="0" smtClean="0"/>
              <a:t>virtual</a:t>
            </a:r>
            <a:endParaRPr lang="en-US" sz="2800" dirty="0"/>
          </a:p>
          <a:p>
            <a:r>
              <a:rPr lang="en-US" sz="2800" dirty="0"/>
              <a:t>It’s </a:t>
            </a:r>
            <a:r>
              <a:rPr lang="en-US" sz="2800" dirty="0" smtClean="0"/>
              <a:t>SDN: centralized controller separate from data plane</a:t>
            </a:r>
            <a:endParaRPr lang="en-US" sz="2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7466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your IP Network – Interface Princi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Know your IP addressing and IP scale requirements</a:t>
            </a:r>
          </a:p>
          <a:p>
            <a:pPr lvl="1"/>
            <a:r>
              <a:rPr lang="en-US" dirty="0" smtClean="0"/>
              <a:t>Best to use single aggregate for all </a:t>
            </a:r>
            <a:r>
              <a:rPr lang="en-US" dirty="0"/>
              <a:t>u</a:t>
            </a:r>
            <a:r>
              <a:rPr lang="en-US" dirty="0" smtClean="0"/>
              <a:t>nderlay </a:t>
            </a:r>
            <a:r>
              <a:rPr lang="en-US" dirty="0"/>
              <a:t>Links and </a:t>
            </a:r>
            <a:r>
              <a:rPr lang="en-US" dirty="0" smtClean="0"/>
              <a:t>Loopbacks</a:t>
            </a:r>
          </a:p>
          <a:p>
            <a:pPr lvl="1"/>
            <a:r>
              <a:rPr lang="en-US" dirty="0" smtClean="0"/>
              <a:t>IPv4 only</a:t>
            </a:r>
          </a:p>
          <a:p>
            <a:pPr lvl="1"/>
            <a:r>
              <a:rPr lang="en-US" dirty="0"/>
              <a:t>For each Point-2-</a:t>
            </a:r>
            <a:r>
              <a:rPr lang="en-US" dirty="0" smtClean="0"/>
              <a:t>Point (P2P) </a:t>
            </a:r>
            <a:r>
              <a:rPr lang="en-US" dirty="0"/>
              <a:t>connection, minimum /31 required</a:t>
            </a:r>
          </a:p>
          <a:p>
            <a:pPr lvl="1"/>
            <a:r>
              <a:rPr lang="en-US" dirty="0" smtClean="0"/>
              <a:t>Loopback requires /32</a:t>
            </a:r>
            <a:endParaRPr lang="en-US" dirty="0"/>
          </a:p>
          <a:p>
            <a:r>
              <a:rPr lang="en-US" dirty="0"/>
              <a:t>Routed </a:t>
            </a:r>
            <a:r>
              <a:rPr lang="en-US" dirty="0" smtClean="0"/>
              <a:t>Ports/Interfaces</a:t>
            </a:r>
            <a:endParaRPr lang="en-US" dirty="0"/>
          </a:p>
          <a:p>
            <a:pPr lvl="1"/>
            <a:r>
              <a:rPr lang="en-US" dirty="0" smtClean="0"/>
              <a:t>Layer-3 Interfaces </a:t>
            </a:r>
            <a:r>
              <a:rPr lang="en-US" dirty="0"/>
              <a:t>between Spine and Leaf </a:t>
            </a:r>
            <a:r>
              <a:rPr lang="en-US" dirty="0" smtClean="0"/>
              <a:t>(</a:t>
            </a:r>
            <a:r>
              <a:rPr lang="en-US" dirty="0"/>
              <a:t>no </a:t>
            </a:r>
            <a:r>
              <a:rPr lang="en-US" dirty="0" err="1"/>
              <a:t>switchport</a:t>
            </a:r>
            <a:r>
              <a:rPr lang="en-US" dirty="0"/>
              <a:t>)</a:t>
            </a:r>
          </a:p>
          <a:p>
            <a:r>
              <a:rPr lang="en-US" dirty="0" smtClean="0"/>
              <a:t>VTEP uses Loopback as Source-Interface</a:t>
            </a:r>
            <a:endParaRPr lang="en-US" dirty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0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5462192" y="1706789"/>
            <a:ext cx="6293486" cy="4267200"/>
            <a:chOff x="4096520" y="1280092"/>
            <a:chExt cx="4721344" cy="3200400"/>
          </a:xfrm>
        </p:grpSpPr>
        <p:grpSp>
          <p:nvGrpSpPr>
            <p:cNvPr id="69" name="Group 68"/>
            <p:cNvGrpSpPr/>
            <p:nvPr/>
          </p:nvGrpSpPr>
          <p:grpSpPr>
            <a:xfrm>
              <a:off x="4096520" y="1280092"/>
              <a:ext cx="4721344" cy="3200400"/>
              <a:chOff x="4096520" y="1280092"/>
              <a:chExt cx="4721344" cy="3200400"/>
            </a:xfrm>
          </p:grpSpPr>
          <p:sp>
            <p:nvSpPr>
              <p:cNvPr id="8" name="Freeform 6"/>
              <p:cNvSpPr>
                <a:spLocks noChangeAspect="1"/>
              </p:cNvSpPr>
              <p:nvPr/>
            </p:nvSpPr>
            <p:spPr bwMode="auto">
              <a:xfrm>
                <a:off x="4096520" y="1280092"/>
                <a:ext cx="4721344" cy="2743200"/>
              </a:xfrm>
              <a:custGeom>
                <a:avLst/>
                <a:gdLst>
                  <a:gd name="T0" fmla="*/ 2096 w 2396"/>
                  <a:gd name="T1" fmla="*/ 792 h 1392"/>
                  <a:gd name="T2" fmla="*/ 2093 w 2396"/>
                  <a:gd name="T3" fmla="*/ 792 h 1392"/>
                  <a:gd name="T4" fmla="*/ 2096 w 2396"/>
                  <a:gd name="T5" fmla="*/ 759 h 1392"/>
                  <a:gd name="T6" fmla="*/ 1904 w 2396"/>
                  <a:gd name="T7" fmla="*/ 570 h 1392"/>
                  <a:gd name="T8" fmla="*/ 1868 w 2396"/>
                  <a:gd name="T9" fmla="*/ 573 h 1392"/>
                  <a:gd name="T10" fmla="*/ 1886 w 2396"/>
                  <a:gd name="T11" fmla="*/ 459 h 1392"/>
                  <a:gd name="T12" fmla="*/ 1370 w 2396"/>
                  <a:gd name="T13" fmla="*/ 0 h 1392"/>
                  <a:gd name="T14" fmla="*/ 864 w 2396"/>
                  <a:gd name="T15" fmla="*/ 372 h 1392"/>
                  <a:gd name="T16" fmla="*/ 687 w 2396"/>
                  <a:gd name="T17" fmla="*/ 306 h 1392"/>
                  <a:gd name="T18" fmla="*/ 414 w 2396"/>
                  <a:gd name="T19" fmla="*/ 582 h 1392"/>
                  <a:gd name="T20" fmla="*/ 414 w 2396"/>
                  <a:gd name="T21" fmla="*/ 597 h 1392"/>
                  <a:gd name="T22" fmla="*/ 399 w 2396"/>
                  <a:gd name="T23" fmla="*/ 594 h 1392"/>
                  <a:gd name="T24" fmla="*/ 0 w 2396"/>
                  <a:gd name="T25" fmla="*/ 993 h 1392"/>
                  <a:gd name="T26" fmla="*/ 399 w 2396"/>
                  <a:gd name="T27" fmla="*/ 1392 h 1392"/>
                  <a:gd name="T28" fmla="*/ 2096 w 2396"/>
                  <a:gd name="T29" fmla="*/ 1392 h 1392"/>
                  <a:gd name="T30" fmla="*/ 2396 w 2396"/>
                  <a:gd name="T31" fmla="*/ 1092 h 1392"/>
                  <a:gd name="T32" fmla="*/ 2096 w 2396"/>
                  <a:gd name="T33" fmla="*/ 792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96" h="1392">
                    <a:moveTo>
                      <a:pt x="2096" y="792"/>
                    </a:moveTo>
                    <a:cubicBezTo>
                      <a:pt x="2093" y="792"/>
                      <a:pt x="2093" y="792"/>
                      <a:pt x="2093" y="792"/>
                    </a:cubicBezTo>
                    <a:cubicBezTo>
                      <a:pt x="2093" y="780"/>
                      <a:pt x="2096" y="771"/>
                      <a:pt x="2096" y="759"/>
                    </a:cubicBezTo>
                    <a:cubicBezTo>
                      <a:pt x="2096" y="654"/>
                      <a:pt x="2009" y="570"/>
                      <a:pt x="1904" y="570"/>
                    </a:cubicBezTo>
                    <a:cubicBezTo>
                      <a:pt x="1892" y="570"/>
                      <a:pt x="1880" y="570"/>
                      <a:pt x="1868" y="573"/>
                    </a:cubicBezTo>
                    <a:cubicBezTo>
                      <a:pt x="1880" y="537"/>
                      <a:pt x="1886" y="498"/>
                      <a:pt x="1886" y="459"/>
                    </a:cubicBezTo>
                    <a:cubicBezTo>
                      <a:pt x="1886" y="207"/>
                      <a:pt x="1655" y="0"/>
                      <a:pt x="1370" y="0"/>
                    </a:cubicBezTo>
                    <a:cubicBezTo>
                      <a:pt x="1118" y="0"/>
                      <a:pt x="912" y="159"/>
                      <a:pt x="864" y="372"/>
                    </a:cubicBezTo>
                    <a:cubicBezTo>
                      <a:pt x="816" y="330"/>
                      <a:pt x="756" y="306"/>
                      <a:pt x="687" y="306"/>
                    </a:cubicBezTo>
                    <a:cubicBezTo>
                      <a:pt x="537" y="306"/>
                      <a:pt x="414" y="429"/>
                      <a:pt x="414" y="582"/>
                    </a:cubicBezTo>
                    <a:cubicBezTo>
                      <a:pt x="414" y="585"/>
                      <a:pt x="414" y="591"/>
                      <a:pt x="414" y="597"/>
                    </a:cubicBezTo>
                    <a:cubicBezTo>
                      <a:pt x="399" y="594"/>
                      <a:pt x="399" y="594"/>
                      <a:pt x="399" y="594"/>
                    </a:cubicBezTo>
                    <a:cubicBezTo>
                      <a:pt x="177" y="594"/>
                      <a:pt x="0" y="771"/>
                      <a:pt x="0" y="993"/>
                    </a:cubicBezTo>
                    <a:cubicBezTo>
                      <a:pt x="0" y="1212"/>
                      <a:pt x="177" y="1392"/>
                      <a:pt x="399" y="1392"/>
                    </a:cubicBezTo>
                    <a:cubicBezTo>
                      <a:pt x="2096" y="1392"/>
                      <a:pt x="2096" y="1392"/>
                      <a:pt x="2096" y="1392"/>
                    </a:cubicBezTo>
                    <a:cubicBezTo>
                      <a:pt x="2261" y="1392"/>
                      <a:pt x="2396" y="1257"/>
                      <a:pt x="2396" y="1092"/>
                    </a:cubicBezTo>
                    <a:cubicBezTo>
                      <a:pt x="2396" y="927"/>
                      <a:pt x="2261" y="792"/>
                      <a:pt x="2096" y="79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3175" cmpd="sng">
                <a:solidFill>
                  <a:schemeClr val="tx1"/>
                </a:solidFill>
              </a:ln>
              <a:scene3d>
                <a:camera prst="isometricTopUp"/>
                <a:lightRig rig="threePt" dir="t"/>
              </a:scene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</p:txBody>
          </p:sp>
          <p:grpSp>
            <p:nvGrpSpPr>
              <p:cNvPr id="68" name="Group 67"/>
              <p:cNvGrpSpPr/>
              <p:nvPr/>
            </p:nvGrpSpPr>
            <p:grpSpPr>
              <a:xfrm>
                <a:off x="4517870" y="1965892"/>
                <a:ext cx="4044327" cy="2514600"/>
                <a:chOff x="4517870" y="1965892"/>
                <a:chExt cx="4044327" cy="2514600"/>
              </a:xfrm>
            </p:grpSpPr>
            <p:cxnSp>
              <p:nvCxnSpPr>
                <p:cNvPr id="9" name="Straight Connector 8"/>
                <p:cNvCxnSpPr>
                  <a:stCxn id="75" idx="5"/>
                  <a:endCxn id="107" idx="5"/>
                </p:cNvCxnSpPr>
                <p:nvPr/>
              </p:nvCxnSpPr>
              <p:spPr bwMode="auto">
                <a:xfrm flipV="1">
                  <a:off x="5081567" y="2411914"/>
                  <a:ext cx="868935" cy="439085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" name="Straight Connector 9"/>
                <p:cNvCxnSpPr>
                  <a:stCxn id="79" idx="2"/>
                  <a:endCxn id="106" idx="6"/>
                </p:cNvCxnSpPr>
                <p:nvPr/>
              </p:nvCxnSpPr>
              <p:spPr bwMode="auto">
                <a:xfrm flipV="1">
                  <a:off x="5954019" y="2425305"/>
                  <a:ext cx="115340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" name="Straight Connector 10"/>
                <p:cNvCxnSpPr>
                  <a:stCxn id="108" idx="7"/>
                  <a:endCxn id="84" idx="2"/>
                </p:cNvCxnSpPr>
                <p:nvPr/>
              </p:nvCxnSpPr>
              <p:spPr bwMode="auto">
                <a:xfrm>
                  <a:off x="6188215" y="2411914"/>
                  <a:ext cx="1801730" cy="588599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" name="Straight Connector 11"/>
                <p:cNvCxnSpPr>
                  <a:stCxn id="74" idx="6"/>
                  <a:endCxn id="112" idx="5"/>
                </p:cNvCxnSpPr>
                <p:nvPr/>
              </p:nvCxnSpPr>
              <p:spPr bwMode="auto">
                <a:xfrm flipV="1">
                  <a:off x="5094958" y="2411914"/>
                  <a:ext cx="1336095" cy="49328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" name="Straight Connector 12"/>
                <p:cNvCxnSpPr>
                  <a:stCxn id="72" idx="6"/>
                  <a:endCxn id="116" idx="5"/>
                </p:cNvCxnSpPr>
                <p:nvPr/>
              </p:nvCxnSpPr>
              <p:spPr bwMode="auto">
                <a:xfrm flipV="1">
                  <a:off x="5094958" y="2411914"/>
                  <a:ext cx="1820907" cy="579810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" name="Straight Connector 13"/>
                <p:cNvCxnSpPr>
                  <a:stCxn id="73" idx="6"/>
                  <a:endCxn id="120" idx="5"/>
                </p:cNvCxnSpPr>
                <p:nvPr/>
              </p:nvCxnSpPr>
              <p:spPr bwMode="auto">
                <a:xfrm flipV="1">
                  <a:off x="5094958" y="2411914"/>
                  <a:ext cx="2305720" cy="666338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Straight Connector 14"/>
                <p:cNvCxnSpPr>
                  <a:stCxn id="78" idx="2"/>
                  <a:endCxn id="111" idx="6"/>
                </p:cNvCxnSpPr>
                <p:nvPr/>
              </p:nvCxnSpPr>
              <p:spPr bwMode="auto">
                <a:xfrm flipV="1">
                  <a:off x="6040547" y="2425305"/>
                  <a:ext cx="509363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" name="Straight Connector 15"/>
                <p:cNvCxnSpPr>
                  <a:stCxn id="80" idx="2"/>
                  <a:endCxn id="115" idx="6"/>
                </p:cNvCxnSpPr>
                <p:nvPr/>
              </p:nvCxnSpPr>
              <p:spPr bwMode="auto">
                <a:xfrm flipV="1">
                  <a:off x="6127074" y="2425305"/>
                  <a:ext cx="907648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Straight Connector 16"/>
                <p:cNvCxnSpPr>
                  <a:stCxn id="81" idx="2"/>
                  <a:endCxn id="119" idx="6"/>
                </p:cNvCxnSpPr>
                <p:nvPr/>
              </p:nvCxnSpPr>
              <p:spPr bwMode="auto">
                <a:xfrm flipV="1">
                  <a:off x="6213601" y="2425305"/>
                  <a:ext cx="1305934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Straight Connector 17"/>
                <p:cNvCxnSpPr>
                  <a:stCxn id="113" idx="7"/>
                  <a:endCxn id="83" idx="2"/>
                </p:cNvCxnSpPr>
                <p:nvPr/>
              </p:nvCxnSpPr>
              <p:spPr bwMode="auto">
                <a:xfrm>
                  <a:off x="6668766" y="2411914"/>
                  <a:ext cx="1321179" cy="502071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Straight Connector 18"/>
                <p:cNvCxnSpPr>
                  <a:stCxn id="117" idx="7"/>
                  <a:endCxn id="85" idx="2"/>
                </p:cNvCxnSpPr>
                <p:nvPr/>
              </p:nvCxnSpPr>
              <p:spPr bwMode="auto">
                <a:xfrm>
                  <a:off x="7153578" y="2411914"/>
                  <a:ext cx="836367" cy="415544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Straight Connector 19"/>
                <p:cNvCxnSpPr>
                  <a:stCxn id="121" idx="7"/>
                  <a:endCxn id="86" idx="2"/>
                </p:cNvCxnSpPr>
                <p:nvPr/>
              </p:nvCxnSpPr>
              <p:spPr bwMode="auto">
                <a:xfrm>
                  <a:off x="7638391" y="2411914"/>
                  <a:ext cx="351554" cy="329017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2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3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71392" y="3876723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4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7946870" y="2581323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21" name="Group 20"/>
                <p:cNvGrpSpPr/>
                <p:nvPr/>
              </p:nvGrpSpPr>
              <p:grpSpPr>
                <a:xfrm>
                  <a:off x="5847592" y="1965892"/>
                  <a:ext cx="1892694" cy="436538"/>
                  <a:chOff x="3581400" y="2152650"/>
                  <a:chExt cx="1892694" cy="436538"/>
                </a:xfrm>
              </p:grpSpPr>
              <p:pic>
                <p:nvPicPr>
                  <p:cNvPr id="25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814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6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40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466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292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8099085" y="2727759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57" name="Hexagon 5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2</a:t>
                    </a: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0" name="Hexagon 59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1</a:t>
                    </a:r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25003" y="4051536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3" name="Hexagon 62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3</a:t>
                    </a:r>
                  </a:p>
                </p:txBody>
              </p:sp>
            </p:grpSp>
          </p:grpSp>
        </p:grpSp>
        <p:grpSp>
          <p:nvGrpSpPr>
            <p:cNvPr id="76" name="Group 75"/>
            <p:cNvGrpSpPr/>
            <p:nvPr/>
          </p:nvGrpSpPr>
          <p:grpSpPr>
            <a:xfrm>
              <a:off x="5003518" y="2772950"/>
              <a:ext cx="91440" cy="351022"/>
              <a:chOff x="5003518" y="2858190"/>
              <a:chExt cx="91440" cy="351022"/>
            </a:xfrm>
          </p:grpSpPr>
          <p:sp>
            <p:nvSpPr>
              <p:cNvPr id="72" name="Oval 71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3" name="Oval 72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4" name="Oval 73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5" name="Oval 74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 rot="5400000">
              <a:off x="6038090" y="3713787"/>
              <a:ext cx="91440" cy="351022"/>
              <a:chOff x="5003518" y="2858190"/>
              <a:chExt cx="91440" cy="351022"/>
            </a:xfrm>
          </p:grpSpPr>
          <p:sp>
            <p:nvSpPr>
              <p:cNvPr id="78" name="Oval 77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9" name="Oval 78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0" name="Oval 79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1" name="Oval 80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7989945" y="2695211"/>
              <a:ext cx="91440" cy="351022"/>
              <a:chOff x="5003518" y="2858190"/>
              <a:chExt cx="91440" cy="351022"/>
            </a:xfrm>
          </p:grpSpPr>
          <p:sp>
            <p:nvSpPr>
              <p:cNvPr id="83" name="Oval 82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4" name="Oval 83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5" name="Oval 84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5400000">
              <a:off x="6023638" y="2247337"/>
              <a:ext cx="91440" cy="264495"/>
              <a:chOff x="5003518" y="2944717"/>
              <a:chExt cx="91440" cy="264495"/>
            </a:xfrm>
          </p:grpSpPr>
          <p:sp>
            <p:nvSpPr>
              <p:cNvPr id="106" name="Oval 105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7" name="Oval 106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8" name="Oval 107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5400000">
              <a:off x="6504189" y="2247337"/>
              <a:ext cx="91440" cy="264495"/>
              <a:chOff x="5003518" y="2944717"/>
              <a:chExt cx="91440" cy="264495"/>
            </a:xfrm>
          </p:grpSpPr>
          <p:sp>
            <p:nvSpPr>
              <p:cNvPr id="111" name="Oval 110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2" name="Oval 111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3" name="Oval 112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rot="5400000">
              <a:off x="6989001" y="2247337"/>
              <a:ext cx="91440" cy="264495"/>
              <a:chOff x="5003518" y="2944717"/>
              <a:chExt cx="91440" cy="264495"/>
            </a:xfrm>
          </p:grpSpPr>
          <p:sp>
            <p:nvSpPr>
              <p:cNvPr id="115" name="Oval 114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6" name="Oval 115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7" name="Oval 116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7473814" y="2247337"/>
              <a:ext cx="91440" cy="264495"/>
              <a:chOff x="5003518" y="2944717"/>
              <a:chExt cx="91440" cy="264495"/>
            </a:xfrm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0" name="Oval 119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1" name="Oval 120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5311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your IP Network – Routing Protocols; OSP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OSPF </a:t>
            </a:r>
            <a:r>
              <a:rPr lang="en-US" dirty="0"/>
              <a:t>– watch your </a:t>
            </a:r>
            <a:r>
              <a:rPr lang="en-US" dirty="0" smtClean="0"/>
              <a:t>Network type</a:t>
            </a:r>
            <a:endParaRPr lang="en-US" dirty="0"/>
          </a:p>
          <a:p>
            <a:pPr lvl="1"/>
            <a:r>
              <a:rPr lang="en-US" dirty="0" smtClean="0"/>
              <a:t>Network Type Point-2-Point (P2P) </a:t>
            </a:r>
          </a:p>
          <a:p>
            <a:pPr lvl="2">
              <a:buFont typeface="Arial"/>
              <a:buChar char="•"/>
            </a:pPr>
            <a:r>
              <a:rPr lang="en-US" dirty="0"/>
              <a:t>P</a:t>
            </a:r>
            <a:r>
              <a:rPr lang="en-US" dirty="0" smtClean="0"/>
              <a:t>referred </a:t>
            </a:r>
            <a:r>
              <a:rPr lang="en-US" dirty="0"/>
              <a:t>(only LSA type-1</a:t>
            </a:r>
            <a:r>
              <a:rPr lang="en-US" dirty="0" smtClean="0"/>
              <a:t>)</a:t>
            </a:r>
          </a:p>
          <a:p>
            <a:pPr lvl="2">
              <a:buFont typeface="Arial"/>
              <a:buChar char="•"/>
            </a:pPr>
            <a:r>
              <a:rPr lang="en-US" dirty="0" smtClean="0"/>
              <a:t>No DR/BDR election</a:t>
            </a:r>
            <a:endParaRPr lang="en-US" dirty="0"/>
          </a:p>
          <a:p>
            <a:pPr lvl="2">
              <a:buFont typeface="Arial"/>
              <a:buChar char="•"/>
            </a:pPr>
            <a:r>
              <a:rPr lang="en-US" dirty="0" smtClean="0"/>
              <a:t>Suits </a:t>
            </a:r>
            <a:r>
              <a:rPr lang="en-US" dirty="0"/>
              <a:t>well for routed interfaces/ports (optimal from a LSA </a:t>
            </a:r>
            <a:r>
              <a:rPr lang="en-US" dirty="0" smtClean="0"/>
              <a:t>Database </a:t>
            </a:r>
            <a:r>
              <a:rPr lang="en-US" dirty="0"/>
              <a:t>perspective)</a:t>
            </a:r>
          </a:p>
          <a:p>
            <a:pPr lvl="2">
              <a:buFont typeface="Arial"/>
              <a:buChar char="•"/>
            </a:pPr>
            <a:r>
              <a:rPr lang="en-US" dirty="0"/>
              <a:t>Full SPF calculation on </a:t>
            </a:r>
            <a:r>
              <a:rPr lang="en-US" dirty="0" smtClean="0"/>
              <a:t>Link</a:t>
            </a:r>
            <a:r>
              <a:rPr lang="en-US" dirty="0"/>
              <a:t> </a:t>
            </a:r>
            <a:r>
              <a:rPr lang="en-US" dirty="0" smtClean="0"/>
              <a:t>Change</a:t>
            </a:r>
            <a:endParaRPr lang="en-US" dirty="0"/>
          </a:p>
          <a:p>
            <a:pPr lvl="1"/>
            <a:r>
              <a:rPr lang="en-US" dirty="0" smtClean="0"/>
              <a:t>Network Type Broadcast</a:t>
            </a:r>
          </a:p>
          <a:p>
            <a:pPr lvl="2">
              <a:buFont typeface="Arial"/>
              <a:buChar char="•"/>
            </a:pPr>
            <a:r>
              <a:rPr lang="en-US" dirty="0" smtClean="0"/>
              <a:t>Suboptimal from a LSA Database perspective (</a:t>
            </a:r>
            <a:r>
              <a:rPr lang="en-US" dirty="0"/>
              <a:t>LSA type-1 &amp; </a:t>
            </a:r>
            <a:r>
              <a:rPr lang="en-US" dirty="0" smtClean="0"/>
              <a:t>2)</a:t>
            </a:r>
          </a:p>
          <a:p>
            <a:pPr lvl="2">
              <a:buFont typeface="Arial"/>
              <a:buChar char="•"/>
            </a:pPr>
            <a:r>
              <a:rPr lang="en-US" dirty="0"/>
              <a:t>D</a:t>
            </a:r>
            <a:r>
              <a:rPr lang="en-US" dirty="0" smtClean="0"/>
              <a:t>R/BDR election</a:t>
            </a:r>
            <a:endParaRPr lang="en-US" dirty="0"/>
          </a:p>
          <a:p>
            <a:pPr lvl="2">
              <a:buFont typeface="Arial"/>
              <a:buChar char="•"/>
            </a:pPr>
            <a:r>
              <a:rPr lang="en-US" dirty="0"/>
              <a:t>A</a:t>
            </a:r>
            <a:r>
              <a:rPr lang="en-US" dirty="0" smtClean="0"/>
              <a:t>dditional </a:t>
            </a:r>
            <a:r>
              <a:rPr lang="en-US" dirty="0"/>
              <a:t>election and </a:t>
            </a:r>
            <a:r>
              <a:rPr lang="en-US" dirty="0" smtClean="0"/>
              <a:t>Database Overhea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1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5462192" y="1706789"/>
            <a:ext cx="6293486" cy="4267200"/>
            <a:chOff x="4096520" y="1280092"/>
            <a:chExt cx="4721344" cy="3200400"/>
          </a:xfrm>
        </p:grpSpPr>
        <p:grpSp>
          <p:nvGrpSpPr>
            <p:cNvPr id="69" name="Group 68"/>
            <p:cNvGrpSpPr/>
            <p:nvPr/>
          </p:nvGrpSpPr>
          <p:grpSpPr>
            <a:xfrm>
              <a:off x="4096520" y="1280092"/>
              <a:ext cx="4721344" cy="3200400"/>
              <a:chOff x="4096520" y="1280092"/>
              <a:chExt cx="4721344" cy="3200400"/>
            </a:xfrm>
          </p:grpSpPr>
          <p:sp>
            <p:nvSpPr>
              <p:cNvPr id="8" name="Freeform 6"/>
              <p:cNvSpPr>
                <a:spLocks noChangeAspect="1"/>
              </p:cNvSpPr>
              <p:nvPr/>
            </p:nvSpPr>
            <p:spPr bwMode="auto">
              <a:xfrm>
                <a:off x="4096520" y="1280092"/>
                <a:ext cx="4721344" cy="2743200"/>
              </a:xfrm>
              <a:custGeom>
                <a:avLst/>
                <a:gdLst>
                  <a:gd name="T0" fmla="*/ 2096 w 2396"/>
                  <a:gd name="T1" fmla="*/ 792 h 1392"/>
                  <a:gd name="T2" fmla="*/ 2093 w 2396"/>
                  <a:gd name="T3" fmla="*/ 792 h 1392"/>
                  <a:gd name="T4" fmla="*/ 2096 w 2396"/>
                  <a:gd name="T5" fmla="*/ 759 h 1392"/>
                  <a:gd name="T6" fmla="*/ 1904 w 2396"/>
                  <a:gd name="T7" fmla="*/ 570 h 1392"/>
                  <a:gd name="T8" fmla="*/ 1868 w 2396"/>
                  <a:gd name="T9" fmla="*/ 573 h 1392"/>
                  <a:gd name="T10" fmla="*/ 1886 w 2396"/>
                  <a:gd name="T11" fmla="*/ 459 h 1392"/>
                  <a:gd name="T12" fmla="*/ 1370 w 2396"/>
                  <a:gd name="T13" fmla="*/ 0 h 1392"/>
                  <a:gd name="T14" fmla="*/ 864 w 2396"/>
                  <a:gd name="T15" fmla="*/ 372 h 1392"/>
                  <a:gd name="T16" fmla="*/ 687 w 2396"/>
                  <a:gd name="T17" fmla="*/ 306 h 1392"/>
                  <a:gd name="T18" fmla="*/ 414 w 2396"/>
                  <a:gd name="T19" fmla="*/ 582 h 1392"/>
                  <a:gd name="T20" fmla="*/ 414 w 2396"/>
                  <a:gd name="T21" fmla="*/ 597 h 1392"/>
                  <a:gd name="T22" fmla="*/ 399 w 2396"/>
                  <a:gd name="T23" fmla="*/ 594 h 1392"/>
                  <a:gd name="T24" fmla="*/ 0 w 2396"/>
                  <a:gd name="T25" fmla="*/ 993 h 1392"/>
                  <a:gd name="T26" fmla="*/ 399 w 2396"/>
                  <a:gd name="T27" fmla="*/ 1392 h 1392"/>
                  <a:gd name="T28" fmla="*/ 2096 w 2396"/>
                  <a:gd name="T29" fmla="*/ 1392 h 1392"/>
                  <a:gd name="T30" fmla="*/ 2396 w 2396"/>
                  <a:gd name="T31" fmla="*/ 1092 h 1392"/>
                  <a:gd name="T32" fmla="*/ 2096 w 2396"/>
                  <a:gd name="T33" fmla="*/ 792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96" h="1392">
                    <a:moveTo>
                      <a:pt x="2096" y="792"/>
                    </a:moveTo>
                    <a:cubicBezTo>
                      <a:pt x="2093" y="792"/>
                      <a:pt x="2093" y="792"/>
                      <a:pt x="2093" y="792"/>
                    </a:cubicBezTo>
                    <a:cubicBezTo>
                      <a:pt x="2093" y="780"/>
                      <a:pt x="2096" y="771"/>
                      <a:pt x="2096" y="759"/>
                    </a:cubicBezTo>
                    <a:cubicBezTo>
                      <a:pt x="2096" y="654"/>
                      <a:pt x="2009" y="570"/>
                      <a:pt x="1904" y="570"/>
                    </a:cubicBezTo>
                    <a:cubicBezTo>
                      <a:pt x="1892" y="570"/>
                      <a:pt x="1880" y="570"/>
                      <a:pt x="1868" y="573"/>
                    </a:cubicBezTo>
                    <a:cubicBezTo>
                      <a:pt x="1880" y="537"/>
                      <a:pt x="1886" y="498"/>
                      <a:pt x="1886" y="459"/>
                    </a:cubicBezTo>
                    <a:cubicBezTo>
                      <a:pt x="1886" y="207"/>
                      <a:pt x="1655" y="0"/>
                      <a:pt x="1370" y="0"/>
                    </a:cubicBezTo>
                    <a:cubicBezTo>
                      <a:pt x="1118" y="0"/>
                      <a:pt x="912" y="159"/>
                      <a:pt x="864" y="372"/>
                    </a:cubicBezTo>
                    <a:cubicBezTo>
                      <a:pt x="816" y="330"/>
                      <a:pt x="756" y="306"/>
                      <a:pt x="687" y="306"/>
                    </a:cubicBezTo>
                    <a:cubicBezTo>
                      <a:pt x="537" y="306"/>
                      <a:pt x="414" y="429"/>
                      <a:pt x="414" y="582"/>
                    </a:cubicBezTo>
                    <a:cubicBezTo>
                      <a:pt x="414" y="585"/>
                      <a:pt x="414" y="591"/>
                      <a:pt x="414" y="597"/>
                    </a:cubicBezTo>
                    <a:cubicBezTo>
                      <a:pt x="399" y="594"/>
                      <a:pt x="399" y="594"/>
                      <a:pt x="399" y="594"/>
                    </a:cubicBezTo>
                    <a:cubicBezTo>
                      <a:pt x="177" y="594"/>
                      <a:pt x="0" y="771"/>
                      <a:pt x="0" y="993"/>
                    </a:cubicBezTo>
                    <a:cubicBezTo>
                      <a:pt x="0" y="1212"/>
                      <a:pt x="177" y="1392"/>
                      <a:pt x="399" y="1392"/>
                    </a:cubicBezTo>
                    <a:cubicBezTo>
                      <a:pt x="2096" y="1392"/>
                      <a:pt x="2096" y="1392"/>
                      <a:pt x="2096" y="1392"/>
                    </a:cubicBezTo>
                    <a:cubicBezTo>
                      <a:pt x="2261" y="1392"/>
                      <a:pt x="2396" y="1257"/>
                      <a:pt x="2396" y="1092"/>
                    </a:cubicBezTo>
                    <a:cubicBezTo>
                      <a:pt x="2396" y="927"/>
                      <a:pt x="2261" y="792"/>
                      <a:pt x="2096" y="79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3175" cmpd="sng">
                <a:solidFill>
                  <a:schemeClr val="tx1"/>
                </a:solidFill>
              </a:ln>
              <a:scene3d>
                <a:camera prst="isometricTopUp"/>
                <a:lightRig rig="threePt" dir="t"/>
              </a:scene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latin typeface="Arial"/>
                    <a:ea typeface="Apple LiGothic Medium"/>
                    <a:cs typeface="Cambria"/>
                  </a:rPr>
                  <a:t>OSPF Area 0</a:t>
                </a:r>
              </a:p>
            </p:txBody>
          </p:sp>
          <p:grpSp>
            <p:nvGrpSpPr>
              <p:cNvPr id="68" name="Group 67"/>
              <p:cNvGrpSpPr/>
              <p:nvPr/>
            </p:nvGrpSpPr>
            <p:grpSpPr>
              <a:xfrm>
                <a:off x="4517870" y="1965892"/>
                <a:ext cx="4044327" cy="2514600"/>
                <a:chOff x="4517870" y="1965892"/>
                <a:chExt cx="4044327" cy="2514600"/>
              </a:xfrm>
            </p:grpSpPr>
            <p:cxnSp>
              <p:nvCxnSpPr>
                <p:cNvPr id="9" name="Straight Connector 8"/>
                <p:cNvCxnSpPr>
                  <a:stCxn id="75" idx="5"/>
                  <a:endCxn id="107" idx="5"/>
                </p:cNvCxnSpPr>
                <p:nvPr/>
              </p:nvCxnSpPr>
              <p:spPr bwMode="auto">
                <a:xfrm flipV="1">
                  <a:off x="5081567" y="2411914"/>
                  <a:ext cx="868935" cy="439085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" name="Straight Connector 9"/>
                <p:cNvCxnSpPr>
                  <a:stCxn id="79" idx="2"/>
                  <a:endCxn id="106" idx="6"/>
                </p:cNvCxnSpPr>
                <p:nvPr/>
              </p:nvCxnSpPr>
              <p:spPr bwMode="auto">
                <a:xfrm flipV="1">
                  <a:off x="5954019" y="2425305"/>
                  <a:ext cx="115340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" name="Straight Connector 10"/>
                <p:cNvCxnSpPr>
                  <a:stCxn id="108" idx="7"/>
                  <a:endCxn id="84" idx="2"/>
                </p:cNvCxnSpPr>
                <p:nvPr/>
              </p:nvCxnSpPr>
              <p:spPr bwMode="auto">
                <a:xfrm>
                  <a:off x="6188215" y="2411914"/>
                  <a:ext cx="1801730" cy="588599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" name="Straight Connector 11"/>
                <p:cNvCxnSpPr>
                  <a:stCxn id="74" idx="6"/>
                  <a:endCxn id="112" idx="5"/>
                </p:cNvCxnSpPr>
                <p:nvPr/>
              </p:nvCxnSpPr>
              <p:spPr bwMode="auto">
                <a:xfrm flipV="1">
                  <a:off x="5094958" y="2411914"/>
                  <a:ext cx="1336095" cy="49328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" name="Straight Connector 12"/>
                <p:cNvCxnSpPr>
                  <a:stCxn id="72" idx="6"/>
                  <a:endCxn id="116" idx="5"/>
                </p:cNvCxnSpPr>
                <p:nvPr/>
              </p:nvCxnSpPr>
              <p:spPr bwMode="auto">
                <a:xfrm flipV="1">
                  <a:off x="5094958" y="2411914"/>
                  <a:ext cx="1820907" cy="579810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" name="Straight Connector 13"/>
                <p:cNvCxnSpPr>
                  <a:stCxn id="73" idx="6"/>
                  <a:endCxn id="120" idx="5"/>
                </p:cNvCxnSpPr>
                <p:nvPr/>
              </p:nvCxnSpPr>
              <p:spPr bwMode="auto">
                <a:xfrm flipV="1">
                  <a:off x="5094958" y="2411914"/>
                  <a:ext cx="2305720" cy="666338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Straight Connector 14"/>
                <p:cNvCxnSpPr>
                  <a:stCxn id="78" idx="2"/>
                  <a:endCxn id="111" idx="6"/>
                </p:cNvCxnSpPr>
                <p:nvPr/>
              </p:nvCxnSpPr>
              <p:spPr bwMode="auto">
                <a:xfrm flipV="1">
                  <a:off x="6040547" y="2425305"/>
                  <a:ext cx="509363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" name="Straight Connector 15"/>
                <p:cNvCxnSpPr>
                  <a:stCxn id="80" idx="2"/>
                  <a:endCxn id="115" idx="6"/>
                </p:cNvCxnSpPr>
                <p:nvPr/>
              </p:nvCxnSpPr>
              <p:spPr bwMode="auto">
                <a:xfrm flipV="1">
                  <a:off x="6127074" y="2425305"/>
                  <a:ext cx="907648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Straight Connector 16"/>
                <p:cNvCxnSpPr>
                  <a:stCxn id="81" idx="2"/>
                  <a:endCxn id="119" idx="6"/>
                </p:cNvCxnSpPr>
                <p:nvPr/>
              </p:nvCxnSpPr>
              <p:spPr bwMode="auto">
                <a:xfrm flipV="1">
                  <a:off x="6213601" y="2425305"/>
                  <a:ext cx="1305934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Straight Connector 17"/>
                <p:cNvCxnSpPr>
                  <a:stCxn id="113" idx="7"/>
                  <a:endCxn id="83" idx="2"/>
                </p:cNvCxnSpPr>
                <p:nvPr/>
              </p:nvCxnSpPr>
              <p:spPr bwMode="auto">
                <a:xfrm>
                  <a:off x="6668766" y="2411914"/>
                  <a:ext cx="1321179" cy="502071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Straight Connector 18"/>
                <p:cNvCxnSpPr>
                  <a:stCxn id="117" idx="7"/>
                  <a:endCxn id="85" idx="2"/>
                </p:cNvCxnSpPr>
                <p:nvPr/>
              </p:nvCxnSpPr>
              <p:spPr bwMode="auto">
                <a:xfrm>
                  <a:off x="7153578" y="2411914"/>
                  <a:ext cx="836367" cy="415544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Straight Connector 19"/>
                <p:cNvCxnSpPr>
                  <a:stCxn id="121" idx="7"/>
                  <a:endCxn id="86" idx="2"/>
                </p:cNvCxnSpPr>
                <p:nvPr/>
              </p:nvCxnSpPr>
              <p:spPr bwMode="auto">
                <a:xfrm>
                  <a:off x="7638391" y="2411914"/>
                  <a:ext cx="351554" cy="329017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2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3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71392" y="3876723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4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7946870" y="2581323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21" name="Group 20"/>
                <p:cNvGrpSpPr/>
                <p:nvPr/>
              </p:nvGrpSpPr>
              <p:grpSpPr>
                <a:xfrm>
                  <a:off x="5847592" y="1965892"/>
                  <a:ext cx="1892694" cy="436538"/>
                  <a:chOff x="3581400" y="2152650"/>
                  <a:chExt cx="1892694" cy="436538"/>
                </a:xfrm>
              </p:grpSpPr>
              <p:pic>
                <p:nvPicPr>
                  <p:cNvPr id="25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814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6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40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466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292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8099085" y="2727759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57" name="Hexagon 5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2</a:t>
                    </a: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0" name="Hexagon 59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1</a:t>
                    </a:r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25003" y="4051536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3" name="Hexagon 62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3</a:t>
                    </a:r>
                  </a:p>
                </p:txBody>
              </p:sp>
            </p:grpSp>
          </p:grpSp>
        </p:grpSp>
        <p:grpSp>
          <p:nvGrpSpPr>
            <p:cNvPr id="76" name="Group 75"/>
            <p:cNvGrpSpPr/>
            <p:nvPr/>
          </p:nvGrpSpPr>
          <p:grpSpPr>
            <a:xfrm>
              <a:off x="5003518" y="2772950"/>
              <a:ext cx="91440" cy="351022"/>
              <a:chOff x="5003518" y="2858190"/>
              <a:chExt cx="91440" cy="351022"/>
            </a:xfrm>
          </p:grpSpPr>
          <p:sp>
            <p:nvSpPr>
              <p:cNvPr id="72" name="Oval 71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3" name="Oval 72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4" name="Oval 73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5" name="Oval 74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 rot="5400000">
              <a:off x="6038090" y="3713787"/>
              <a:ext cx="91440" cy="351022"/>
              <a:chOff x="5003518" y="2858190"/>
              <a:chExt cx="91440" cy="351022"/>
            </a:xfrm>
          </p:grpSpPr>
          <p:sp>
            <p:nvSpPr>
              <p:cNvPr id="78" name="Oval 77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9" name="Oval 78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0" name="Oval 79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1" name="Oval 80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7989945" y="2695211"/>
              <a:ext cx="91440" cy="351022"/>
              <a:chOff x="5003518" y="2858190"/>
              <a:chExt cx="91440" cy="351022"/>
            </a:xfrm>
          </p:grpSpPr>
          <p:sp>
            <p:nvSpPr>
              <p:cNvPr id="83" name="Oval 82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4" name="Oval 83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5" name="Oval 84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5400000">
              <a:off x="6023638" y="2247337"/>
              <a:ext cx="91440" cy="264495"/>
              <a:chOff x="5003518" y="2944717"/>
              <a:chExt cx="91440" cy="264495"/>
            </a:xfrm>
          </p:grpSpPr>
          <p:sp>
            <p:nvSpPr>
              <p:cNvPr id="106" name="Oval 105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7" name="Oval 106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8" name="Oval 107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5400000">
              <a:off x="6504189" y="2247337"/>
              <a:ext cx="91440" cy="264495"/>
              <a:chOff x="5003518" y="2944717"/>
              <a:chExt cx="91440" cy="264495"/>
            </a:xfrm>
          </p:grpSpPr>
          <p:sp>
            <p:nvSpPr>
              <p:cNvPr id="111" name="Oval 110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2" name="Oval 111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3" name="Oval 112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rot="5400000">
              <a:off x="6989001" y="2247337"/>
              <a:ext cx="91440" cy="264495"/>
              <a:chOff x="5003518" y="2944717"/>
              <a:chExt cx="91440" cy="264495"/>
            </a:xfrm>
          </p:grpSpPr>
          <p:sp>
            <p:nvSpPr>
              <p:cNvPr id="115" name="Oval 114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6" name="Oval 115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7" name="Oval 116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7473814" y="2247337"/>
              <a:ext cx="91440" cy="264495"/>
              <a:chOff x="5003518" y="2944717"/>
              <a:chExt cx="91440" cy="264495"/>
            </a:xfrm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0" name="Oval 119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1" name="Oval 120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01158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your IP Network – Routing Protocols; IS-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IS-IS – what was this CLNS?</a:t>
            </a:r>
            <a:endParaRPr lang="en-US" dirty="0"/>
          </a:p>
          <a:p>
            <a:pPr lvl="1">
              <a:buFont typeface="Lucida Grande"/>
              <a:buChar char="-"/>
            </a:pPr>
            <a:r>
              <a:rPr lang="en-US" dirty="0" smtClean="0"/>
              <a:t>Independent </a:t>
            </a:r>
            <a:r>
              <a:rPr lang="en-US" dirty="0"/>
              <a:t>of IP (CLNS</a:t>
            </a:r>
            <a:r>
              <a:rPr lang="en-US" dirty="0" smtClean="0"/>
              <a:t>)</a:t>
            </a:r>
          </a:p>
          <a:p>
            <a:pPr lvl="1">
              <a:buFont typeface="Lucida Grande"/>
              <a:buChar char="-"/>
            </a:pPr>
            <a:r>
              <a:rPr lang="en-US" dirty="0"/>
              <a:t>W</a:t>
            </a:r>
            <a:r>
              <a:rPr lang="en-US" dirty="0" smtClean="0"/>
              <a:t>ell </a:t>
            </a:r>
            <a:r>
              <a:rPr lang="en-US" dirty="0"/>
              <a:t>suited for routed interfaces/</a:t>
            </a:r>
            <a:r>
              <a:rPr lang="en-US" dirty="0" smtClean="0"/>
              <a:t>ports</a:t>
            </a:r>
          </a:p>
          <a:p>
            <a:pPr lvl="1">
              <a:buFont typeface="Lucida Grande"/>
              <a:buChar char="-"/>
            </a:pPr>
            <a:r>
              <a:rPr lang="en-US" dirty="0" smtClean="0"/>
              <a:t>No SPF </a:t>
            </a:r>
            <a:r>
              <a:rPr lang="en-US" dirty="0"/>
              <a:t>calculation on </a:t>
            </a:r>
            <a:r>
              <a:rPr lang="en-US" dirty="0" smtClean="0"/>
              <a:t>Link change; only if Topology changes</a:t>
            </a:r>
          </a:p>
          <a:p>
            <a:pPr lvl="1">
              <a:buFont typeface="Lucida Grande"/>
              <a:buChar char="-"/>
            </a:pPr>
            <a:r>
              <a:rPr lang="en-US" dirty="0" smtClean="0"/>
              <a:t>Fast Re-convergence</a:t>
            </a:r>
            <a:endParaRPr lang="en-US" dirty="0"/>
          </a:p>
          <a:p>
            <a:pPr lvl="1">
              <a:buFont typeface="Lucida Grande"/>
              <a:buChar char="-"/>
            </a:pPr>
            <a:r>
              <a:rPr lang="en-US" dirty="0" smtClean="0"/>
              <a:t>Not </a:t>
            </a:r>
            <a:r>
              <a:rPr lang="en-US" dirty="0"/>
              <a:t>everyone is familiar with i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2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5462192" y="1706789"/>
            <a:ext cx="6293486" cy="4267200"/>
            <a:chOff x="4096520" y="1280092"/>
            <a:chExt cx="4721344" cy="3200400"/>
          </a:xfrm>
        </p:grpSpPr>
        <p:grpSp>
          <p:nvGrpSpPr>
            <p:cNvPr id="69" name="Group 68"/>
            <p:cNvGrpSpPr/>
            <p:nvPr/>
          </p:nvGrpSpPr>
          <p:grpSpPr>
            <a:xfrm>
              <a:off x="4096520" y="1280092"/>
              <a:ext cx="4721344" cy="3200400"/>
              <a:chOff x="4096520" y="1280092"/>
              <a:chExt cx="4721344" cy="3200400"/>
            </a:xfrm>
          </p:grpSpPr>
          <p:sp>
            <p:nvSpPr>
              <p:cNvPr id="8" name="Freeform 6"/>
              <p:cNvSpPr>
                <a:spLocks noChangeAspect="1"/>
              </p:cNvSpPr>
              <p:nvPr/>
            </p:nvSpPr>
            <p:spPr bwMode="auto">
              <a:xfrm>
                <a:off x="4096520" y="1280092"/>
                <a:ext cx="4721344" cy="2743200"/>
              </a:xfrm>
              <a:custGeom>
                <a:avLst/>
                <a:gdLst>
                  <a:gd name="T0" fmla="*/ 2096 w 2396"/>
                  <a:gd name="T1" fmla="*/ 792 h 1392"/>
                  <a:gd name="T2" fmla="*/ 2093 w 2396"/>
                  <a:gd name="T3" fmla="*/ 792 h 1392"/>
                  <a:gd name="T4" fmla="*/ 2096 w 2396"/>
                  <a:gd name="T5" fmla="*/ 759 h 1392"/>
                  <a:gd name="T6" fmla="*/ 1904 w 2396"/>
                  <a:gd name="T7" fmla="*/ 570 h 1392"/>
                  <a:gd name="T8" fmla="*/ 1868 w 2396"/>
                  <a:gd name="T9" fmla="*/ 573 h 1392"/>
                  <a:gd name="T10" fmla="*/ 1886 w 2396"/>
                  <a:gd name="T11" fmla="*/ 459 h 1392"/>
                  <a:gd name="T12" fmla="*/ 1370 w 2396"/>
                  <a:gd name="T13" fmla="*/ 0 h 1392"/>
                  <a:gd name="T14" fmla="*/ 864 w 2396"/>
                  <a:gd name="T15" fmla="*/ 372 h 1392"/>
                  <a:gd name="T16" fmla="*/ 687 w 2396"/>
                  <a:gd name="T17" fmla="*/ 306 h 1392"/>
                  <a:gd name="T18" fmla="*/ 414 w 2396"/>
                  <a:gd name="T19" fmla="*/ 582 h 1392"/>
                  <a:gd name="T20" fmla="*/ 414 w 2396"/>
                  <a:gd name="T21" fmla="*/ 597 h 1392"/>
                  <a:gd name="T22" fmla="*/ 399 w 2396"/>
                  <a:gd name="T23" fmla="*/ 594 h 1392"/>
                  <a:gd name="T24" fmla="*/ 0 w 2396"/>
                  <a:gd name="T25" fmla="*/ 993 h 1392"/>
                  <a:gd name="T26" fmla="*/ 399 w 2396"/>
                  <a:gd name="T27" fmla="*/ 1392 h 1392"/>
                  <a:gd name="T28" fmla="*/ 2096 w 2396"/>
                  <a:gd name="T29" fmla="*/ 1392 h 1392"/>
                  <a:gd name="T30" fmla="*/ 2396 w 2396"/>
                  <a:gd name="T31" fmla="*/ 1092 h 1392"/>
                  <a:gd name="T32" fmla="*/ 2096 w 2396"/>
                  <a:gd name="T33" fmla="*/ 792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96" h="1392">
                    <a:moveTo>
                      <a:pt x="2096" y="792"/>
                    </a:moveTo>
                    <a:cubicBezTo>
                      <a:pt x="2093" y="792"/>
                      <a:pt x="2093" y="792"/>
                      <a:pt x="2093" y="792"/>
                    </a:cubicBezTo>
                    <a:cubicBezTo>
                      <a:pt x="2093" y="780"/>
                      <a:pt x="2096" y="771"/>
                      <a:pt x="2096" y="759"/>
                    </a:cubicBezTo>
                    <a:cubicBezTo>
                      <a:pt x="2096" y="654"/>
                      <a:pt x="2009" y="570"/>
                      <a:pt x="1904" y="570"/>
                    </a:cubicBezTo>
                    <a:cubicBezTo>
                      <a:pt x="1892" y="570"/>
                      <a:pt x="1880" y="570"/>
                      <a:pt x="1868" y="573"/>
                    </a:cubicBezTo>
                    <a:cubicBezTo>
                      <a:pt x="1880" y="537"/>
                      <a:pt x="1886" y="498"/>
                      <a:pt x="1886" y="459"/>
                    </a:cubicBezTo>
                    <a:cubicBezTo>
                      <a:pt x="1886" y="207"/>
                      <a:pt x="1655" y="0"/>
                      <a:pt x="1370" y="0"/>
                    </a:cubicBezTo>
                    <a:cubicBezTo>
                      <a:pt x="1118" y="0"/>
                      <a:pt x="912" y="159"/>
                      <a:pt x="864" y="372"/>
                    </a:cubicBezTo>
                    <a:cubicBezTo>
                      <a:pt x="816" y="330"/>
                      <a:pt x="756" y="306"/>
                      <a:pt x="687" y="306"/>
                    </a:cubicBezTo>
                    <a:cubicBezTo>
                      <a:pt x="537" y="306"/>
                      <a:pt x="414" y="429"/>
                      <a:pt x="414" y="582"/>
                    </a:cubicBezTo>
                    <a:cubicBezTo>
                      <a:pt x="414" y="585"/>
                      <a:pt x="414" y="591"/>
                      <a:pt x="414" y="597"/>
                    </a:cubicBezTo>
                    <a:cubicBezTo>
                      <a:pt x="399" y="594"/>
                      <a:pt x="399" y="594"/>
                      <a:pt x="399" y="594"/>
                    </a:cubicBezTo>
                    <a:cubicBezTo>
                      <a:pt x="177" y="594"/>
                      <a:pt x="0" y="771"/>
                      <a:pt x="0" y="993"/>
                    </a:cubicBezTo>
                    <a:cubicBezTo>
                      <a:pt x="0" y="1212"/>
                      <a:pt x="177" y="1392"/>
                      <a:pt x="399" y="1392"/>
                    </a:cubicBezTo>
                    <a:cubicBezTo>
                      <a:pt x="2096" y="1392"/>
                      <a:pt x="2096" y="1392"/>
                      <a:pt x="2096" y="1392"/>
                    </a:cubicBezTo>
                    <a:cubicBezTo>
                      <a:pt x="2261" y="1392"/>
                      <a:pt x="2396" y="1257"/>
                      <a:pt x="2396" y="1092"/>
                    </a:cubicBezTo>
                    <a:cubicBezTo>
                      <a:pt x="2396" y="927"/>
                      <a:pt x="2261" y="792"/>
                      <a:pt x="2096" y="79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3175" cmpd="sng">
                <a:solidFill>
                  <a:schemeClr val="tx1"/>
                </a:solidFill>
              </a:ln>
              <a:scene3d>
                <a:camera prst="isometricTopUp"/>
                <a:lightRig rig="threePt" dir="t"/>
              </a:scene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latin typeface="Arial"/>
                    <a:ea typeface="Apple LiGothic Medium"/>
                    <a:cs typeface="Cambria"/>
                  </a:rPr>
                  <a:t>IS-IS</a:t>
                </a:r>
              </a:p>
            </p:txBody>
          </p:sp>
          <p:grpSp>
            <p:nvGrpSpPr>
              <p:cNvPr id="68" name="Group 67"/>
              <p:cNvGrpSpPr/>
              <p:nvPr/>
            </p:nvGrpSpPr>
            <p:grpSpPr>
              <a:xfrm>
                <a:off x="4517870" y="1965892"/>
                <a:ext cx="4044327" cy="2514600"/>
                <a:chOff x="4517870" y="1965892"/>
                <a:chExt cx="4044327" cy="2514600"/>
              </a:xfrm>
            </p:grpSpPr>
            <p:cxnSp>
              <p:nvCxnSpPr>
                <p:cNvPr id="9" name="Straight Connector 8"/>
                <p:cNvCxnSpPr>
                  <a:stCxn id="75" idx="5"/>
                  <a:endCxn id="107" idx="5"/>
                </p:cNvCxnSpPr>
                <p:nvPr/>
              </p:nvCxnSpPr>
              <p:spPr bwMode="auto">
                <a:xfrm flipV="1">
                  <a:off x="5081567" y="2411914"/>
                  <a:ext cx="868935" cy="439085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" name="Straight Connector 9"/>
                <p:cNvCxnSpPr>
                  <a:stCxn id="79" idx="2"/>
                  <a:endCxn id="106" idx="6"/>
                </p:cNvCxnSpPr>
                <p:nvPr/>
              </p:nvCxnSpPr>
              <p:spPr bwMode="auto">
                <a:xfrm flipV="1">
                  <a:off x="5954019" y="2425305"/>
                  <a:ext cx="115340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" name="Straight Connector 10"/>
                <p:cNvCxnSpPr>
                  <a:stCxn id="108" idx="7"/>
                  <a:endCxn id="84" idx="2"/>
                </p:cNvCxnSpPr>
                <p:nvPr/>
              </p:nvCxnSpPr>
              <p:spPr bwMode="auto">
                <a:xfrm>
                  <a:off x="6188215" y="2411914"/>
                  <a:ext cx="1801730" cy="588599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" name="Straight Connector 11"/>
                <p:cNvCxnSpPr>
                  <a:stCxn id="74" idx="6"/>
                  <a:endCxn id="112" idx="5"/>
                </p:cNvCxnSpPr>
                <p:nvPr/>
              </p:nvCxnSpPr>
              <p:spPr bwMode="auto">
                <a:xfrm flipV="1">
                  <a:off x="5094958" y="2411914"/>
                  <a:ext cx="1336095" cy="49328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" name="Straight Connector 12"/>
                <p:cNvCxnSpPr>
                  <a:stCxn id="72" idx="6"/>
                  <a:endCxn id="116" idx="5"/>
                </p:cNvCxnSpPr>
                <p:nvPr/>
              </p:nvCxnSpPr>
              <p:spPr bwMode="auto">
                <a:xfrm flipV="1">
                  <a:off x="5094958" y="2411914"/>
                  <a:ext cx="1820907" cy="579810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" name="Straight Connector 13"/>
                <p:cNvCxnSpPr>
                  <a:stCxn id="73" idx="6"/>
                  <a:endCxn id="120" idx="5"/>
                </p:cNvCxnSpPr>
                <p:nvPr/>
              </p:nvCxnSpPr>
              <p:spPr bwMode="auto">
                <a:xfrm flipV="1">
                  <a:off x="5094958" y="2411914"/>
                  <a:ext cx="2305720" cy="666338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Straight Connector 14"/>
                <p:cNvCxnSpPr>
                  <a:stCxn id="78" idx="2"/>
                  <a:endCxn id="111" idx="6"/>
                </p:cNvCxnSpPr>
                <p:nvPr/>
              </p:nvCxnSpPr>
              <p:spPr bwMode="auto">
                <a:xfrm flipV="1">
                  <a:off x="6040547" y="2425305"/>
                  <a:ext cx="509363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" name="Straight Connector 15"/>
                <p:cNvCxnSpPr>
                  <a:stCxn id="80" idx="2"/>
                  <a:endCxn id="115" idx="6"/>
                </p:cNvCxnSpPr>
                <p:nvPr/>
              </p:nvCxnSpPr>
              <p:spPr bwMode="auto">
                <a:xfrm flipV="1">
                  <a:off x="6127074" y="2425305"/>
                  <a:ext cx="907648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Straight Connector 16"/>
                <p:cNvCxnSpPr>
                  <a:stCxn id="81" idx="2"/>
                  <a:endCxn id="119" idx="6"/>
                </p:cNvCxnSpPr>
                <p:nvPr/>
              </p:nvCxnSpPr>
              <p:spPr bwMode="auto">
                <a:xfrm flipV="1">
                  <a:off x="6213601" y="2425305"/>
                  <a:ext cx="1305934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Straight Connector 17"/>
                <p:cNvCxnSpPr>
                  <a:stCxn id="113" idx="7"/>
                  <a:endCxn id="83" idx="2"/>
                </p:cNvCxnSpPr>
                <p:nvPr/>
              </p:nvCxnSpPr>
              <p:spPr bwMode="auto">
                <a:xfrm>
                  <a:off x="6668766" y="2411914"/>
                  <a:ext cx="1321179" cy="502071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Straight Connector 18"/>
                <p:cNvCxnSpPr>
                  <a:stCxn id="117" idx="7"/>
                  <a:endCxn id="85" idx="2"/>
                </p:cNvCxnSpPr>
                <p:nvPr/>
              </p:nvCxnSpPr>
              <p:spPr bwMode="auto">
                <a:xfrm>
                  <a:off x="7153578" y="2411914"/>
                  <a:ext cx="836367" cy="415544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Straight Connector 19"/>
                <p:cNvCxnSpPr>
                  <a:stCxn id="121" idx="7"/>
                  <a:endCxn id="86" idx="2"/>
                </p:cNvCxnSpPr>
                <p:nvPr/>
              </p:nvCxnSpPr>
              <p:spPr bwMode="auto">
                <a:xfrm>
                  <a:off x="7638391" y="2411914"/>
                  <a:ext cx="351554" cy="329017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2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3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71392" y="3876723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4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7946870" y="2581323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21" name="Group 20"/>
                <p:cNvGrpSpPr/>
                <p:nvPr/>
              </p:nvGrpSpPr>
              <p:grpSpPr>
                <a:xfrm>
                  <a:off x="5847592" y="1965892"/>
                  <a:ext cx="1892694" cy="436538"/>
                  <a:chOff x="3581400" y="2152650"/>
                  <a:chExt cx="1892694" cy="436538"/>
                </a:xfrm>
              </p:grpSpPr>
              <p:pic>
                <p:nvPicPr>
                  <p:cNvPr id="25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814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6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40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466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292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8099085" y="2727759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57" name="Hexagon 5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2</a:t>
                    </a: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0" name="Hexagon 59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1</a:t>
                    </a:r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25003" y="4051536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3" name="Hexagon 62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3</a:t>
                    </a:r>
                  </a:p>
                </p:txBody>
              </p:sp>
            </p:grpSp>
          </p:grpSp>
        </p:grpSp>
        <p:grpSp>
          <p:nvGrpSpPr>
            <p:cNvPr id="76" name="Group 75"/>
            <p:cNvGrpSpPr/>
            <p:nvPr/>
          </p:nvGrpSpPr>
          <p:grpSpPr>
            <a:xfrm>
              <a:off x="5003518" y="2772950"/>
              <a:ext cx="91440" cy="351022"/>
              <a:chOff x="5003518" y="2858190"/>
              <a:chExt cx="91440" cy="351022"/>
            </a:xfrm>
          </p:grpSpPr>
          <p:sp>
            <p:nvSpPr>
              <p:cNvPr id="72" name="Oval 71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3" name="Oval 72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4" name="Oval 73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5" name="Oval 74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 rot="5400000">
              <a:off x="6038090" y="3713787"/>
              <a:ext cx="91440" cy="351022"/>
              <a:chOff x="5003518" y="2858190"/>
              <a:chExt cx="91440" cy="351022"/>
            </a:xfrm>
          </p:grpSpPr>
          <p:sp>
            <p:nvSpPr>
              <p:cNvPr id="78" name="Oval 77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9" name="Oval 78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0" name="Oval 79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1" name="Oval 80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7989945" y="2695211"/>
              <a:ext cx="91440" cy="351022"/>
              <a:chOff x="5003518" y="2858190"/>
              <a:chExt cx="91440" cy="351022"/>
            </a:xfrm>
          </p:grpSpPr>
          <p:sp>
            <p:nvSpPr>
              <p:cNvPr id="83" name="Oval 82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4" name="Oval 83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5" name="Oval 84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5400000">
              <a:off x="6023638" y="2247337"/>
              <a:ext cx="91440" cy="264495"/>
              <a:chOff x="5003518" y="2944717"/>
              <a:chExt cx="91440" cy="264495"/>
            </a:xfrm>
          </p:grpSpPr>
          <p:sp>
            <p:nvSpPr>
              <p:cNvPr id="106" name="Oval 105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7" name="Oval 106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8" name="Oval 107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5400000">
              <a:off x="6504189" y="2247337"/>
              <a:ext cx="91440" cy="264495"/>
              <a:chOff x="5003518" y="2944717"/>
              <a:chExt cx="91440" cy="264495"/>
            </a:xfrm>
          </p:grpSpPr>
          <p:sp>
            <p:nvSpPr>
              <p:cNvPr id="111" name="Oval 110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2" name="Oval 111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3" name="Oval 112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rot="5400000">
              <a:off x="6989001" y="2247337"/>
              <a:ext cx="91440" cy="264495"/>
              <a:chOff x="5003518" y="2944717"/>
              <a:chExt cx="91440" cy="264495"/>
            </a:xfrm>
          </p:grpSpPr>
          <p:sp>
            <p:nvSpPr>
              <p:cNvPr id="115" name="Oval 114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6" name="Oval 115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7" name="Oval 116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7473814" y="2247337"/>
              <a:ext cx="91440" cy="264495"/>
              <a:chOff x="5003518" y="2944717"/>
              <a:chExt cx="91440" cy="264495"/>
            </a:xfrm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0" name="Oval 119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1" name="Oval 120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5914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your IP Network – Routing Protocols; </a:t>
            </a:r>
            <a:r>
              <a:rPr lang="en-US" dirty="0"/>
              <a:t>i</a:t>
            </a:r>
            <a:r>
              <a:rPr lang="en-US" dirty="0" smtClean="0"/>
              <a:t>BG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iBGP + IGP = The Routing Protocol Combo</a:t>
            </a:r>
          </a:p>
          <a:p>
            <a:pPr lvl="1"/>
            <a:r>
              <a:rPr lang="en-US" dirty="0"/>
              <a:t>IGP for underlay topology &amp; reachability (e.g. IS-IS, OSPF)</a:t>
            </a:r>
          </a:p>
          <a:p>
            <a:pPr lvl="1"/>
            <a:r>
              <a:rPr lang="en-US" dirty="0"/>
              <a:t>iBGP for VTEP (loopback) reachability </a:t>
            </a:r>
          </a:p>
          <a:p>
            <a:pPr lvl="1"/>
            <a:r>
              <a:rPr lang="en-US" dirty="0"/>
              <a:t>iBGP route-reflector for simplification and </a:t>
            </a:r>
            <a:r>
              <a:rPr lang="en-US" dirty="0" smtClean="0"/>
              <a:t>scale</a:t>
            </a:r>
          </a:p>
          <a:p>
            <a:pPr lvl="1"/>
            <a:r>
              <a:rPr lang="en-US" dirty="0" smtClean="0"/>
              <a:t>Requires two routing protocols</a:t>
            </a:r>
          </a:p>
          <a:p>
            <a:pPr lvl="1"/>
            <a:r>
              <a:rPr lang="en-US" dirty="0" smtClean="0"/>
              <a:t>Separates Links (IGP) from VTEPs (</a:t>
            </a:r>
            <a:r>
              <a:rPr lang="en-US" dirty="0" err="1" smtClean="0"/>
              <a:t>iBGP</a:t>
            </a:r>
            <a:r>
              <a:rPr lang="en-US" dirty="0" smtClean="0"/>
              <a:t>)</a:t>
            </a:r>
          </a:p>
          <a:p>
            <a:pPr lvl="2"/>
            <a:r>
              <a:rPr lang="en-US" dirty="0" smtClean="0"/>
              <a:t>End-Host information are still in </a:t>
            </a:r>
            <a:r>
              <a:rPr lang="en-US" dirty="0" err="1" smtClean="0"/>
              <a:t>iBGP</a:t>
            </a:r>
            <a:r>
              <a:rPr lang="en-US" dirty="0" smtClean="0"/>
              <a:t> but different address-family</a:t>
            </a:r>
            <a:endParaRPr lang="en-US" dirty="0"/>
          </a:p>
          <a:p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3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96537" y="3152031"/>
            <a:ext cx="4822834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6312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your IP Network – Routing Protocols; </a:t>
            </a:r>
            <a:r>
              <a:rPr lang="en-US" dirty="0" err="1" smtClean="0"/>
              <a:t>eBG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err="1" smtClean="0"/>
              <a:t>eBGP</a:t>
            </a:r>
            <a:endParaRPr lang="en-US" dirty="0" smtClean="0"/>
          </a:p>
          <a:p>
            <a:pPr lvl="1"/>
            <a:r>
              <a:rPr lang="en-US" dirty="0" err="1" smtClean="0"/>
              <a:t>eBGP</a:t>
            </a:r>
            <a:r>
              <a:rPr lang="en-US" dirty="0" smtClean="0"/>
              <a:t> Peer is IP interface </a:t>
            </a:r>
          </a:p>
          <a:p>
            <a:pPr lvl="2"/>
            <a:r>
              <a:rPr lang="en-US" dirty="0" smtClean="0"/>
              <a:t>Loopback would require additional IGP and </a:t>
            </a:r>
            <a:r>
              <a:rPr lang="en-US" dirty="0" err="1" smtClean="0"/>
              <a:t>eBGP</a:t>
            </a:r>
            <a:r>
              <a:rPr lang="en-US" dirty="0" smtClean="0"/>
              <a:t> multi-hop</a:t>
            </a:r>
          </a:p>
          <a:p>
            <a:pPr lvl="1"/>
            <a:r>
              <a:rPr lang="en-US" dirty="0" smtClean="0"/>
              <a:t>Multiple Autonomous-Systems (AS)</a:t>
            </a:r>
          </a:p>
          <a:p>
            <a:pPr lvl="2"/>
            <a:r>
              <a:rPr lang="en-US" dirty="0" smtClean="0"/>
              <a:t>Minimum amount of AS is two</a:t>
            </a:r>
          </a:p>
          <a:p>
            <a:pPr lvl="1"/>
            <a:r>
              <a:rPr lang="en-US" dirty="0" smtClean="0"/>
              <a:t>Many BGP Neighbors</a:t>
            </a:r>
          </a:p>
          <a:p>
            <a:pPr lvl="2"/>
            <a:r>
              <a:rPr lang="en-US" dirty="0"/>
              <a:t>F</a:t>
            </a:r>
            <a:r>
              <a:rPr lang="en-US" dirty="0" smtClean="0"/>
              <a:t>or each neighboring p2p interface</a:t>
            </a:r>
          </a:p>
          <a:p>
            <a:pPr lvl="1"/>
            <a:r>
              <a:rPr lang="en-US" dirty="0" smtClean="0"/>
              <a:t>AS Path</a:t>
            </a:r>
          </a:p>
          <a:p>
            <a:pPr lvl="2"/>
            <a:r>
              <a:rPr lang="en-US" dirty="0" err="1" smtClean="0"/>
              <a:t>Src</a:t>
            </a:r>
            <a:r>
              <a:rPr lang="en-US" dirty="0" smtClean="0"/>
              <a:t> and </a:t>
            </a:r>
            <a:r>
              <a:rPr lang="en-US" dirty="0" err="1" smtClean="0"/>
              <a:t>Dst</a:t>
            </a:r>
            <a:r>
              <a:rPr lang="en-US" dirty="0" smtClean="0"/>
              <a:t> AS might be same</a:t>
            </a:r>
          </a:p>
          <a:p>
            <a:pPr lvl="1"/>
            <a:r>
              <a:rPr lang="en-US" dirty="0" smtClean="0"/>
              <a:t>No Route-Reflector</a:t>
            </a:r>
            <a:endParaRPr lang="en-US" dirty="0"/>
          </a:p>
          <a:p>
            <a:pPr lvl="2"/>
            <a:r>
              <a:rPr lang="en-US" dirty="0" smtClean="0"/>
              <a:t>But next</a:t>
            </a:r>
            <a:r>
              <a:rPr lang="en-US" dirty="0"/>
              <a:t>-hop </a:t>
            </a:r>
            <a:r>
              <a:rPr lang="en-US" dirty="0" smtClean="0"/>
              <a:t>needs to be unchanged</a:t>
            </a:r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4</a:t>
            </a:fld>
            <a:endParaRPr dirty="0">
              <a:solidFill>
                <a:srgbClr val="595959"/>
              </a:solidFill>
            </a:endParaRP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21108" y="823284"/>
            <a:ext cx="4533123" cy="3048000"/>
          </a:xfrm>
          <a:prstGeom prst="rect">
            <a:avLst/>
          </a:prstGeom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351" y="3152031"/>
            <a:ext cx="4682022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3561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ulticast Enabled Underlay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2380" indent="0">
              <a:buNone/>
            </a:pPr>
            <a:r>
              <a:rPr lang="en-US" sz="2100" dirty="0"/>
              <a:t>May use PIM-ASM or PIM-</a:t>
            </a:r>
            <a:r>
              <a:rPr lang="en-US" sz="2100" dirty="0" err="1"/>
              <a:t>BiDir</a:t>
            </a:r>
            <a:r>
              <a:rPr lang="en-US" sz="2100" dirty="0"/>
              <a:t> (Different hardware has different capabilities)</a:t>
            </a:r>
          </a:p>
          <a:p>
            <a:pPr marL="2380" indent="0">
              <a:buNone/>
            </a:pPr>
            <a:endParaRPr lang="en-US" sz="2100" dirty="0"/>
          </a:p>
          <a:p>
            <a:pPr marL="2380" indent="0">
              <a:buNone/>
            </a:pPr>
            <a:endParaRPr lang="en-US" sz="2100" dirty="0"/>
          </a:p>
          <a:p>
            <a:pPr>
              <a:spcBef>
                <a:spcPts val="800"/>
              </a:spcBef>
            </a:pPr>
            <a:r>
              <a:rPr lang="en-US" sz="2100" dirty="0"/>
              <a:t>Spine and Aggregation Switches make good Rendezvous-Point (RP) Locations in Topologies</a:t>
            </a:r>
          </a:p>
          <a:p>
            <a:pPr>
              <a:spcBef>
                <a:spcPts val="800"/>
              </a:spcBef>
            </a:pPr>
            <a:r>
              <a:rPr lang="en-US" sz="2100" dirty="0"/>
              <a:t>Reserve a range of Multicast Groups (Destination Groups/</a:t>
            </a:r>
            <a:r>
              <a:rPr lang="en-US" sz="2100" dirty="0" err="1"/>
              <a:t>DGroups</a:t>
            </a:r>
            <a:r>
              <a:rPr lang="en-US" sz="2100" dirty="0"/>
              <a:t>) to service the Overlay and optimize for diverse VNIs</a:t>
            </a:r>
          </a:p>
          <a:p>
            <a:pPr>
              <a:spcBef>
                <a:spcPts val="800"/>
              </a:spcBef>
            </a:pPr>
            <a:r>
              <a:rPr lang="en-US" sz="2100" dirty="0"/>
              <a:t>In Spine/Leaf topologies with lean Spine</a:t>
            </a:r>
          </a:p>
          <a:p>
            <a:pPr lvl="1">
              <a:spcBef>
                <a:spcPts val="800"/>
              </a:spcBef>
            </a:pPr>
            <a:r>
              <a:rPr lang="en-US" sz="1900" dirty="0"/>
              <a:t>Use multiple Rendezvous-Point across the multiple Spines</a:t>
            </a:r>
          </a:p>
          <a:p>
            <a:pPr lvl="1">
              <a:spcBef>
                <a:spcPts val="800"/>
              </a:spcBef>
            </a:pPr>
            <a:r>
              <a:rPr lang="en-US" sz="1900" dirty="0"/>
              <a:t>Map different VNIs to different Rendezvous-Point for simple load balancing measure</a:t>
            </a:r>
          </a:p>
          <a:p>
            <a:pPr lvl="1">
              <a:spcBef>
                <a:spcPts val="800"/>
              </a:spcBef>
            </a:pPr>
            <a:r>
              <a:rPr lang="en-US" sz="1900" dirty="0"/>
              <a:t>Use Redundant Rendezvous-Pint</a:t>
            </a:r>
          </a:p>
          <a:p>
            <a:pPr>
              <a:spcBef>
                <a:spcPts val="800"/>
              </a:spcBef>
            </a:pPr>
            <a:r>
              <a:rPr lang="en-US" sz="2100" dirty="0"/>
              <a:t>Design a Multicast Underlay for a Network Overlay, Host VTEPs will leverage this Network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5</a:t>
            </a:fld>
            <a:endParaRPr dirty="0">
              <a:solidFill>
                <a:srgbClr val="595959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378001" y="2138963"/>
          <a:ext cx="11436004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9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394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94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94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96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94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3944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6996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xus 1000v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xus 3000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xus 5600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xus 7000/F3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Nexus 9000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SR 1000</a:t>
                      </a:r>
                    </a:p>
                    <a:p>
                      <a:pPr algn="ctr"/>
                      <a:r>
                        <a:rPr lang="en-US" sz="1200" baseline="0" dirty="0" smtClean="0"/>
                        <a:t>CSR 1000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SR</a:t>
                      </a:r>
                      <a:r>
                        <a:rPr lang="en-US" sz="1200" baseline="0" dirty="0" smtClean="0"/>
                        <a:t> 9000</a:t>
                      </a:r>
                      <a:endParaRPr lang="en-US" sz="1200" dirty="0"/>
                    </a:p>
                  </a:txBody>
                  <a:tcPr marL="121888" marR="121888" marT="60960" marB="6096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Multicast Mode</a:t>
                      </a:r>
                      <a:endParaRPr lang="en-US" sz="1200" b="1" dirty="0"/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pPr marL="0" marR="0" indent="0" algn="l" defTabSz="257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IGMP v2/v3</a:t>
                      </a: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ASM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</a:t>
                      </a:r>
                      <a:r>
                        <a:rPr lang="en-US" sz="1200" b="0" dirty="0" err="1" smtClean="0">
                          <a:solidFill>
                            <a:srgbClr val="000000"/>
                          </a:solidFill>
                        </a:rPr>
                        <a:t>BiDir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ASM</a:t>
                      </a:r>
                      <a:r>
                        <a:rPr lang="en-US" sz="1200" b="0" baseline="0" dirty="0" smtClean="0">
                          <a:solidFill>
                            <a:srgbClr val="000000"/>
                          </a:solidFill>
                        </a:rPr>
                        <a:t> / 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</a:t>
                      </a:r>
                      <a:r>
                        <a:rPr lang="en-US" sz="1200" b="0" dirty="0" err="1" smtClean="0">
                          <a:solidFill>
                            <a:srgbClr val="000000"/>
                          </a:solidFill>
                        </a:rPr>
                        <a:t>BiDir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ASM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</a:t>
                      </a:r>
                      <a:r>
                        <a:rPr lang="en-US" sz="1200" b="0" dirty="0" err="1" smtClean="0">
                          <a:solidFill>
                            <a:srgbClr val="000000"/>
                          </a:solidFill>
                        </a:rPr>
                        <a:t>BiDir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tc>
                  <a:txBody>
                    <a:bodyPr/>
                    <a:lstStyle/>
                    <a:p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ASM</a:t>
                      </a:r>
                      <a:r>
                        <a:rPr lang="en-US" sz="1200" b="0" baseline="0" dirty="0" smtClean="0">
                          <a:solidFill>
                            <a:srgbClr val="000000"/>
                          </a:solidFill>
                        </a:rPr>
                        <a:t> / 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</a:rPr>
                        <a:t>PIM </a:t>
                      </a:r>
                      <a:r>
                        <a:rPr lang="en-US" sz="1200" b="0" dirty="0" err="1" smtClean="0">
                          <a:solidFill>
                            <a:srgbClr val="000000"/>
                          </a:solidFill>
                        </a:rPr>
                        <a:t>BiDir</a:t>
                      </a:r>
                      <a:endParaRPr lang="en-US" sz="1200" b="0" dirty="0">
                        <a:solidFill>
                          <a:srgbClr val="000000"/>
                        </a:solidFill>
                      </a:endParaRPr>
                    </a:p>
                  </a:txBody>
                  <a:tcPr marL="121888" marR="121888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 rot="16200000">
            <a:off x="-59387" y="-63214"/>
            <a:ext cx="1438063" cy="1558203"/>
            <a:chOff x="8065448" y="-92109"/>
            <a:chExt cx="1078547" cy="1168957"/>
          </a:xfrm>
        </p:grpSpPr>
        <p:sp>
          <p:nvSpPr>
            <p:cNvPr id="9" name="AutoShape 20"/>
            <p:cNvSpPr>
              <a:spLocks noChangeAspect="1" noChangeArrowheads="1"/>
            </p:cNvSpPr>
            <p:nvPr/>
          </p:nvSpPr>
          <p:spPr bwMode="auto">
            <a:xfrm rot="10800000">
              <a:off x="8065448" y="-790"/>
              <a:ext cx="1078547" cy="1077638"/>
            </a:xfrm>
            <a:prstGeom prst="rtTriangle">
              <a:avLst/>
            </a:prstGeom>
            <a:solidFill>
              <a:schemeClr val="accent4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wrap="none" lIns="121926" tIns="60963" rIns="121926" bIns="60963" anchor="ctr"/>
            <a:lstStyle/>
            <a:p>
              <a:pPr algn="ctr" defTabSz="1623141" fontAlgn="auto">
                <a:spcBef>
                  <a:spcPts val="0"/>
                </a:spcBef>
                <a:spcAft>
                  <a:spcPts val="0"/>
                </a:spcAft>
              </a:pPr>
              <a:endParaRPr lang="en-US" sz="2500">
                <a:solidFill>
                  <a:srgbClr val="000000"/>
                </a:solidFill>
                <a:latin typeface="Arial"/>
                <a:ea typeface="MS PGothic" pitchFamily="34" charset="-128"/>
                <a:cs typeface="Apple LiGothic Medium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 rot="2700000">
              <a:off x="8303771" y="151580"/>
              <a:ext cx="948081" cy="4607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7366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3700" b="1" dirty="0">
                  <a:solidFill>
                    <a:srgbClr val="FFFFFF"/>
                  </a:solidFill>
                  <a:latin typeface="Arial"/>
                  <a:ea typeface="Apple LiGothic Medium"/>
                  <a:cs typeface="Apple LiGothic Medium"/>
                </a:rPr>
                <a:t>FY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35481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cast Enabled </a:t>
            </a:r>
            <a:r>
              <a:rPr lang="en-US" dirty="0" smtClean="0"/>
              <a:t>Underlay – PIM AS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2100" dirty="0"/>
              <a:t>PIM Sparse-Mode (ASM)</a:t>
            </a:r>
          </a:p>
          <a:p>
            <a:r>
              <a:rPr lang="en-US" sz="2100" dirty="0"/>
              <a:t>Redundant Rendezvous-Point using PIM </a:t>
            </a:r>
            <a:r>
              <a:rPr lang="en-US" sz="2100" dirty="0" err="1"/>
              <a:t>Anycast</a:t>
            </a:r>
            <a:r>
              <a:rPr lang="en-US" sz="2100" dirty="0"/>
              <a:t>-RP or MSDP</a:t>
            </a:r>
          </a:p>
          <a:p>
            <a:r>
              <a:rPr lang="en-US" sz="2100" dirty="0"/>
              <a:t>Source-Tree or Unidirectional Shared-Tree (Source-Tree shown)</a:t>
            </a:r>
          </a:p>
          <a:p>
            <a:pPr lvl="1"/>
            <a:r>
              <a:rPr lang="en-US" sz="1900" dirty="0"/>
              <a:t>Shared-Tree will always use RP for forwarding</a:t>
            </a:r>
          </a:p>
          <a:p>
            <a:r>
              <a:rPr lang="en-US" sz="2100" dirty="0"/>
              <a:t>1 Source-Tree per Multicast-Group per VTEP (each VTEP is Source &amp; Receiver)</a:t>
            </a:r>
          </a:p>
          <a:p>
            <a:r>
              <a:rPr lang="en-US" sz="2100" dirty="0"/>
              <a:t>Example from depicted topology</a:t>
            </a:r>
          </a:p>
          <a:p>
            <a:pPr lvl="1"/>
            <a:r>
              <a:rPr lang="en-US" sz="1900" dirty="0"/>
              <a:t>3 VTEPs sharing same VNI and Multicast-Group mapping (single Multicast-Group)</a:t>
            </a:r>
          </a:p>
          <a:p>
            <a:pPr lvl="1"/>
            <a:r>
              <a:rPr lang="en-US" sz="1900" dirty="0"/>
              <a:t>3x Source-Tree (1 per VTEP per Multicast-Group)</a:t>
            </a:r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6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5462192" y="1706789"/>
            <a:ext cx="6293486" cy="4267200"/>
            <a:chOff x="4096520" y="1280092"/>
            <a:chExt cx="4721344" cy="3200400"/>
          </a:xfrm>
        </p:grpSpPr>
        <p:grpSp>
          <p:nvGrpSpPr>
            <p:cNvPr id="69" name="Group 68"/>
            <p:cNvGrpSpPr/>
            <p:nvPr/>
          </p:nvGrpSpPr>
          <p:grpSpPr>
            <a:xfrm>
              <a:off x="4096520" y="1280092"/>
              <a:ext cx="4721344" cy="3200400"/>
              <a:chOff x="4096520" y="1280092"/>
              <a:chExt cx="4721344" cy="3200400"/>
            </a:xfrm>
          </p:grpSpPr>
          <p:sp>
            <p:nvSpPr>
              <p:cNvPr id="8" name="Freeform 6"/>
              <p:cNvSpPr>
                <a:spLocks noChangeAspect="1"/>
              </p:cNvSpPr>
              <p:nvPr/>
            </p:nvSpPr>
            <p:spPr bwMode="auto">
              <a:xfrm>
                <a:off x="4096520" y="1280092"/>
                <a:ext cx="4721344" cy="2743200"/>
              </a:xfrm>
              <a:custGeom>
                <a:avLst/>
                <a:gdLst>
                  <a:gd name="T0" fmla="*/ 2096 w 2396"/>
                  <a:gd name="T1" fmla="*/ 792 h 1392"/>
                  <a:gd name="T2" fmla="*/ 2093 w 2396"/>
                  <a:gd name="T3" fmla="*/ 792 h 1392"/>
                  <a:gd name="T4" fmla="*/ 2096 w 2396"/>
                  <a:gd name="T5" fmla="*/ 759 h 1392"/>
                  <a:gd name="T6" fmla="*/ 1904 w 2396"/>
                  <a:gd name="T7" fmla="*/ 570 h 1392"/>
                  <a:gd name="T8" fmla="*/ 1868 w 2396"/>
                  <a:gd name="T9" fmla="*/ 573 h 1392"/>
                  <a:gd name="T10" fmla="*/ 1886 w 2396"/>
                  <a:gd name="T11" fmla="*/ 459 h 1392"/>
                  <a:gd name="T12" fmla="*/ 1370 w 2396"/>
                  <a:gd name="T13" fmla="*/ 0 h 1392"/>
                  <a:gd name="T14" fmla="*/ 864 w 2396"/>
                  <a:gd name="T15" fmla="*/ 372 h 1392"/>
                  <a:gd name="T16" fmla="*/ 687 w 2396"/>
                  <a:gd name="T17" fmla="*/ 306 h 1392"/>
                  <a:gd name="T18" fmla="*/ 414 w 2396"/>
                  <a:gd name="T19" fmla="*/ 582 h 1392"/>
                  <a:gd name="T20" fmla="*/ 414 w 2396"/>
                  <a:gd name="T21" fmla="*/ 597 h 1392"/>
                  <a:gd name="T22" fmla="*/ 399 w 2396"/>
                  <a:gd name="T23" fmla="*/ 594 h 1392"/>
                  <a:gd name="T24" fmla="*/ 0 w 2396"/>
                  <a:gd name="T25" fmla="*/ 993 h 1392"/>
                  <a:gd name="T26" fmla="*/ 399 w 2396"/>
                  <a:gd name="T27" fmla="*/ 1392 h 1392"/>
                  <a:gd name="T28" fmla="*/ 2096 w 2396"/>
                  <a:gd name="T29" fmla="*/ 1392 h 1392"/>
                  <a:gd name="T30" fmla="*/ 2396 w 2396"/>
                  <a:gd name="T31" fmla="*/ 1092 h 1392"/>
                  <a:gd name="T32" fmla="*/ 2096 w 2396"/>
                  <a:gd name="T33" fmla="*/ 792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96" h="1392">
                    <a:moveTo>
                      <a:pt x="2096" y="792"/>
                    </a:moveTo>
                    <a:cubicBezTo>
                      <a:pt x="2093" y="792"/>
                      <a:pt x="2093" y="792"/>
                      <a:pt x="2093" y="792"/>
                    </a:cubicBezTo>
                    <a:cubicBezTo>
                      <a:pt x="2093" y="780"/>
                      <a:pt x="2096" y="771"/>
                      <a:pt x="2096" y="759"/>
                    </a:cubicBezTo>
                    <a:cubicBezTo>
                      <a:pt x="2096" y="654"/>
                      <a:pt x="2009" y="570"/>
                      <a:pt x="1904" y="570"/>
                    </a:cubicBezTo>
                    <a:cubicBezTo>
                      <a:pt x="1892" y="570"/>
                      <a:pt x="1880" y="570"/>
                      <a:pt x="1868" y="573"/>
                    </a:cubicBezTo>
                    <a:cubicBezTo>
                      <a:pt x="1880" y="537"/>
                      <a:pt x="1886" y="498"/>
                      <a:pt x="1886" y="459"/>
                    </a:cubicBezTo>
                    <a:cubicBezTo>
                      <a:pt x="1886" y="207"/>
                      <a:pt x="1655" y="0"/>
                      <a:pt x="1370" y="0"/>
                    </a:cubicBezTo>
                    <a:cubicBezTo>
                      <a:pt x="1118" y="0"/>
                      <a:pt x="912" y="159"/>
                      <a:pt x="864" y="372"/>
                    </a:cubicBezTo>
                    <a:cubicBezTo>
                      <a:pt x="816" y="330"/>
                      <a:pt x="756" y="306"/>
                      <a:pt x="687" y="306"/>
                    </a:cubicBezTo>
                    <a:cubicBezTo>
                      <a:pt x="537" y="306"/>
                      <a:pt x="414" y="429"/>
                      <a:pt x="414" y="582"/>
                    </a:cubicBezTo>
                    <a:cubicBezTo>
                      <a:pt x="414" y="585"/>
                      <a:pt x="414" y="591"/>
                      <a:pt x="414" y="597"/>
                    </a:cubicBezTo>
                    <a:cubicBezTo>
                      <a:pt x="399" y="594"/>
                      <a:pt x="399" y="594"/>
                      <a:pt x="399" y="594"/>
                    </a:cubicBezTo>
                    <a:cubicBezTo>
                      <a:pt x="177" y="594"/>
                      <a:pt x="0" y="771"/>
                      <a:pt x="0" y="993"/>
                    </a:cubicBezTo>
                    <a:cubicBezTo>
                      <a:pt x="0" y="1212"/>
                      <a:pt x="177" y="1392"/>
                      <a:pt x="399" y="1392"/>
                    </a:cubicBezTo>
                    <a:cubicBezTo>
                      <a:pt x="2096" y="1392"/>
                      <a:pt x="2096" y="1392"/>
                      <a:pt x="2096" y="1392"/>
                    </a:cubicBezTo>
                    <a:cubicBezTo>
                      <a:pt x="2261" y="1392"/>
                      <a:pt x="2396" y="1257"/>
                      <a:pt x="2396" y="1092"/>
                    </a:cubicBezTo>
                    <a:cubicBezTo>
                      <a:pt x="2396" y="927"/>
                      <a:pt x="2261" y="792"/>
                      <a:pt x="2096" y="79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3175" cmpd="sng">
                <a:solidFill>
                  <a:schemeClr val="tx1"/>
                </a:solidFill>
              </a:ln>
              <a:scene3d>
                <a:camera prst="isometricTopUp"/>
                <a:lightRig rig="threePt" dir="t"/>
              </a:scene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latin typeface="Arial"/>
                    <a:ea typeface="Apple LiGothic Medium"/>
                    <a:cs typeface="Cambria"/>
                  </a:rPr>
                  <a:t>PIM ASM</a:t>
                </a:r>
              </a:p>
            </p:txBody>
          </p:sp>
          <p:grpSp>
            <p:nvGrpSpPr>
              <p:cNvPr id="68" name="Group 67"/>
              <p:cNvGrpSpPr/>
              <p:nvPr/>
            </p:nvGrpSpPr>
            <p:grpSpPr>
              <a:xfrm>
                <a:off x="4517870" y="1965892"/>
                <a:ext cx="4044327" cy="2514600"/>
                <a:chOff x="4517870" y="1965892"/>
                <a:chExt cx="4044327" cy="2514600"/>
              </a:xfrm>
            </p:grpSpPr>
            <p:cxnSp>
              <p:nvCxnSpPr>
                <p:cNvPr id="9" name="Straight Connector 8"/>
                <p:cNvCxnSpPr>
                  <a:stCxn id="75" idx="5"/>
                  <a:endCxn id="107" idx="5"/>
                </p:cNvCxnSpPr>
                <p:nvPr/>
              </p:nvCxnSpPr>
              <p:spPr bwMode="auto">
                <a:xfrm flipV="1">
                  <a:off x="5081567" y="2411914"/>
                  <a:ext cx="868935" cy="439085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" name="Straight Connector 9"/>
                <p:cNvCxnSpPr>
                  <a:stCxn id="79" idx="2"/>
                  <a:endCxn id="106" idx="6"/>
                </p:cNvCxnSpPr>
                <p:nvPr/>
              </p:nvCxnSpPr>
              <p:spPr bwMode="auto">
                <a:xfrm flipV="1">
                  <a:off x="5954019" y="2425305"/>
                  <a:ext cx="115340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" name="Straight Connector 10"/>
                <p:cNvCxnSpPr>
                  <a:stCxn id="108" idx="7"/>
                  <a:endCxn id="84" idx="2"/>
                </p:cNvCxnSpPr>
                <p:nvPr/>
              </p:nvCxnSpPr>
              <p:spPr bwMode="auto">
                <a:xfrm>
                  <a:off x="6188215" y="2411914"/>
                  <a:ext cx="1801730" cy="588599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" name="Straight Connector 11"/>
                <p:cNvCxnSpPr>
                  <a:stCxn id="74" idx="6"/>
                  <a:endCxn id="112" idx="5"/>
                </p:cNvCxnSpPr>
                <p:nvPr/>
              </p:nvCxnSpPr>
              <p:spPr bwMode="auto">
                <a:xfrm flipV="1">
                  <a:off x="5094958" y="2411914"/>
                  <a:ext cx="1336095" cy="49328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" name="Straight Connector 12"/>
                <p:cNvCxnSpPr>
                  <a:stCxn id="72" idx="6"/>
                  <a:endCxn id="116" idx="5"/>
                </p:cNvCxnSpPr>
                <p:nvPr/>
              </p:nvCxnSpPr>
              <p:spPr bwMode="auto">
                <a:xfrm flipV="1">
                  <a:off x="5094958" y="2411914"/>
                  <a:ext cx="1820907" cy="579810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" name="Straight Connector 13"/>
                <p:cNvCxnSpPr>
                  <a:stCxn id="73" idx="6"/>
                  <a:endCxn id="120" idx="5"/>
                </p:cNvCxnSpPr>
                <p:nvPr/>
              </p:nvCxnSpPr>
              <p:spPr bwMode="auto">
                <a:xfrm flipV="1">
                  <a:off x="5094958" y="2411914"/>
                  <a:ext cx="2305720" cy="666338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Straight Connector 14"/>
                <p:cNvCxnSpPr>
                  <a:stCxn id="78" idx="2"/>
                  <a:endCxn id="111" idx="6"/>
                </p:cNvCxnSpPr>
                <p:nvPr/>
              </p:nvCxnSpPr>
              <p:spPr bwMode="auto">
                <a:xfrm flipV="1">
                  <a:off x="6040547" y="2425305"/>
                  <a:ext cx="509363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" name="Straight Connector 15"/>
                <p:cNvCxnSpPr>
                  <a:stCxn id="80" idx="2"/>
                  <a:endCxn id="115" idx="6"/>
                </p:cNvCxnSpPr>
                <p:nvPr/>
              </p:nvCxnSpPr>
              <p:spPr bwMode="auto">
                <a:xfrm flipV="1">
                  <a:off x="6127074" y="2425305"/>
                  <a:ext cx="907648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Straight Connector 16"/>
                <p:cNvCxnSpPr>
                  <a:stCxn id="81" idx="2"/>
                  <a:endCxn id="119" idx="6"/>
                </p:cNvCxnSpPr>
                <p:nvPr/>
              </p:nvCxnSpPr>
              <p:spPr bwMode="auto">
                <a:xfrm flipV="1">
                  <a:off x="6213601" y="2425305"/>
                  <a:ext cx="1305934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Straight Connector 17"/>
                <p:cNvCxnSpPr>
                  <a:stCxn id="113" idx="7"/>
                  <a:endCxn id="83" idx="2"/>
                </p:cNvCxnSpPr>
                <p:nvPr/>
              </p:nvCxnSpPr>
              <p:spPr bwMode="auto">
                <a:xfrm>
                  <a:off x="6668766" y="2411914"/>
                  <a:ext cx="1321179" cy="502071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Straight Connector 18"/>
                <p:cNvCxnSpPr>
                  <a:stCxn id="117" idx="7"/>
                  <a:endCxn id="85" idx="2"/>
                </p:cNvCxnSpPr>
                <p:nvPr/>
              </p:nvCxnSpPr>
              <p:spPr bwMode="auto">
                <a:xfrm>
                  <a:off x="7153578" y="2411914"/>
                  <a:ext cx="836367" cy="415544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Straight Connector 19"/>
                <p:cNvCxnSpPr>
                  <a:stCxn id="121" idx="7"/>
                  <a:endCxn id="86" idx="2"/>
                </p:cNvCxnSpPr>
                <p:nvPr/>
              </p:nvCxnSpPr>
              <p:spPr bwMode="auto">
                <a:xfrm>
                  <a:off x="7638391" y="2411914"/>
                  <a:ext cx="351554" cy="329017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2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3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71392" y="3876723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4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7946870" y="2581323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21" name="Group 20"/>
                <p:cNvGrpSpPr/>
                <p:nvPr/>
              </p:nvGrpSpPr>
              <p:grpSpPr>
                <a:xfrm>
                  <a:off x="5847592" y="1965892"/>
                  <a:ext cx="1892694" cy="436538"/>
                  <a:chOff x="3581400" y="2152650"/>
                  <a:chExt cx="1892694" cy="436538"/>
                </a:xfrm>
              </p:grpSpPr>
              <p:pic>
                <p:nvPicPr>
                  <p:cNvPr id="25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814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6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40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466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292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8099085" y="2727759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57" name="Hexagon 5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2</a:t>
                    </a: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0" name="Hexagon 59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1</a:t>
                    </a:r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25003" y="4051536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3" name="Hexagon 62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3</a:t>
                    </a:r>
                  </a:p>
                </p:txBody>
              </p:sp>
            </p:grpSp>
          </p:grpSp>
        </p:grpSp>
        <p:grpSp>
          <p:nvGrpSpPr>
            <p:cNvPr id="76" name="Group 75"/>
            <p:cNvGrpSpPr/>
            <p:nvPr/>
          </p:nvGrpSpPr>
          <p:grpSpPr>
            <a:xfrm>
              <a:off x="5003518" y="2772950"/>
              <a:ext cx="91440" cy="351022"/>
              <a:chOff x="5003518" y="2858190"/>
              <a:chExt cx="91440" cy="351022"/>
            </a:xfrm>
          </p:grpSpPr>
          <p:sp>
            <p:nvSpPr>
              <p:cNvPr id="72" name="Oval 71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3" name="Oval 72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4" name="Oval 73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5" name="Oval 74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 rot="5400000">
              <a:off x="6038090" y="3713787"/>
              <a:ext cx="91440" cy="351022"/>
              <a:chOff x="5003518" y="2858190"/>
              <a:chExt cx="91440" cy="351022"/>
            </a:xfrm>
          </p:grpSpPr>
          <p:sp>
            <p:nvSpPr>
              <p:cNvPr id="78" name="Oval 77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9" name="Oval 78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0" name="Oval 79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1" name="Oval 80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7989945" y="2695211"/>
              <a:ext cx="91440" cy="351022"/>
              <a:chOff x="5003518" y="2858190"/>
              <a:chExt cx="91440" cy="351022"/>
            </a:xfrm>
          </p:grpSpPr>
          <p:sp>
            <p:nvSpPr>
              <p:cNvPr id="83" name="Oval 82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4" name="Oval 83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5" name="Oval 84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5400000">
              <a:off x="6023638" y="2247337"/>
              <a:ext cx="91440" cy="264495"/>
              <a:chOff x="5003518" y="2944717"/>
              <a:chExt cx="91440" cy="264495"/>
            </a:xfrm>
          </p:grpSpPr>
          <p:sp>
            <p:nvSpPr>
              <p:cNvPr id="106" name="Oval 105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7" name="Oval 106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8" name="Oval 107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5400000">
              <a:off x="6504189" y="2247337"/>
              <a:ext cx="91440" cy="264495"/>
              <a:chOff x="5003518" y="2944717"/>
              <a:chExt cx="91440" cy="264495"/>
            </a:xfrm>
          </p:grpSpPr>
          <p:sp>
            <p:nvSpPr>
              <p:cNvPr id="111" name="Oval 110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2" name="Oval 111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3" name="Oval 112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rot="5400000">
              <a:off x="6989001" y="2247337"/>
              <a:ext cx="91440" cy="264495"/>
              <a:chOff x="5003518" y="2944717"/>
              <a:chExt cx="91440" cy="264495"/>
            </a:xfrm>
          </p:grpSpPr>
          <p:sp>
            <p:nvSpPr>
              <p:cNvPr id="115" name="Oval 114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6" name="Oval 115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7" name="Oval 116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7473814" y="2247337"/>
              <a:ext cx="91440" cy="264495"/>
              <a:chOff x="5003518" y="2944717"/>
              <a:chExt cx="91440" cy="264495"/>
            </a:xfrm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0" name="Oval 119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1" name="Oval 120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</p:grpSp>
      <p:sp>
        <p:nvSpPr>
          <p:cNvPr id="70" name="Oval 69"/>
          <p:cNvSpPr/>
          <p:nvPr/>
        </p:nvSpPr>
        <p:spPr>
          <a:xfrm>
            <a:off x="8457518" y="2180466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736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FFFFFF"/>
                </a:solidFill>
              </a:rPr>
              <a:t>RP</a:t>
            </a:r>
          </a:p>
        </p:txBody>
      </p:sp>
      <p:sp>
        <p:nvSpPr>
          <p:cNvPr id="71" name="Oval 70"/>
          <p:cNvSpPr/>
          <p:nvPr/>
        </p:nvSpPr>
        <p:spPr>
          <a:xfrm>
            <a:off x="9088155" y="2180466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736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FFFFFF"/>
                </a:solidFill>
              </a:rPr>
              <a:t>RP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9207303" y="4987312"/>
            <a:ext cx="2294945" cy="365760"/>
            <a:chOff x="263007" y="4000993"/>
            <a:chExt cx="1721657" cy="274320"/>
          </a:xfrm>
        </p:grpSpPr>
        <p:sp>
          <p:nvSpPr>
            <p:cNvPr id="92" name="TextBox 91"/>
            <p:cNvSpPr txBox="1"/>
            <p:nvPr/>
          </p:nvSpPr>
          <p:spPr>
            <a:xfrm>
              <a:off x="588320" y="4018889"/>
              <a:ext cx="1396344" cy="23852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217366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rPr>
                <a:t>Rendezvous-Point</a:t>
              </a:r>
            </a:p>
          </p:txBody>
        </p:sp>
        <p:sp>
          <p:nvSpPr>
            <p:cNvPr id="93" name="Oval 92"/>
            <p:cNvSpPr/>
            <p:nvPr/>
          </p:nvSpPr>
          <p:spPr>
            <a:xfrm>
              <a:off x="263007" y="4000993"/>
              <a:ext cx="274320" cy="27432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2173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300" dirty="0">
                  <a:solidFill>
                    <a:srgbClr val="FFFFFF"/>
                  </a:solidFill>
                </a:rPr>
                <a:t>RP</a:t>
              </a:r>
            </a:p>
          </p:txBody>
        </p:sp>
      </p:grpSp>
      <p:cxnSp>
        <p:nvCxnSpPr>
          <p:cNvPr id="94" name="Straight Connector 93"/>
          <p:cNvCxnSpPr>
            <a:stCxn id="61" idx="3"/>
            <a:endCxn id="70" idx="4"/>
          </p:cNvCxnSpPr>
          <p:nvPr/>
        </p:nvCxnSpPr>
        <p:spPr>
          <a:xfrm flipV="1">
            <a:off x="6573694" y="2727061"/>
            <a:ext cx="2157051" cy="1208691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70" idx="4"/>
            <a:endCxn id="64" idx="0"/>
          </p:cNvCxnSpPr>
          <p:nvPr/>
        </p:nvCxnSpPr>
        <p:spPr>
          <a:xfrm flipH="1">
            <a:off x="8106746" y="2727060"/>
            <a:ext cx="623999" cy="2731784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stCxn id="70" idx="4"/>
            <a:endCxn id="58" idx="2"/>
          </p:cNvCxnSpPr>
          <p:nvPr/>
        </p:nvCxnSpPr>
        <p:spPr>
          <a:xfrm>
            <a:off x="8730744" y="2727061"/>
            <a:ext cx="2274022" cy="1262983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stCxn id="61" idx="0"/>
            <a:endCxn id="70" idx="3"/>
          </p:cNvCxnSpPr>
          <p:nvPr/>
        </p:nvCxnSpPr>
        <p:spPr>
          <a:xfrm flipV="1">
            <a:off x="6433956" y="2647013"/>
            <a:ext cx="2103588" cy="1140620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endCxn id="70" idx="3"/>
          </p:cNvCxnSpPr>
          <p:nvPr/>
        </p:nvCxnSpPr>
        <p:spPr>
          <a:xfrm flipV="1">
            <a:off x="7950121" y="2647025"/>
            <a:ext cx="587423" cy="2779719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stCxn id="70" idx="3"/>
          </p:cNvCxnSpPr>
          <p:nvPr/>
        </p:nvCxnSpPr>
        <p:spPr>
          <a:xfrm>
            <a:off x="8537544" y="2647057"/>
            <a:ext cx="2266311" cy="1078321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60" idx="1"/>
            <a:endCxn id="70" idx="5"/>
          </p:cNvCxnSpPr>
          <p:nvPr/>
        </p:nvCxnSpPr>
        <p:spPr>
          <a:xfrm flipV="1">
            <a:off x="6537562" y="2647057"/>
            <a:ext cx="2386382" cy="1498353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stCxn id="70" idx="5"/>
          </p:cNvCxnSpPr>
          <p:nvPr/>
        </p:nvCxnSpPr>
        <p:spPr>
          <a:xfrm flipH="1">
            <a:off x="8304825" y="2647015"/>
            <a:ext cx="619121" cy="2803908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>
            <a:stCxn id="58" idx="0"/>
            <a:endCxn id="70" idx="5"/>
          </p:cNvCxnSpPr>
          <p:nvPr/>
        </p:nvCxnSpPr>
        <p:spPr>
          <a:xfrm flipH="1" flipV="1">
            <a:off x="8923944" y="2647014"/>
            <a:ext cx="2080822" cy="1046795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39297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ulticast Enabled </a:t>
            </a:r>
            <a:r>
              <a:rPr lang="en-US" dirty="0" smtClean="0"/>
              <a:t>Underlay – PIM AS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2100" dirty="0"/>
              <a:t>PIM Sparse-Mode (ASM)</a:t>
            </a:r>
          </a:p>
          <a:p>
            <a:r>
              <a:rPr lang="en-US" sz="2100" dirty="0"/>
              <a:t>Redundant Rendezvous-Point using PIM </a:t>
            </a:r>
            <a:r>
              <a:rPr lang="en-US" sz="2100" dirty="0" err="1"/>
              <a:t>Anycast</a:t>
            </a:r>
            <a:r>
              <a:rPr lang="en-US" sz="2100" dirty="0"/>
              <a:t>-RP or MSDP</a:t>
            </a:r>
          </a:p>
          <a:p>
            <a:r>
              <a:rPr lang="en-US" sz="2100" dirty="0"/>
              <a:t>Source-Tree or Unidirectional Shared-Tree (Source-Tree shown)</a:t>
            </a:r>
          </a:p>
          <a:p>
            <a:pPr lvl="1"/>
            <a:r>
              <a:rPr lang="en-US" sz="1900" dirty="0"/>
              <a:t>Shared-Tree will always use RP for forwarding</a:t>
            </a:r>
          </a:p>
          <a:p>
            <a:r>
              <a:rPr lang="en-US" sz="2100" dirty="0"/>
              <a:t>1 Source-Tree per Multicast-Group per VTEP (each VTEP is Source &amp; Receiver)</a:t>
            </a:r>
          </a:p>
          <a:p>
            <a:r>
              <a:rPr lang="en-US" sz="2100" dirty="0"/>
              <a:t>Example from depicted topology</a:t>
            </a:r>
          </a:p>
          <a:p>
            <a:pPr lvl="1"/>
            <a:r>
              <a:rPr lang="en-US" sz="1900" dirty="0"/>
              <a:t>3 VTEPs sharing same VNI and Multicast-Group mapping (single Multicast-Group)</a:t>
            </a:r>
          </a:p>
          <a:p>
            <a:pPr lvl="1"/>
            <a:r>
              <a:rPr lang="en-US" sz="1900" dirty="0"/>
              <a:t>3x Source-Tree (1 per VTEP per Multicast-Group)</a:t>
            </a:r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  <a:p>
            <a:endParaRPr lang="en-US" sz="21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Und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7</a:t>
            </a:fld>
            <a:endParaRPr dirty="0">
              <a:solidFill>
                <a:srgbClr val="595959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5462192" y="1706789"/>
            <a:ext cx="6293486" cy="4267200"/>
            <a:chOff x="4096520" y="1280092"/>
            <a:chExt cx="4721344" cy="3200400"/>
          </a:xfrm>
        </p:grpSpPr>
        <p:grpSp>
          <p:nvGrpSpPr>
            <p:cNvPr id="69" name="Group 68"/>
            <p:cNvGrpSpPr/>
            <p:nvPr/>
          </p:nvGrpSpPr>
          <p:grpSpPr>
            <a:xfrm>
              <a:off x="4096520" y="1280092"/>
              <a:ext cx="4721344" cy="3200400"/>
              <a:chOff x="4096520" y="1280092"/>
              <a:chExt cx="4721344" cy="3200400"/>
            </a:xfrm>
          </p:grpSpPr>
          <p:sp>
            <p:nvSpPr>
              <p:cNvPr id="8" name="Freeform 6"/>
              <p:cNvSpPr>
                <a:spLocks noChangeAspect="1"/>
              </p:cNvSpPr>
              <p:nvPr/>
            </p:nvSpPr>
            <p:spPr bwMode="auto">
              <a:xfrm>
                <a:off x="4096520" y="1280092"/>
                <a:ext cx="4721344" cy="2743200"/>
              </a:xfrm>
              <a:custGeom>
                <a:avLst/>
                <a:gdLst>
                  <a:gd name="T0" fmla="*/ 2096 w 2396"/>
                  <a:gd name="T1" fmla="*/ 792 h 1392"/>
                  <a:gd name="T2" fmla="*/ 2093 w 2396"/>
                  <a:gd name="T3" fmla="*/ 792 h 1392"/>
                  <a:gd name="T4" fmla="*/ 2096 w 2396"/>
                  <a:gd name="T5" fmla="*/ 759 h 1392"/>
                  <a:gd name="T6" fmla="*/ 1904 w 2396"/>
                  <a:gd name="T7" fmla="*/ 570 h 1392"/>
                  <a:gd name="T8" fmla="*/ 1868 w 2396"/>
                  <a:gd name="T9" fmla="*/ 573 h 1392"/>
                  <a:gd name="T10" fmla="*/ 1886 w 2396"/>
                  <a:gd name="T11" fmla="*/ 459 h 1392"/>
                  <a:gd name="T12" fmla="*/ 1370 w 2396"/>
                  <a:gd name="T13" fmla="*/ 0 h 1392"/>
                  <a:gd name="T14" fmla="*/ 864 w 2396"/>
                  <a:gd name="T15" fmla="*/ 372 h 1392"/>
                  <a:gd name="T16" fmla="*/ 687 w 2396"/>
                  <a:gd name="T17" fmla="*/ 306 h 1392"/>
                  <a:gd name="T18" fmla="*/ 414 w 2396"/>
                  <a:gd name="T19" fmla="*/ 582 h 1392"/>
                  <a:gd name="T20" fmla="*/ 414 w 2396"/>
                  <a:gd name="T21" fmla="*/ 597 h 1392"/>
                  <a:gd name="T22" fmla="*/ 399 w 2396"/>
                  <a:gd name="T23" fmla="*/ 594 h 1392"/>
                  <a:gd name="T24" fmla="*/ 0 w 2396"/>
                  <a:gd name="T25" fmla="*/ 993 h 1392"/>
                  <a:gd name="T26" fmla="*/ 399 w 2396"/>
                  <a:gd name="T27" fmla="*/ 1392 h 1392"/>
                  <a:gd name="T28" fmla="*/ 2096 w 2396"/>
                  <a:gd name="T29" fmla="*/ 1392 h 1392"/>
                  <a:gd name="T30" fmla="*/ 2396 w 2396"/>
                  <a:gd name="T31" fmla="*/ 1092 h 1392"/>
                  <a:gd name="T32" fmla="*/ 2096 w 2396"/>
                  <a:gd name="T33" fmla="*/ 792 h 1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396" h="1392">
                    <a:moveTo>
                      <a:pt x="2096" y="792"/>
                    </a:moveTo>
                    <a:cubicBezTo>
                      <a:pt x="2093" y="792"/>
                      <a:pt x="2093" y="792"/>
                      <a:pt x="2093" y="792"/>
                    </a:cubicBezTo>
                    <a:cubicBezTo>
                      <a:pt x="2093" y="780"/>
                      <a:pt x="2096" y="771"/>
                      <a:pt x="2096" y="759"/>
                    </a:cubicBezTo>
                    <a:cubicBezTo>
                      <a:pt x="2096" y="654"/>
                      <a:pt x="2009" y="570"/>
                      <a:pt x="1904" y="570"/>
                    </a:cubicBezTo>
                    <a:cubicBezTo>
                      <a:pt x="1892" y="570"/>
                      <a:pt x="1880" y="570"/>
                      <a:pt x="1868" y="573"/>
                    </a:cubicBezTo>
                    <a:cubicBezTo>
                      <a:pt x="1880" y="537"/>
                      <a:pt x="1886" y="498"/>
                      <a:pt x="1886" y="459"/>
                    </a:cubicBezTo>
                    <a:cubicBezTo>
                      <a:pt x="1886" y="207"/>
                      <a:pt x="1655" y="0"/>
                      <a:pt x="1370" y="0"/>
                    </a:cubicBezTo>
                    <a:cubicBezTo>
                      <a:pt x="1118" y="0"/>
                      <a:pt x="912" y="159"/>
                      <a:pt x="864" y="372"/>
                    </a:cubicBezTo>
                    <a:cubicBezTo>
                      <a:pt x="816" y="330"/>
                      <a:pt x="756" y="306"/>
                      <a:pt x="687" y="306"/>
                    </a:cubicBezTo>
                    <a:cubicBezTo>
                      <a:pt x="537" y="306"/>
                      <a:pt x="414" y="429"/>
                      <a:pt x="414" y="582"/>
                    </a:cubicBezTo>
                    <a:cubicBezTo>
                      <a:pt x="414" y="585"/>
                      <a:pt x="414" y="591"/>
                      <a:pt x="414" y="597"/>
                    </a:cubicBezTo>
                    <a:cubicBezTo>
                      <a:pt x="399" y="594"/>
                      <a:pt x="399" y="594"/>
                      <a:pt x="399" y="594"/>
                    </a:cubicBezTo>
                    <a:cubicBezTo>
                      <a:pt x="177" y="594"/>
                      <a:pt x="0" y="771"/>
                      <a:pt x="0" y="993"/>
                    </a:cubicBezTo>
                    <a:cubicBezTo>
                      <a:pt x="0" y="1212"/>
                      <a:pt x="177" y="1392"/>
                      <a:pt x="399" y="1392"/>
                    </a:cubicBezTo>
                    <a:cubicBezTo>
                      <a:pt x="2096" y="1392"/>
                      <a:pt x="2096" y="1392"/>
                      <a:pt x="2096" y="1392"/>
                    </a:cubicBezTo>
                    <a:cubicBezTo>
                      <a:pt x="2261" y="1392"/>
                      <a:pt x="2396" y="1257"/>
                      <a:pt x="2396" y="1092"/>
                    </a:cubicBezTo>
                    <a:cubicBezTo>
                      <a:pt x="2396" y="927"/>
                      <a:pt x="2261" y="792"/>
                      <a:pt x="2096" y="79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  <a:alpha val="70000"/>
                </a:schemeClr>
              </a:solidFill>
              <a:ln w="3175" cmpd="sng">
                <a:solidFill>
                  <a:schemeClr val="tx1"/>
                </a:solidFill>
              </a:ln>
              <a:scene3d>
                <a:camera prst="isometricTopUp"/>
                <a:lightRig rig="threePt" dir="t"/>
              </a:scene3d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000000"/>
                  </a:solidFill>
                  <a:latin typeface="Arial"/>
                  <a:ea typeface="Apple LiGothic Medium"/>
                  <a:cs typeface="Cambria"/>
                </a:endParaRPr>
              </a:p>
              <a:p>
                <a:pPr algn="ctr" defTabSz="1217111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400" dirty="0">
                    <a:solidFill>
                      <a:srgbClr val="000000"/>
                    </a:solidFill>
                    <a:latin typeface="Arial"/>
                    <a:ea typeface="Apple LiGothic Medium"/>
                    <a:cs typeface="Cambria"/>
                  </a:rPr>
                  <a:t>PIM ASM</a:t>
                </a:r>
              </a:p>
            </p:txBody>
          </p:sp>
          <p:grpSp>
            <p:nvGrpSpPr>
              <p:cNvPr id="68" name="Group 67"/>
              <p:cNvGrpSpPr/>
              <p:nvPr/>
            </p:nvGrpSpPr>
            <p:grpSpPr>
              <a:xfrm>
                <a:off x="4517870" y="1965892"/>
                <a:ext cx="4044327" cy="2514600"/>
                <a:chOff x="4517870" y="1965892"/>
                <a:chExt cx="4044327" cy="2514600"/>
              </a:xfrm>
            </p:grpSpPr>
            <p:cxnSp>
              <p:nvCxnSpPr>
                <p:cNvPr id="9" name="Straight Connector 8"/>
                <p:cNvCxnSpPr>
                  <a:stCxn id="75" idx="5"/>
                  <a:endCxn id="107" idx="5"/>
                </p:cNvCxnSpPr>
                <p:nvPr/>
              </p:nvCxnSpPr>
              <p:spPr bwMode="auto">
                <a:xfrm flipV="1">
                  <a:off x="5081567" y="2411914"/>
                  <a:ext cx="868935" cy="439085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" name="Straight Connector 9"/>
                <p:cNvCxnSpPr>
                  <a:stCxn id="79" idx="2"/>
                  <a:endCxn id="106" idx="6"/>
                </p:cNvCxnSpPr>
                <p:nvPr/>
              </p:nvCxnSpPr>
              <p:spPr bwMode="auto">
                <a:xfrm flipV="1">
                  <a:off x="5954019" y="2425305"/>
                  <a:ext cx="115340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" name="Straight Connector 10"/>
                <p:cNvCxnSpPr>
                  <a:stCxn id="108" idx="7"/>
                  <a:endCxn id="84" idx="2"/>
                </p:cNvCxnSpPr>
                <p:nvPr/>
              </p:nvCxnSpPr>
              <p:spPr bwMode="auto">
                <a:xfrm>
                  <a:off x="6188215" y="2411914"/>
                  <a:ext cx="1801730" cy="588599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2" name="Straight Connector 11"/>
                <p:cNvCxnSpPr>
                  <a:stCxn id="74" idx="6"/>
                  <a:endCxn id="112" idx="5"/>
                </p:cNvCxnSpPr>
                <p:nvPr/>
              </p:nvCxnSpPr>
              <p:spPr bwMode="auto">
                <a:xfrm flipV="1">
                  <a:off x="5094958" y="2411914"/>
                  <a:ext cx="1336095" cy="49328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3" name="Straight Connector 12"/>
                <p:cNvCxnSpPr>
                  <a:stCxn id="72" idx="6"/>
                  <a:endCxn id="116" idx="5"/>
                </p:cNvCxnSpPr>
                <p:nvPr/>
              </p:nvCxnSpPr>
              <p:spPr bwMode="auto">
                <a:xfrm flipV="1">
                  <a:off x="5094958" y="2411914"/>
                  <a:ext cx="1820907" cy="579810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4" name="Straight Connector 13"/>
                <p:cNvCxnSpPr>
                  <a:stCxn id="73" idx="6"/>
                  <a:endCxn id="120" idx="5"/>
                </p:cNvCxnSpPr>
                <p:nvPr/>
              </p:nvCxnSpPr>
              <p:spPr bwMode="auto">
                <a:xfrm flipV="1">
                  <a:off x="5094958" y="2411914"/>
                  <a:ext cx="2305720" cy="666338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5" name="Straight Connector 14"/>
                <p:cNvCxnSpPr>
                  <a:stCxn id="78" idx="2"/>
                  <a:endCxn id="111" idx="6"/>
                </p:cNvCxnSpPr>
                <p:nvPr/>
              </p:nvCxnSpPr>
              <p:spPr bwMode="auto">
                <a:xfrm flipV="1">
                  <a:off x="6040547" y="2425305"/>
                  <a:ext cx="509363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6" name="Straight Connector 15"/>
                <p:cNvCxnSpPr>
                  <a:stCxn id="80" idx="2"/>
                  <a:endCxn id="115" idx="6"/>
                </p:cNvCxnSpPr>
                <p:nvPr/>
              </p:nvCxnSpPr>
              <p:spPr bwMode="auto">
                <a:xfrm flipV="1">
                  <a:off x="6127074" y="2425305"/>
                  <a:ext cx="907648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7" name="Straight Connector 16"/>
                <p:cNvCxnSpPr>
                  <a:stCxn id="81" idx="2"/>
                  <a:endCxn id="119" idx="6"/>
                </p:cNvCxnSpPr>
                <p:nvPr/>
              </p:nvCxnSpPr>
              <p:spPr bwMode="auto">
                <a:xfrm flipV="1">
                  <a:off x="6213601" y="2425305"/>
                  <a:ext cx="1305934" cy="1418273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rgbClr val="9A9B9C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8" name="Straight Connector 17"/>
                <p:cNvCxnSpPr>
                  <a:stCxn id="113" idx="7"/>
                  <a:endCxn id="83" idx="2"/>
                </p:cNvCxnSpPr>
                <p:nvPr/>
              </p:nvCxnSpPr>
              <p:spPr bwMode="auto">
                <a:xfrm>
                  <a:off x="6668766" y="2411914"/>
                  <a:ext cx="1321179" cy="502071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9" name="Straight Connector 18"/>
                <p:cNvCxnSpPr>
                  <a:stCxn id="117" idx="7"/>
                  <a:endCxn id="85" idx="2"/>
                </p:cNvCxnSpPr>
                <p:nvPr/>
              </p:nvCxnSpPr>
              <p:spPr bwMode="auto">
                <a:xfrm>
                  <a:off x="7153578" y="2411914"/>
                  <a:ext cx="836367" cy="415544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20" name="Straight Connector 19"/>
                <p:cNvCxnSpPr>
                  <a:stCxn id="121" idx="7"/>
                  <a:endCxn id="86" idx="2"/>
                </p:cNvCxnSpPr>
                <p:nvPr/>
              </p:nvCxnSpPr>
              <p:spPr bwMode="auto">
                <a:xfrm>
                  <a:off x="7638391" y="2411914"/>
                  <a:ext cx="351554" cy="329017"/>
                </a:xfrm>
                <a:prstGeom prst="line">
                  <a:avLst/>
                </a:prstGeom>
                <a:solidFill>
                  <a:srgbClr val="0183B7"/>
                </a:solidFill>
                <a:ln w="3175" cap="flat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pic>
              <p:nvPicPr>
                <p:cNvPr id="22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4517870" y="2651692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3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71392" y="3876723"/>
                  <a:ext cx="615327" cy="603769"/>
                </a:xfrm>
                <a:prstGeom prst="rect">
                  <a:avLst/>
                </a:prstGeom>
                <a:noFill/>
              </p:spPr>
            </p:pic>
            <p:pic>
              <p:nvPicPr>
                <p:cNvPr id="24" name="Picture 30" descr="\\MV-FS\Projects\Cisco\References\Brand Assets\Kubrick Icons\Device Icons\Device_nexus7000_3035_default_256.png"/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7946870" y="2581323"/>
                  <a:ext cx="615327" cy="603769"/>
                </a:xfrm>
                <a:prstGeom prst="rect">
                  <a:avLst/>
                </a:prstGeom>
                <a:noFill/>
              </p:spPr>
            </p:pic>
            <p:grpSp>
              <p:nvGrpSpPr>
                <p:cNvPr id="21" name="Group 20"/>
                <p:cNvGrpSpPr/>
                <p:nvPr/>
              </p:nvGrpSpPr>
              <p:grpSpPr>
                <a:xfrm>
                  <a:off x="5847592" y="1965892"/>
                  <a:ext cx="1892694" cy="436538"/>
                  <a:chOff x="3581400" y="2152650"/>
                  <a:chExt cx="1892694" cy="436538"/>
                </a:xfrm>
              </p:grpSpPr>
              <p:pic>
                <p:nvPicPr>
                  <p:cNvPr id="25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5814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6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0640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7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5466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  <p:pic>
                <p:nvPicPr>
                  <p:cNvPr id="28" name="Picture 30" descr="\\MV-FS\Projects\Cisco\References\Brand Assets\Kubrick Icons\Device Icons\Device_nexus7000_3035_default_256.png"/>
                  <p:cNvPicPr>
                    <a:picLocks noChangeAspect="1" noChangeArrowheads="1"/>
                  </p:cNvPicPr>
                  <p:nvPr/>
                </p:nvPicPr>
                <p:blipFill>
                  <a:blip r:embed="rId2" cstate="print">
                    <a:alphaModFix amt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029200" y="2152650"/>
                    <a:ext cx="444894" cy="436538"/>
                  </a:xfrm>
                  <a:prstGeom prst="rect">
                    <a:avLst/>
                  </a:prstGeom>
                  <a:noFill/>
                </p:spPr>
              </p:pic>
            </p:grpSp>
            <p:grpSp>
              <p:nvGrpSpPr>
                <p:cNvPr id="56" name="Group 55"/>
                <p:cNvGrpSpPr/>
                <p:nvPr/>
              </p:nvGrpSpPr>
              <p:grpSpPr>
                <a:xfrm>
                  <a:off x="8099085" y="2727759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57" name="Hexagon 56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2</a:t>
                    </a:r>
                  </a:p>
                </p:txBody>
              </p: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4670085" y="2798128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0" name="Hexagon 59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1" name="TextBox 60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1</a:t>
                    </a:r>
                  </a:p>
                </p:txBody>
              </p:sp>
            </p:grpSp>
            <p:grpSp>
              <p:nvGrpSpPr>
                <p:cNvPr id="62" name="Group 61"/>
                <p:cNvGrpSpPr/>
                <p:nvPr/>
              </p:nvGrpSpPr>
              <p:grpSpPr>
                <a:xfrm>
                  <a:off x="5925003" y="4051536"/>
                  <a:ext cx="310896" cy="310896"/>
                  <a:chOff x="3200400" y="3562350"/>
                  <a:chExt cx="310896" cy="310896"/>
                </a:xfrm>
              </p:grpSpPr>
              <p:sp>
                <p:nvSpPr>
                  <p:cNvPr id="63" name="Hexagon 62"/>
                  <p:cNvSpPr/>
                  <p:nvPr/>
                </p:nvSpPr>
                <p:spPr bwMode="auto">
                  <a:xfrm>
                    <a:off x="3200400" y="3562350"/>
                    <a:ext cx="310896" cy="310896"/>
                  </a:xfrm>
                  <a:prstGeom prst="hexagon">
                    <a:avLst/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12700">
                    <a:solidFill>
                      <a:schemeClr val="accent3">
                        <a:lumMod val="75000"/>
                      </a:schemeClr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36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400" b="1" dirty="0" err="1">
                      <a:solidFill>
                        <a:srgbClr val="FFFFFF"/>
                      </a:solidFill>
                      <a:sym typeface="Arial" pitchFamily="-107" charset="0"/>
                    </a:endParaRPr>
                  </a:p>
                </p:txBody>
              </p:sp>
              <p:sp>
                <p:nvSpPr>
                  <p:cNvPr id="64" name="TextBox 63"/>
                  <p:cNvSpPr txBox="1"/>
                  <p:nvPr/>
                </p:nvSpPr>
                <p:spPr>
                  <a:xfrm>
                    <a:off x="3251018" y="3604947"/>
                    <a:ext cx="209660" cy="222176"/>
                  </a:xfrm>
                  <a:prstGeom prst="rect">
                    <a:avLst/>
                  </a:prstGeom>
                  <a:noFill/>
                </p:spPr>
                <p:txBody>
                  <a:bodyPr wrap="none" lIns="0" tIns="0" rIns="0" bIns="0" rtlCol="0">
                    <a:spAutoFit/>
                  </a:bodyPr>
                  <a:lstStyle/>
                  <a:p>
                    <a:pPr algn="ctr" defTabSz="1217366" fontAlgn="auto">
                      <a:lnSpc>
                        <a:spcPct val="90000"/>
                      </a:lnSpc>
                      <a:spcBef>
                        <a:spcPts val="800"/>
                      </a:spcBef>
                      <a:spcAft>
                        <a:spcPts val="0"/>
                      </a:spcAft>
                    </a:pPr>
                    <a:r>
                      <a:rPr lang="en-US" sz="2100" b="1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V</a:t>
                    </a:r>
                    <a:r>
                      <a:rPr lang="en-US" sz="2100" b="1" baseline="30000" dirty="0">
                        <a:solidFill>
                          <a:srgbClr val="FFFFFF"/>
                        </a:solidFill>
                        <a:latin typeface="Arial"/>
                        <a:ea typeface="Apple LiGothic Medium"/>
                        <a:cs typeface="Arial"/>
                      </a:rPr>
                      <a:t>3</a:t>
                    </a:r>
                  </a:p>
                </p:txBody>
              </p:sp>
            </p:grpSp>
          </p:grpSp>
        </p:grpSp>
        <p:grpSp>
          <p:nvGrpSpPr>
            <p:cNvPr id="76" name="Group 75"/>
            <p:cNvGrpSpPr/>
            <p:nvPr/>
          </p:nvGrpSpPr>
          <p:grpSpPr>
            <a:xfrm>
              <a:off x="5003518" y="2772950"/>
              <a:ext cx="91440" cy="351022"/>
              <a:chOff x="5003518" y="2858190"/>
              <a:chExt cx="91440" cy="351022"/>
            </a:xfrm>
          </p:grpSpPr>
          <p:sp>
            <p:nvSpPr>
              <p:cNvPr id="72" name="Oval 71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3" name="Oval 72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4" name="Oval 73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5" name="Oval 74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 rot="5400000">
              <a:off x="6038090" y="3713787"/>
              <a:ext cx="91440" cy="351022"/>
              <a:chOff x="5003518" y="2858190"/>
              <a:chExt cx="91440" cy="351022"/>
            </a:xfrm>
          </p:grpSpPr>
          <p:sp>
            <p:nvSpPr>
              <p:cNvPr id="78" name="Oval 77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79" name="Oval 78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0" name="Oval 79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1" name="Oval 80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82" name="Group 81"/>
            <p:cNvGrpSpPr/>
            <p:nvPr/>
          </p:nvGrpSpPr>
          <p:grpSpPr>
            <a:xfrm>
              <a:off x="7989945" y="2695211"/>
              <a:ext cx="91440" cy="351022"/>
              <a:chOff x="5003518" y="2858190"/>
              <a:chExt cx="91440" cy="351022"/>
            </a:xfrm>
          </p:grpSpPr>
          <p:sp>
            <p:nvSpPr>
              <p:cNvPr id="83" name="Oval 82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4" name="Oval 83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5" name="Oval 84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86" name="Oval 85"/>
              <p:cNvSpPr>
                <a:spLocks noChangeAspect="1"/>
              </p:cNvSpPr>
              <p:nvPr/>
            </p:nvSpPr>
            <p:spPr bwMode="auto">
              <a:xfrm>
                <a:off x="5003518" y="2858190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5400000">
              <a:off x="6023638" y="2247337"/>
              <a:ext cx="91440" cy="264495"/>
              <a:chOff x="5003518" y="2944717"/>
              <a:chExt cx="91440" cy="264495"/>
            </a:xfrm>
          </p:grpSpPr>
          <p:sp>
            <p:nvSpPr>
              <p:cNvPr id="106" name="Oval 105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7" name="Oval 106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08" name="Oval 107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5400000">
              <a:off x="6504189" y="2247337"/>
              <a:ext cx="91440" cy="264495"/>
              <a:chOff x="5003518" y="2944717"/>
              <a:chExt cx="91440" cy="264495"/>
            </a:xfrm>
          </p:grpSpPr>
          <p:sp>
            <p:nvSpPr>
              <p:cNvPr id="111" name="Oval 110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2" name="Oval 111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3" name="Oval 112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4" name="Group 113"/>
            <p:cNvGrpSpPr/>
            <p:nvPr/>
          </p:nvGrpSpPr>
          <p:grpSpPr>
            <a:xfrm rot="5400000">
              <a:off x="6989001" y="2247337"/>
              <a:ext cx="91440" cy="264495"/>
              <a:chOff x="5003518" y="2944717"/>
              <a:chExt cx="91440" cy="264495"/>
            </a:xfrm>
          </p:grpSpPr>
          <p:sp>
            <p:nvSpPr>
              <p:cNvPr id="115" name="Oval 114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6" name="Oval 115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17" name="Oval 116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  <p:grpSp>
          <p:nvGrpSpPr>
            <p:cNvPr id="118" name="Group 117"/>
            <p:cNvGrpSpPr/>
            <p:nvPr/>
          </p:nvGrpSpPr>
          <p:grpSpPr>
            <a:xfrm rot="5400000">
              <a:off x="7473814" y="2247337"/>
              <a:ext cx="91440" cy="264495"/>
              <a:chOff x="5003518" y="2944717"/>
              <a:chExt cx="91440" cy="264495"/>
            </a:xfrm>
          </p:grpSpPr>
          <p:sp>
            <p:nvSpPr>
              <p:cNvPr id="119" name="Oval 118"/>
              <p:cNvSpPr>
                <a:spLocks noChangeAspect="1"/>
              </p:cNvSpPr>
              <p:nvPr/>
            </p:nvSpPr>
            <p:spPr bwMode="auto">
              <a:xfrm>
                <a:off x="5003518" y="3031244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0" name="Oval 119"/>
              <p:cNvSpPr>
                <a:spLocks noChangeAspect="1"/>
              </p:cNvSpPr>
              <p:nvPr/>
            </p:nvSpPr>
            <p:spPr bwMode="auto">
              <a:xfrm>
                <a:off x="5003518" y="3117772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121" name="Oval 120"/>
              <p:cNvSpPr>
                <a:spLocks noChangeAspect="1"/>
              </p:cNvSpPr>
              <p:nvPr/>
            </p:nvSpPr>
            <p:spPr bwMode="auto">
              <a:xfrm>
                <a:off x="5003518" y="2944717"/>
                <a:ext cx="91440" cy="91440"/>
              </a:xfrm>
              <a:prstGeom prst="ellipse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684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dirty="0" err="1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</p:grpSp>
      </p:grpSp>
      <p:sp>
        <p:nvSpPr>
          <p:cNvPr id="70" name="Oval 69"/>
          <p:cNvSpPr/>
          <p:nvPr/>
        </p:nvSpPr>
        <p:spPr>
          <a:xfrm>
            <a:off x="8457518" y="2180466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736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FFFFFF"/>
                </a:solidFill>
              </a:rPr>
              <a:t>RP</a:t>
            </a:r>
          </a:p>
        </p:txBody>
      </p:sp>
      <p:sp>
        <p:nvSpPr>
          <p:cNvPr id="71" name="Oval 70"/>
          <p:cNvSpPr/>
          <p:nvPr/>
        </p:nvSpPr>
        <p:spPr>
          <a:xfrm>
            <a:off x="9088155" y="2180466"/>
            <a:ext cx="546452" cy="54659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21736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>
                <a:solidFill>
                  <a:srgbClr val="FFFFFF"/>
                </a:solidFill>
              </a:rPr>
              <a:t>RP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9207303" y="4987312"/>
            <a:ext cx="2294945" cy="365760"/>
            <a:chOff x="263007" y="4000993"/>
            <a:chExt cx="1721657" cy="274320"/>
          </a:xfrm>
        </p:grpSpPr>
        <p:sp>
          <p:nvSpPr>
            <p:cNvPr id="92" name="TextBox 91"/>
            <p:cNvSpPr txBox="1"/>
            <p:nvPr/>
          </p:nvSpPr>
          <p:spPr>
            <a:xfrm>
              <a:off x="588320" y="4018889"/>
              <a:ext cx="1396344" cy="23852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1217366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rPr>
                <a:t>Rendezvous-Point</a:t>
              </a:r>
            </a:p>
          </p:txBody>
        </p:sp>
        <p:sp>
          <p:nvSpPr>
            <p:cNvPr id="93" name="Oval 92"/>
            <p:cNvSpPr/>
            <p:nvPr/>
          </p:nvSpPr>
          <p:spPr>
            <a:xfrm>
              <a:off x="263007" y="4000993"/>
              <a:ext cx="274320" cy="27432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1217366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300" dirty="0">
                  <a:solidFill>
                    <a:srgbClr val="FFFFFF"/>
                  </a:solidFill>
                </a:rPr>
                <a:t>RP</a:t>
              </a:r>
            </a:p>
          </p:txBody>
        </p:sp>
      </p:grpSp>
      <p:cxnSp>
        <p:nvCxnSpPr>
          <p:cNvPr id="94" name="Straight Connector 93"/>
          <p:cNvCxnSpPr>
            <a:stCxn id="61" idx="3"/>
            <a:endCxn id="70" idx="4"/>
          </p:cNvCxnSpPr>
          <p:nvPr/>
        </p:nvCxnSpPr>
        <p:spPr>
          <a:xfrm flipV="1">
            <a:off x="6573694" y="2727061"/>
            <a:ext cx="2157051" cy="1208691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stCxn id="70" idx="4"/>
            <a:endCxn id="64" idx="0"/>
          </p:cNvCxnSpPr>
          <p:nvPr/>
        </p:nvCxnSpPr>
        <p:spPr>
          <a:xfrm flipH="1">
            <a:off x="8106746" y="2727060"/>
            <a:ext cx="623999" cy="2731784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stCxn id="70" idx="4"/>
            <a:endCxn id="58" idx="2"/>
          </p:cNvCxnSpPr>
          <p:nvPr/>
        </p:nvCxnSpPr>
        <p:spPr>
          <a:xfrm>
            <a:off x="8730744" y="2727061"/>
            <a:ext cx="2274022" cy="1262983"/>
          </a:xfrm>
          <a:prstGeom prst="line">
            <a:avLst/>
          </a:prstGeom>
          <a:ln w="38100" cmpd="sng">
            <a:solidFill>
              <a:srgbClr val="FF6600"/>
            </a:solidFill>
            <a:prstDash val="solid"/>
            <a:headEnd type="none"/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stCxn id="61" idx="0"/>
            <a:endCxn id="70" idx="3"/>
          </p:cNvCxnSpPr>
          <p:nvPr/>
        </p:nvCxnSpPr>
        <p:spPr>
          <a:xfrm flipV="1">
            <a:off x="6433956" y="2647013"/>
            <a:ext cx="2103588" cy="1140620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endCxn id="70" idx="3"/>
          </p:cNvCxnSpPr>
          <p:nvPr/>
        </p:nvCxnSpPr>
        <p:spPr>
          <a:xfrm flipV="1">
            <a:off x="7950121" y="2647025"/>
            <a:ext cx="587423" cy="2779719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stCxn id="70" idx="3"/>
          </p:cNvCxnSpPr>
          <p:nvPr/>
        </p:nvCxnSpPr>
        <p:spPr>
          <a:xfrm>
            <a:off x="8537544" y="2647057"/>
            <a:ext cx="2266311" cy="1078321"/>
          </a:xfrm>
          <a:prstGeom prst="line">
            <a:avLst/>
          </a:prstGeom>
          <a:ln w="38100" cmpd="sng">
            <a:solidFill>
              <a:srgbClr val="DEA9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>
            <a:stCxn id="60" idx="1"/>
            <a:endCxn id="70" idx="5"/>
          </p:cNvCxnSpPr>
          <p:nvPr/>
        </p:nvCxnSpPr>
        <p:spPr>
          <a:xfrm flipV="1">
            <a:off x="6537562" y="2647057"/>
            <a:ext cx="2386382" cy="1498353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>
            <a:stCxn id="70" idx="5"/>
          </p:cNvCxnSpPr>
          <p:nvPr/>
        </p:nvCxnSpPr>
        <p:spPr>
          <a:xfrm flipH="1">
            <a:off x="8304825" y="2647015"/>
            <a:ext cx="619121" cy="2803908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>
            <a:stCxn id="58" idx="0"/>
            <a:endCxn id="70" idx="5"/>
          </p:cNvCxnSpPr>
          <p:nvPr/>
        </p:nvCxnSpPr>
        <p:spPr>
          <a:xfrm flipH="1" flipV="1">
            <a:off x="8923944" y="2647014"/>
            <a:ext cx="2080822" cy="1046795"/>
          </a:xfrm>
          <a:prstGeom prst="line">
            <a:avLst/>
          </a:prstGeom>
          <a:ln w="38100" cmpd="sng">
            <a:solidFill>
              <a:srgbClr val="008000"/>
            </a:solidFill>
            <a:headEnd type="triangle" w="lg" len="lg"/>
            <a:tailEnd type="non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67627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ed </a:t>
            </a:r>
            <a:r>
              <a:rPr lang="en-US" dirty="0" smtClean="0"/>
              <a:t>IP </a:t>
            </a:r>
            <a:r>
              <a:rPr lang="en-US" dirty="0" err="1" smtClean="0"/>
              <a:t>Anycast</a:t>
            </a:r>
            <a:r>
              <a:rPr lang="en-US" dirty="0" smtClean="0"/>
              <a:t> Gateway*</a:t>
            </a:r>
            <a:endParaRPr lang="en-US" dirty="0"/>
          </a:p>
        </p:txBody>
      </p:sp>
      <p:sp>
        <p:nvSpPr>
          <p:cNvPr id="67" name="Text Placeholder 66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Distributed Routing with IP </a:t>
            </a:r>
            <a:r>
              <a:rPr lang="en-US" dirty="0" err="1" smtClean="0"/>
              <a:t>Anycast</a:t>
            </a:r>
            <a:r>
              <a:rPr lang="en-US" dirty="0" smtClean="0"/>
              <a:t> Gateway (Integrated Route/Bridge IRB)</a:t>
            </a:r>
            <a:endParaRPr lang="en-US" dirty="0"/>
          </a:p>
          <a:p>
            <a:pPr lvl="1"/>
            <a:r>
              <a:rPr lang="en-US" dirty="0"/>
              <a:t>Routing between VNI </a:t>
            </a:r>
            <a:r>
              <a:rPr lang="en-US" dirty="0" smtClean="0"/>
              <a:t>(Different </a:t>
            </a:r>
            <a:r>
              <a:rPr lang="en-US" dirty="0"/>
              <a:t>Subnet)</a:t>
            </a:r>
          </a:p>
          <a:p>
            <a:pPr lvl="1"/>
            <a:r>
              <a:rPr lang="en-US" dirty="0"/>
              <a:t>Bridging within VNI (Same Subnet)</a:t>
            </a:r>
          </a:p>
          <a:p>
            <a:r>
              <a:rPr lang="en-US" dirty="0"/>
              <a:t>Inter-VXLAN Routing </a:t>
            </a:r>
            <a:r>
              <a:rPr lang="en-US" dirty="0" smtClean="0"/>
              <a:t>Leaf/Access Layer</a:t>
            </a:r>
          </a:p>
          <a:p>
            <a:pPr lvl="1"/>
            <a:r>
              <a:rPr lang="en-US" dirty="0"/>
              <a:t>All Leafs share gateway IP and MAC for a Subnet (No HSRP)</a:t>
            </a:r>
          </a:p>
          <a:p>
            <a:pPr lvl="1"/>
            <a:r>
              <a:rPr lang="en-US" dirty="0" smtClean="0"/>
              <a:t>A Host </a:t>
            </a:r>
            <a:r>
              <a:rPr lang="en-US" dirty="0"/>
              <a:t>will always find its </a:t>
            </a:r>
            <a:r>
              <a:rPr lang="en-US" dirty="0" smtClean="0"/>
              <a:t>Gateway directly attached anywhere </a:t>
            </a:r>
            <a:r>
              <a:rPr lang="en-US" dirty="0"/>
              <a:t>it </a:t>
            </a:r>
            <a:r>
              <a:rPr lang="en-US" dirty="0" smtClean="0"/>
              <a:t>moves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VXLAN/EVP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38</a:t>
            </a:fld>
            <a:endParaRPr dirty="0">
              <a:solidFill>
                <a:srgbClr val="595959"/>
              </a:solidFill>
            </a:endParaRPr>
          </a:p>
        </p:txBody>
      </p:sp>
      <p:cxnSp>
        <p:nvCxnSpPr>
          <p:cNvPr id="271" name="Straight Connector 270"/>
          <p:cNvCxnSpPr/>
          <p:nvPr/>
        </p:nvCxnSpPr>
        <p:spPr bwMode="auto">
          <a:xfrm flipV="1">
            <a:off x="6844069" y="3000041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2" name="Straight Connector 271"/>
          <p:cNvCxnSpPr/>
          <p:nvPr/>
        </p:nvCxnSpPr>
        <p:spPr bwMode="auto">
          <a:xfrm flipV="1">
            <a:off x="8104884" y="3000043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3" name="Straight Connector 272"/>
          <p:cNvCxnSpPr/>
          <p:nvPr/>
        </p:nvCxnSpPr>
        <p:spPr bwMode="auto">
          <a:xfrm>
            <a:off x="8109270" y="3000051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4" name="Straight Connector 273"/>
          <p:cNvCxnSpPr/>
          <p:nvPr/>
        </p:nvCxnSpPr>
        <p:spPr bwMode="auto">
          <a:xfrm flipV="1">
            <a:off x="6844068" y="3000041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5" name="Straight Connector 274"/>
          <p:cNvCxnSpPr/>
          <p:nvPr/>
        </p:nvCxnSpPr>
        <p:spPr bwMode="auto">
          <a:xfrm flipV="1">
            <a:off x="6844069" y="3000041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Straight Connector 275"/>
          <p:cNvCxnSpPr/>
          <p:nvPr/>
        </p:nvCxnSpPr>
        <p:spPr bwMode="auto">
          <a:xfrm flipV="1">
            <a:off x="6844069" y="3000041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7" name="Straight Connector 276"/>
          <p:cNvCxnSpPr/>
          <p:nvPr/>
        </p:nvCxnSpPr>
        <p:spPr bwMode="auto">
          <a:xfrm flipV="1">
            <a:off x="8104886" y="3000043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8" name="Straight Connector 277"/>
          <p:cNvCxnSpPr/>
          <p:nvPr/>
        </p:nvCxnSpPr>
        <p:spPr bwMode="auto">
          <a:xfrm flipV="1">
            <a:off x="8104884" y="3000043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9" name="Straight Connector 278"/>
          <p:cNvCxnSpPr/>
          <p:nvPr/>
        </p:nvCxnSpPr>
        <p:spPr bwMode="auto">
          <a:xfrm flipV="1">
            <a:off x="8104886" y="3000043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279"/>
          <p:cNvCxnSpPr/>
          <p:nvPr/>
        </p:nvCxnSpPr>
        <p:spPr bwMode="auto">
          <a:xfrm>
            <a:off x="8752579" y="3000051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1" name="Straight Connector 280"/>
          <p:cNvCxnSpPr/>
          <p:nvPr/>
        </p:nvCxnSpPr>
        <p:spPr bwMode="auto">
          <a:xfrm>
            <a:off x="9395868" y="3000051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2" name="Straight Connector 281"/>
          <p:cNvCxnSpPr/>
          <p:nvPr/>
        </p:nvCxnSpPr>
        <p:spPr bwMode="auto">
          <a:xfrm>
            <a:off x="10039178" y="3000051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83" name="Group 282"/>
          <p:cNvGrpSpPr/>
          <p:nvPr/>
        </p:nvGrpSpPr>
        <p:grpSpPr>
          <a:xfrm>
            <a:off x="7796349" y="2621190"/>
            <a:ext cx="2522935" cy="582051"/>
            <a:chOff x="3581400" y="2152650"/>
            <a:chExt cx="1892694" cy="436538"/>
          </a:xfrm>
        </p:grpSpPr>
        <p:pic>
          <p:nvPicPr>
            <p:cNvPr id="284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5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287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288" name="Freeform 6"/>
          <p:cNvSpPr>
            <a:spLocks noChangeAspect="1"/>
          </p:cNvSpPr>
          <p:nvPr/>
        </p:nvSpPr>
        <p:spPr bwMode="auto">
          <a:xfrm>
            <a:off x="5462192" y="1706789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861" tIns="60931" rIns="121861" bIns="60931" numCol="1" anchor="ctr" anchorCtr="0" compatLnSpc="1">
            <a:prstTxWarp prst="textNoShape">
              <a:avLst/>
            </a:prstTxWarp>
          </a:bodyPr>
          <a:lstStyle/>
          <a:p>
            <a:pPr algn="ctr" defTabSz="1218377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Apple LiGothic Medium"/>
              <a:cs typeface="Cambria"/>
            </a:endParaRPr>
          </a:p>
        </p:txBody>
      </p:sp>
      <p:sp>
        <p:nvSpPr>
          <p:cNvPr id="289" name="Freeform 6"/>
          <p:cNvSpPr>
            <a:spLocks noChangeAspect="1"/>
          </p:cNvSpPr>
          <p:nvPr/>
        </p:nvSpPr>
        <p:spPr bwMode="auto">
          <a:xfrm>
            <a:off x="5462192" y="1657349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rgbClr val="6E3548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  <p:txBody>
          <a:bodyPr vert="horz" wrap="square" lIns="121861" tIns="60931" rIns="121861" bIns="60931" numCol="1" anchor="ctr" anchorCtr="0" compatLnSpc="1">
            <a:prstTxWarp prst="textNoShape">
              <a:avLst/>
            </a:prstTxWarp>
          </a:bodyPr>
          <a:lstStyle/>
          <a:p>
            <a:pPr algn="ctr" defTabSz="1218377" fontAlgn="auto">
              <a:spcBef>
                <a:spcPts val="0"/>
              </a:spcBef>
              <a:spcAft>
                <a:spcPts val="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Apple LiGothic Medium"/>
              <a:cs typeface="Cambria"/>
            </a:endParaRPr>
          </a:p>
        </p:txBody>
      </p:sp>
      <p:cxnSp>
        <p:nvCxnSpPr>
          <p:cNvPr id="290" name="Elbow Connector 289"/>
          <p:cNvCxnSpPr/>
          <p:nvPr/>
        </p:nvCxnSpPr>
        <p:spPr bwMode="auto">
          <a:xfrm rot="16200000" flipH="1">
            <a:off x="9868818" y="4643189"/>
            <a:ext cx="712685" cy="394540"/>
          </a:xfrm>
          <a:prstGeom prst="bentConnector3">
            <a:avLst>
              <a:gd name="adj1" fmla="val 99957"/>
            </a:avLst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1" name="Elbow Connector 290"/>
          <p:cNvCxnSpPr/>
          <p:nvPr/>
        </p:nvCxnSpPr>
        <p:spPr bwMode="auto">
          <a:xfrm rot="5400000">
            <a:off x="7279939" y="4554450"/>
            <a:ext cx="288044" cy="1891942"/>
          </a:xfrm>
          <a:prstGeom prst="bentConnector2">
            <a:avLst/>
          </a:prstGeom>
          <a:solidFill>
            <a:srgbClr val="0183B7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92" name="Group 291"/>
          <p:cNvGrpSpPr/>
          <p:nvPr/>
        </p:nvGrpSpPr>
        <p:grpSpPr>
          <a:xfrm>
            <a:off x="9847149" y="4954741"/>
            <a:ext cx="1218883" cy="1202701"/>
            <a:chOff x="1856709" y="3924463"/>
            <a:chExt cx="914400" cy="902026"/>
          </a:xfrm>
        </p:grpSpPr>
        <p:grpSp>
          <p:nvGrpSpPr>
            <p:cNvPr id="293" name="Group 292"/>
            <p:cNvGrpSpPr>
              <a:grpSpLocks noChangeAspect="1"/>
            </p:cNvGrpSpPr>
            <p:nvPr/>
          </p:nvGrpSpPr>
          <p:grpSpPr>
            <a:xfrm>
              <a:off x="2146964" y="3924463"/>
              <a:ext cx="333890" cy="548640"/>
              <a:chOff x="807667" y="2504215"/>
              <a:chExt cx="359997" cy="591541"/>
            </a:xfrm>
          </p:grpSpPr>
          <p:pic>
            <p:nvPicPr>
              <p:cNvPr id="295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296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297" name="Rounded Rectangle 296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4">
                    <a:lumMod val="75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7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298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300" name="Freeform 129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301" name="Freeform 130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302" name="Freeform 131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</p:grpSp>
            <p:sp>
              <p:nvSpPr>
                <p:cNvPr id="299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7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</p:grpSp>
        <p:sp>
          <p:nvSpPr>
            <p:cNvPr id="294" name="Rounded Rectangle 41"/>
            <p:cNvSpPr/>
            <p:nvPr/>
          </p:nvSpPr>
          <p:spPr>
            <a:xfrm>
              <a:off x="1856709" y="4513365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48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Y</a:t>
              </a:r>
            </a:p>
            <a:p>
              <a:pPr algn="ctr" defTabSz="68548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NI 30001</a:t>
              </a:r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5882631" y="5362877"/>
            <a:ext cx="1218883" cy="1202701"/>
            <a:chOff x="3825777" y="3924463"/>
            <a:chExt cx="914400" cy="902026"/>
          </a:xfrm>
        </p:grpSpPr>
        <p:grpSp>
          <p:nvGrpSpPr>
            <p:cNvPr id="304" name="Group 303"/>
            <p:cNvGrpSpPr>
              <a:grpSpLocks noChangeAspect="1"/>
            </p:cNvGrpSpPr>
            <p:nvPr/>
          </p:nvGrpSpPr>
          <p:grpSpPr>
            <a:xfrm>
              <a:off x="4110425" y="3924463"/>
              <a:ext cx="333890" cy="548640"/>
              <a:chOff x="807667" y="2504215"/>
              <a:chExt cx="359997" cy="591541"/>
            </a:xfrm>
          </p:grpSpPr>
          <p:pic>
            <p:nvPicPr>
              <p:cNvPr id="306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7667" y="2504215"/>
                <a:ext cx="359997" cy="35999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07" name="Group 175"/>
              <p:cNvGrpSpPr>
                <a:grpSpLocks noChangeAspect="1"/>
              </p:cNvGrpSpPr>
              <p:nvPr/>
            </p:nvGrpSpPr>
            <p:grpSpPr>
              <a:xfrm>
                <a:off x="884286" y="2880970"/>
                <a:ext cx="206771" cy="214786"/>
                <a:chOff x="3204760" y="3975458"/>
                <a:chExt cx="227523" cy="285683"/>
              </a:xfrm>
            </p:grpSpPr>
            <p:sp>
              <p:nvSpPr>
                <p:cNvPr id="308" name="Rounded Rectangle 307"/>
                <p:cNvSpPr/>
                <p:nvPr/>
              </p:nvSpPr>
              <p:spPr>
                <a:xfrm>
                  <a:off x="3204760" y="3975458"/>
                  <a:ext cx="227523" cy="285683"/>
                </a:xfrm>
                <a:prstGeom prst="roundRect">
                  <a:avLst/>
                </a:prstGeom>
                <a:solidFill>
                  <a:schemeClr val="accent1"/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217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  <p:grpSp>
              <p:nvGrpSpPr>
                <p:cNvPr id="309" name="Group 165"/>
                <p:cNvGrpSpPr/>
                <p:nvPr/>
              </p:nvGrpSpPr>
              <p:grpSpPr>
                <a:xfrm>
                  <a:off x="3211879" y="3995010"/>
                  <a:ext cx="212364" cy="227338"/>
                  <a:chOff x="6717118" y="3305151"/>
                  <a:chExt cx="1013733" cy="1157303"/>
                </a:xfrm>
                <a:solidFill>
                  <a:schemeClr val="bg1"/>
                </a:solidFill>
              </p:grpSpPr>
              <p:sp>
                <p:nvSpPr>
                  <p:cNvPr id="311" name="Freeform 310"/>
                  <p:cNvSpPr>
                    <a:spLocks noEditPoints="1"/>
                  </p:cNvSpPr>
                  <p:nvPr/>
                </p:nvSpPr>
                <p:spPr bwMode="auto">
                  <a:xfrm>
                    <a:off x="6717118" y="3470252"/>
                    <a:ext cx="445218" cy="591013"/>
                  </a:xfrm>
                  <a:custGeom>
                    <a:avLst/>
                    <a:gdLst/>
                    <a:ahLst/>
                    <a:cxnLst>
                      <a:cxn ang="0">
                        <a:pos x="196" y="90"/>
                      </a:cxn>
                      <a:cxn ang="0">
                        <a:pos x="193" y="70"/>
                      </a:cxn>
                      <a:cxn ang="0">
                        <a:pos x="189" y="67"/>
                      </a:cxn>
                      <a:cxn ang="0">
                        <a:pos x="175" y="66"/>
                      </a:cxn>
                      <a:cxn ang="0">
                        <a:pos x="164" y="47"/>
                      </a:cxn>
                      <a:cxn ang="0">
                        <a:pos x="170" y="33"/>
                      </a:cxn>
                      <a:cxn ang="0">
                        <a:pos x="169" y="29"/>
                      </a:cxn>
                      <a:cxn ang="0">
                        <a:pos x="153" y="16"/>
                      </a:cxn>
                      <a:cxn ang="0">
                        <a:pos x="149" y="16"/>
                      </a:cxn>
                      <a:cxn ang="0">
                        <a:pos x="137" y="24"/>
                      </a:cxn>
                      <a:cxn ang="0">
                        <a:pos x="116" y="16"/>
                      </a:cxn>
                      <a:cxn ang="0">
                        <a:pos x="112" y="2"/>
                      </a:cxn>
                      <a:cxn ang="0">
                        <a:pos x="108" y="0"/>
                      </a:cxn>
                      <a:cxn ang="0">
                        <a:pos x="88" y="0"/>
                      </a:cxn>
                      <a:cxn ang="0">
                        <a:pos x="85" y="2"/>
                      </a:cxn>
                      <a:cxn ang="0">
                        <a:pos x="81" y="16"/>
                      </a:cxn>
                      <a:cxn ang="0">
                        <a:pos x="60" y="24"/>
                      </a:cxn>
                      <a:cxn ang="0">
                        <a:pos x="48" y="16"/>
                      </a:cxn>
                      <a:cxn ang="0">
                        <a:pos x="43" y="16"/>
                      </a:cxn>
                      <a:cxn ang="0">
                        <a:pos x="28" y="29"/>
                      </a:cxn>
                      <a:cxn ang="0">
                        <a:pos x="27" y="33"/>
                      </a:cxn>
                      <a:cxn ang="0">
                        <a:pos x="33" y="47"/>
                      </a:cxn>
                      <a:cxn ang="0">
                        <a:pos x="21" y="66"/>
                      </a:cxn>
                      <a:cxn ang="0">
                        <a:pos x="7" y="67"/>
                      </a:cxn>
                      <a:cxn ang="0">
                        <a:pos x="4" y="70"/>
                      </a:cxn>
                      <a:cxn ang="0">
                        <a:pos x="0" y="90"/>
                      </a:cxn>
                      <a:cxn ang="0">
                        <a:pos x="2" y="94"/>
                      </a:cxn>
                      <a:cxn ang="0">
                        <a:pos x="15" y="101"/>
                      </a:cxn>
                      <a:cxn ang="0">
                        <a:pos x="19" y="123"/>
                      </a:cxn>
                      <a:cxn ang="0">
                        <a:pos x="9" y="133"/>
                      </a:cxn>
                      <a:cxn ang="0">
                        <a:pos x="9" y="137"/>
                      </a:cxn>
                      <a:cxn ang="0">
                        <a:pos x="19" y="155"/>
                      </a:cxn>
                      <a:cxn ang="0">
                        <a:pos x="23" y="157"/>
                      </a:cxn>
                      <a:cxn ang="0">
                        <a:pos x="37" y="153"/>
                      </a:cxn>
                      <a:cxn ang="0">
                        <a:pos x="54" y="167"/>
                      </a:cxn>
                      <a:cxn ang="0">
                        <a:pos x="53" y="182"/>
                      </a:cxn>
                      <a:cxn ang="0">
                        <a:pos x="55" y="186"/>
                      </a:cxn>
                      <a:cxn ang="0">
                        <a:pos x="74" y="193"/>
                      </a:cxn>
                      <a:cxn ang="0">
                        <a:pos x="78" y="191"/>
                      </a:cxn>
                      <a:cxn ang="0">
                        <a:pos x="87" y="179"/>
                      </a:cxn>
                      <a:cxn ang="0">
                        <a:pos x="98" y="180"/>
                      </a:cxn>
                      <a:cxn ang="0">
                        <a:pos x="109" y="179"/>
                      </a:cxn>
                      <a:cxn ang="0">
                        <a:pos x="118" y="191"/>
                      </a:cxn>
                      <a:cxn ang="0">
                        <a:pos x="122" y="193"/>
                      </a:cxn>
                      <a:cxn ang="0">
                        <a:pos x="141" y="186"/>
                      </a:cxn>
                      <a:cxn ang="0">
                        <a:pos x="144" y="182"/>
                      </a:cxn>
                      <a:cxn ang="0">
                        <a:pos x="142" y="167"/>
                      </a:cxn>
                      <a:cxn ang="0">
                        <a:pos x="160" y="153"/>
                      </a:cxn>
                      <a:cxn ang="0">
                        <a:pos x="174" y="157"/>
                      </a:cxn>
                      <a:cxn ang="0">
                        <a:pos x="178" y="155"/>
                      </a:cxn>
                      <a:cxn ang="0">
                        <a:pos x="188" y="137"/>
                      </a:cxn>
                      <a:cxn ang="0">
                        <a:pos x="187" y="133"/>
                      </a:cxn>
                      <a:cxn ang="0">
                        <a:pos x="177" y="123"/>
                      </a:cxn>
                      <a:cxn ang="0">
                        <a:pos x="181" y="101"/>
                      </a:cxn>
                      <a:cxn ang="0">
                        <a:pos x="194" y="94"/>
                      </a:cxn>
                      <a:cxn ang="0">
                        <a:pos x="196" y="90"/>
                      </a:cxn>
                      <a:cxn ang="0">
                        <a:pos x="98" y="127"/>
                      </a:cxn>
                      <a:cxn ang="0">
                        <a:pos x="69" y="97"/>
                      </a:cxn>
                      <a:cxn ang="0">
                        <a:pos x="98" y="68"/>
                      </a:cxn>
                      <a:cxn ang="0">
                        <a:pos x="128" y="97"/>
                      </a:cxn>
                      <a:cxn ang="0">
                        <a:pos x="98" y="127"/>
                      </a:cxn>
                    </a:cxnLst>
                    <a:rect l="0" t="0" r="r" b="b"/>
                    <a:pathLst>
                      <a:path w="196" h="193">
                        <a:moveTo>
                          <a:pt x="196" y="90"/>
                        </a:moveTo>
                        <a:cubicBezTo>
                          <a:pt x="196" y="90"/>
                          <a:pt x="193" y="71"/>
                          <a:pt x="193" y="70"/>
                        </a:cubicBezTo>
                        <a:cubicBezTo>
                          <a:pt x="192" y="69"/>
                          <a:pt x="191" y="68"/>
                          <a:pt x="189" y="67"/>
                        </a:cubicBezTo>
                        <a:cubicBezTo>
                          <a:pt x="187" y="67"/>
                          <a:pt x="177" y="66"/>
                          <a:pt x="175" y="66"/>
                        </a:cubicBezTo>
                        <a:cubicBezTo>
                          <a:pt x="172" y="59"/>
                          <a:pt x="168" y="53"/>
                          <a:pt x="164" y="47"/>
                        </a:cubicBezTo>
                        <a:cubicBezTo>
                          <a:pt x="164" y="45"/>
                          <a:pt x="169" y="35"/>
                          <a:pt x="170" y="33"/>
                        </a:cubicBezTo>
                        <a:cubicBezTo>
                          <a:pt x="170" y="32"/>
                          <a:pt x="170" y="30"/>
                          <a:pt x="169" y="29"/>
                        </a:cubicBezTo>
                        <a:cubicBezTo>
                          <a:pt x="168" y="29"/>
                          <a:pt x="154" y="17"/>
                          <a:pt x="153" y="16"/>
                        </a:cubicBezTo>
                        <a:cubicBezTo>
                          <a:pt x="152" y="15"/>
                          <a:pt x="150" y="15"/>
                          <a:pt x="149" y="16"/>
                        </a:cubicBezTo>
                        <a:cubicBezTo>
                          <a:pt x="147" y="17"/>
                          <a:pt x="138" y="23"/>
                          <a:pt x="137" y="24"/>
                        </a:cubicBezTo>
                        <a:cubicBezTo>
                          <a:pt x="130" y="21"/>
                          <a:pt x="123" y="18"/>
                          <a:pt x="116" y="16"/>
                        </a:cubicBezTo>
                        <a:cubicBezTo>
                          <a:pt x="115" y="15"/>
                          <a:pt x="112" y="5"/>
                          <a:pt x="112" y="2"/>
                        </a:cubicBezTo>
                        <a:cubicBezTo>
                          <a:pt x="111" y="1"/>
                          <a:pt x="110" y="0"/>
                          <a:pt x="108" y="0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86" y="0"/>
                          <a:pt x="85" y="1"/>
                          <a:pt x="85" y="2"/>
                        </a:cubicBezTo>
                        <a:cubicBezTo>
                          <a:pt x="84" y="5"/>
                          <a:pt x="81" y="15"/>
                          <a:pt x="81" y="16"/>
                        </a:cubicBezTo>
                        <a:cubicBezTo>
                          <a:pt x="73" y="18"/>
                          <a:pt x="66" y="21"/>
                          <a:pt x="60" y="24"/>
                        </a:cubicBezTo>
                        <a:cubicBezTo>
                          <a:pt x="58" y="23"/>
                          <a:pt x="49" y="17"/>
                          <a:pt x="48" y="16"/>
                        </a:cubicBezTo>
                        <a:cubicBezTo>
                          <a:pt x="46" y="15"/>
                          <a:pt x="45" y="15"/>
                          <a:pt x="43" y="16"/>
                        </a:cubicBezTo>
                        <a:cubicBezTo>
                          <a:pt x="43" y="17"/>
                          <a:pt x="28" y="29"/>
                          <a:pt x="28" y="29"/>
                        </a:cubicBezTo>
                        <a:cubicBezTo>
                          <a:pt x="26" y="30"/>
                          <a:pt x="26" y="32"/>
                          <a:pt x="27" y="33"/>
                        </a:cubicBezTo>
                        <a:cubicBezTo>
                          <a:pt x="28" y="36"/>
                          <a:pt x="32" y="45"/>
                          <a:pt x="33" y="47"/>
                        </a:cubicBezTo>
                        <a:cubicBezTo>
                          <a:pt x="28" y="53"/>
                          <a:pt x="24" y="59"/>
                          <a:pt x="21" y="66"/>
                        </a:cubicBezTo>
                        <a:cubicBezTo>
                          <a:pt x="20" y="66"/>
                          <a:pt x="9" y="67"/>
                          <a:pt x="7" y="67"/>
                        </a:cubicBezTo>
                        <a:cubicBezTo>
                          <a:pt x="6" y="68"/>
                          <a:pt x="4" y="69"/>
                          <a:pt x="4" y="70"/>
                        </a:cubicBezTo>
                        <a:cubicBezTo>
                          <a:pt x="4" y="71"/>
                          <a:pt x="0" y="90"/>
                          <a:pt x="0" y="90"/>
                        </a:cubicBezTo>
                        <a:cubicBezTo>
                          <a:pt x="0" y="92"/>
                          <a:pt x="1" y="94"/>
                          <a:pt x="2" y="94"/>
                        </a:cubicBezTo>
                        <a:cubicBezTo>
                          <a:pt x="4" y="95"/>
                          <a:pt x="14" y="100"/>
                          <a:pt x="15" y="101"/>
                        </a:cubicBezTo>
                        <a:cubicBezTo>
                          <a:pt x="16" y="108"/>
                          <a:pt x="17" y="116"/>
                          <a:pt x="19" y="123"/>
                        </a:cubicBezTo>
                        <a:cubicBezTo>
                          <a:pt x="18" y="124"/>
                          <a:pt x="11" y="131"/>
                          <a:pt x="9" y="133"/>
                        </a:cubicBezTo>
                        <a:cubicBezTo>
                          <a:pt x="8" y="134"/>
                          <a:pt x="8" y="136"/>
                          <a:pt x="9" y="137"/>
                        </a:cubicBezTo>
                        <a:cubicBezTo>
                          <a:pt x="9" y="138"/>
                          <a:pt x="18" y="154"/>
                          <a:pt x="19" y="155"/>
                        </a:cubicBezTo>
                        <a:cubicBezTo>
                          <a:pt x="20" y="157"/>
                          <a:pt x="21" y="157"/>
                          <a:pt x="23" y="157"/>
                        </a:cubicBezTo>
                        <a:cubicBezTo>
                          <a:pt x="25" y="156"/>
                          <a:pt x="35" y="154"/>
                          <a:pt x="37" y="153"/>
                        </a:cubicBezTo>
                        <a:cubicBezTo>
                          <a:pt x="42" y="159"/>
                          <a:pt x="48" y="163"/>
                          <a:pt x="54" y="167"/>
                        </a:cubicBezTo>
                        <a:cubicBezTo>
                          <a:pt x="54" y="169"/>
                          <a:pt x="53" y="180"/>
                          <a:pt x="53" y="182"/>
                        </a:cubicBezTo>
                        <a:cubicBezTo>
                          <a:pt x="53" y="183"/>
                          <a:pt x="53" y="185"/>
                          <a:pt x="55" y="186"/>
                        </a:cubicBezTo>
                        <a:cubicBezTo>
                          <a:pt x="56" y="186"/>
                          <a:pt x="74" y="192"/>
                          <a:pt x="74" y="193"/>
                        </a:cubicBezTo>
                        <a:cubicBezTo>
                          <a:pt x="76" y="193"/>
                          <a:pt x="78" y="193"/>
                          <a:pt x="78" y="191"/>
                        </a:cubicBezTo>
                        <a:cubicBezTo>
                          <a:pt x="80" y="189"/>
                          <a:pt x="86" y="181"/>
                          <a:pt x="87" y="179"/>
                        </a:cubicBezTo>
                        <a:cubicBezTo>
                          <a:pt x="91" y="180"/>
                          <a:pt x="94" y="180"/>
                          <a:pt x="98" y="180"/>
                        </a:cubicBezTo>
                        <a:cubicBezTo>
                          <a:pt x="102" y="180"/>
                          <a:pt x="106" y="180"/>
                          <a:pt x="109" y="179"/>
                        </a:cubicBezTo>
                        <a:cubicBezTo>
                          <a:pt x="110" y="181"/>
                          <a:pt x="117" y="189"/>
                          <a:pt x="118" y="191"/>
                        </a:cubicBezTo>
                        <a:cubicBezTo>
                          <a:pt x="119" y="192"/>
                          <a:pt x="120" y="193"/>
                          <a:pt x="122" y="193"/>
                        </a:cubicBezTo>
                        <a:cubicBezTo>
                          <a:pt x="123" y="192"/>
                          <a:pt x="140" y="186"/>
                          <a:pt x="141" y="186"/>
                        </a:cubicBezTo>
                        <a:cubicBezTo>
                          <a:pt x="143" y="185"/>
                          <a:pt x="144" y="183"/>
                          <a:pt x="144" y="182"/>
                        </a:cubicBezTo>
                        <a:cubicBezTo>
                          <a:pt x="143" y="180"/>
                          <a:pt x="143" y="169"/>
                          <a:pt x="142" y="167"/>
                        </a:cubicBezTo>
                        <a:cubicBezTo>
                          <a:pt x="149" y="163"/>
                          <a:pt x="155" y="159"/>
                          <a:pt x="160" y="153"/>
                        </a:cubicBezTo>
                        <a:cubicBezTo>
                          <a:pt x="161" y="154"/>
                          <a:pt x="171" y="156"/>
                          <a:pt x="174" y="157"/>
                        </a:cubicBezTo>
                        <a:cubicBezTo>
                          <a:pt x="175" y="157"/>
                          <a:pt x="177" y="157"/>
                          <a:pt x="178" y="155"/>
                        </a:cubicBezTo>
                        <a:cubicBezTo>
                          <a:pt x="178" y="154"/>
                          <a:pt x="187" y="138"/>
                          <a:pt x="188" y="137"/>
                        </a:cubicBezTo>
                        <a:cubicBezTo>
                          <a:pt x="189" y="136"/>
                          <a:pt x="188" y="134"/>
                          <a:pt x="187" y="133"/>
                        </a:cubicBezTo>
                        <a:cubicBezTo>
                          <a:pt x="186" y="131"/>
                          <a:pt x="178" y="124"/>
                          <a:pt x="177" y="123"/>
                        </a:cubicBezTo>
                        <a:cubicBezTo>
                          <a:pt x="179" y="116"/>
                          <a:pt x="181" y="108"/>
                          <a:pt x="181" y="101"/>
                        </a:cubicBezTo>
                        <a:cubicBezTo>
                          <a:pt x="183" y="100"/>
                          <a:pt x="192" y="95"/>
                          <a:pt x="194" y="94"/>
                        </a:cubicBezTo>
                        <a:cubicBezTo>
                          <a:pt x="195" y="94"/>
                          <a:pt x="196" y="92"/>
                          <a:pt x="196" y="90"/>
                        </a:cubicBezTo>
                        <a:close/>
                        <a:moveTo>
                          <a:pt x="98" y="127"/>
                        </a:moveTo>
                        <a:cubicBezTo>
                          <a:pt x="82" y="127"/>
                          <a:pt x="69" y="114"/>
                          <a:pt x="69" y="97"/>
                        </a:cubicBezTo>
                        <a:cubicBezTo>
                          <a:pt x="69" y="81"/>
                          <a:pt x="82" y="68"/>
                          <a:pt x="98" y="68"/>
                        </a:cubicBezTo>
                        <a:cubicBezTo>
                          <a:pt x="115" y="68"/>
                          <a:pt x="128" y="81"/>
                          <a:pt x="128" y="97"/>
                        </a:cubicBezTo>
                        <a:cubicBezTo>
                          <a:pt x="128" y="114"/>
                          <a:pt x="115" y="127"/>
                          <a:pt x="98" y="12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312" name="Freeform 311"/>
                  <p:cNvSpPr>
                    <a:spLocks noEditPoints="1"/>
                  </p:cNvSpPr>
                  <p:nvPr/>
                </p:nvSpPr>
                <p:spPr bwMode="auto">
                  <a:xfrm>
                    <a:off x="7135370" y="3305151"/>
                    <a:ext cx="310386" cy="422431"/>
                  </a:xfrm>
                  <a:custGeom>
                    <a:avLst/>
                    <a:gdLst/>
                    <a:ahLst/>
                    <a:cxnLst>
                      <a:cxn ang="0">
                        <a:pos x="136" y="54"/>
                      </a:cxn>
                      <a:cxn ang="0">
                        <a:pos x="132" y="40"/>
                      </a:cxn>
                      <a:cxn ang="0">
                        <a:pos x="129" y="39"/>
                      </a:cxn>
                      <a:cxn ang="0">
                        <a:pos x="119" y="39"/>
                      </a:cxn>
                      <a:cxn ang="0">
                        <a:pos x="109" y="27"/>
                      </a:cxn>
                      <a:cxn ang="0">
                        <a:pos x="112" y="17"/>
                      </a:cxn>
                      <a:cxn ang="0">
                        <a:pos x="111" y="14"/>
                      </a:cxn>
                      <a:cxn ang="0">
                        <a:pos x="98" y="7"/>
                      </a:cxn>
                      <a:cxn ang="0">
                        <a:pos x="95" y="7"/>
                      </a:cxn>
                      <a:cxn ang="0">
                        <a:pos x="88" y="14"/>
                      </a:cxn>
                      <a:cxn ang="0">
                        <a:pos x="72" y="11"/>
                      </a:cxn>
                      <a:cxn ang="0">
                        <a:pos x="68" y="2"/>
                      </a:cxn>
                      <a:cxn ang="0">
                        <a:pos x="65" y="0"/>
                      </a:cxn>
                      <a:cxn ang="0">
                        <a:pos x="51" y="2"/>
                      </a:cxn>
                      <a:cxn ang="0">
                        <a:pos x="49" y="4"/>
                      </a:cxn>
                      <a:cxn ang="0">
                        <a:pos x="48" y="15"/>
                      </a:cxn>
                      <a:cxn ang="0">
                        <a:pos x="34" y="22"/>
                      </a:cxn>
                      <a:cxn ang="0">
                        <a:pos x="25" y="18"/>
                      </a:cxn>
                      <a:cxn ang="0">
                        <a:pos x="22" y="19"/>
                      </a:cxn>
                      <a:cxn ang="0">
                        <a:pos x="12" y="29"/>
                      </a:cxn>
                      <a:cxn ang="0">
                        <a:pos x="12" y="32"/>
                      </a:cxn>
                      <a:cxn ang="0">
                        <a:pos x="18" y="41"/>
                      </a:cxn>
                      <a:cxn ang="0">
                        <a:pos x="12" y="56"/>
                      </a:cxn>
                      <a:cxn ang="0">
                        <a:pos x="2" y="58"/>
                      </a:cxn>
                      <a:cxn ang="0">
                        <a:pos x="0" y="61"/>
                      </a:cxn>
                      <a:cxn ang="0">
                        <a:pos x="0" y="75"/>
                      </a:cxn>
                      <a:cxn ang="0">
                        <a:pos x="2" y="77"/>
                      </a:cxn>
                      <a:cxn ang="0">
                        <a:pos x="11" y="80"/>
                      </a:cxn>
                      <a:cxn ang="0">
                        <a:pos x="17" y="95"/>
                      </a:cxn>
                      <a:cxn ang="0">
                        <a:pos x="11" y="104"/>
                      </a:cxn>
                      <a:cxn ang="0">
                        <a:pos x="11" y="107"/>
                      </a:cxn>
                      <a:cxn ang="0">
                        <a:pos x="20" y="118"/>
                      </a:cxn>
                      <a:cxn ang="0">
                        <a:pos x="23" y="119"/>
                      </a:cxn>
                      <a:cxn ang="0">
                        <a:pos x="32" y="115"/>
                      </a:cxn>
                      <a:cxn ang="0">
                        <a:pos x="46" y="123"/>
                      </a:cxn>
                      <a:cxn ang="0">
                        <a:pos x="46" y="133"/>
                      </a:cxn>
                      <a:cxn ang="0">
                        <a:pos x="48" y="135"/>
                      </a:cxn>
                      <a:cxn ang="0">
                        <a:pos x="62" y="138"/>
                      </a:cxn>
                      <a:cxn ang="0">
                        <a:pos x="65" y="137"/>
                      </a:cxn>
                      <a:cxn ang="0">
                        <a:pos x="70" y="128"/>
                      </a:cxn>
                      <a:cxn ang="0">
                        <a:pos x="78" y="127"/>
                      </a:cxn>
                      <a:cxn ang="0">
                        <a:pos x="86" y="125"/>
                      </a:cxn>
                      <a:cxn ang="0">
                        <a:pos x="93" y="133"/>
                      </a:cxn>
                      <a:cxn ang="0">
                        <a:pos x="96" y="133"/>
                      </a:cxn>
                      <a:cxn ang="0">
                        <a:pos x="108" y="126"/>
                      </a:cxn>
                      <a:cxn ang="0">
                        <a:pos x="110" y="123"/>
                      </a:cxn>
                      <a:cxn ang="0">
                        <a:pos x="107" y="113"/>
                      </a:cxn>
                      <a:cxn ang="0">
                        <a:pos x="118" y="101"/>
                      </a:cxn>
                      <a:cxn ang="0">
                        <a:pos x="128" y="102"/>
                      </a:cxn>
                      <a:cxn ang="0">
                        <a:pos x="130" y="101"/>
                      </a:cxn>
                      <a:cxn ang="0">
                        <a:pos x="136" y="88"/>
                      </a:cxn>
                      <a:cxn ang="0">
                        <a:pos x="135" y="85"/>
                      </a:cxn>
                      <a:cxn ang="0">
                        <a:pos x="127" y="78"/>
                      </a:cxn>
                      <a:cxn ang="0">
                        <a:pos x="127" y="63"/>
                      </a:cxn>
                      <a:cxn ang="0">
                        <a:pos x="135" y="57"/>
                      </a:cxn>
                      <a:cxn ang="0">
                        <a:pos x="136" y="54"/>
                      </a:cxn>
                      <a:cxn ang="0">
                        <a:pos x="86" y="91"/>
                      </a:cxn>
                      <a:cxn ang="0">
                        <a:pos x="47" y="87"/>
                      </a:cxn>
                      <a:cxn ang="0">
                        <a:pos x="51" y="47"/>
                      </a:cxn>
                      <a:cxn ang="0">
                        <a:pos x="91" y="52"/>
                      </a:cxn>
                      <a:cxn ang="0">
                        <a:pos x="86" y="91"/>
                      </a:cxn>
                    </a:cxnLst>
                    <a:rect l="0" t="0" r="r" b="b"/>
                    <a:pathLst>
                      <a:path w="137" h="138">
                        <a:moveTo>
                          <a:pt x="136" y="54"/>
                        </a:moveTo>
                        <a:cubicBezTo>
                          <a:pt x="136" y="53"/>
                          <a:pt x="132" y="41"/>
                          <a:pt x="132" y="40"/>
                        </a:cubicBezTo>
                        <a:cubicBezTo>
                          <a:pt x="131" y="39"/>
                          <a:pt x="130" y="38"/>
                          <a:pt x="129" y="39"/>
                        </a:cubicBezTo>
                        <a:cubicBezTo>
                          <a:pt x="128" y="39"/>
                          <a:pt x="120" y="39"/>
                          <a:pt x="119" y="39"/>
                        </a:cubicBezTo>
                        <a:cubicBezTo>
                          <a:pt x="116" y="35"/>
                          <a:pt x="113" y="30"/>
                          <a:pt x="109" y="27"/>
                        </a:cubicBezTo>
                        <a:cubicBezTo>
                          <a:pt x="109" y="26"/>
                          <a:pt x="111" y="18"/>
                          <a:pt x="112" y="17"/>
                        </a:cubicBezTo>
                        <a:cubicBezTo>
                          <a:pt x="112" y="16"/>
                          <a:pt x="112" y="15"/>
                          <a:pt x="111" y="14"/>
                        </a:cubicBezTo>
                        <a:cubicBezTo>
                          <a:pt x="110" y="14"/>
                          <a:pt x="99" y="7"/>
                          <a:pt x="98" y="7"/>
                        </a:cubicBezTo>
                        <a:cubicBezTo>
                          <a:pt x="97" y="6"/>
                          <a:pt x="96" y="6"/>
                          <a:pt x="95" y="7"/>
                        </a:cubicBezTo>
                        <a:cubicBezTo>
                          <a:pt x="94" y="8"/>
                          <a:pt x="89" y="13"/>
                          <a:pt x="88" y="14"/>
                        </a:cubicBezTo>
                        <a:cubicBezTo>
                          <a:pt x="83" y="12"/>
                          <a:pt x="78" y="11"/>
                          <a:pt x="72" y="11"/>
                        </a:cubicBezTo>
                        <a:cubicBezTo>
                          <a:pt x="72" y="10"/>
                          <a:pt x="69" y="3"/>
                          <a:pt x="68" y="2"/>
                        </a:cubicBezTo>
                        <a:cubicBezTo>
                          <a:pt x="68" y="1"/>
                          <a:pt x="67" y="0"/>
                          <a:pt x="65" y="0"/>
                        </a:cubicBezTo>
                        <a:cubicBezTo>
                          <a:pt x="51" y="2"/>
                          <a:pt x="51" y="2"/>
                          <a:pt x="51" y="2"/>
                        </a:cubicBezTo>
                        <a:cubicBezTo>
                          <a:pt x="50" y="2"/>
                          <a:pt x="49" y="3"/>
                          <a:pt x="49" y="4"/>
                        </a:cubicBezTo>
                        <a:cubicBezTo>
                          <a:pt x="49" y="6"/>
                          <a:pt x="48" y="13"/>
                          <a:pt x="48" y="15"/>
                        </a:cubicBezTo>
                        <a:cubicBezTo>
                          <a:pt x="43" y="17"/>
                          <a:pt x="38" y="19"/>
                          <a:pt x="34" y="22"/>
                        </a:cubicBezTo>
                        <a:cubicBezTo>
                          <a:pt x="33" y="22"/>
                          <a:pt x="26" y="19"/>
                          <a:pt x="25" y="18"/>
                        </a:cubicBezTo>
                        <a:cubicBezTo>
                          <a:pt x="24" y="17"/>
                          <a:pt x="23" y="17"/>
                          <a:pt x="22" y="19"/>
                        </a:cubicBezTo>
                        <a:cubicBezTo>
                          <a:pt x="21" y="19"/>
                          <a:pt x="13" y="29"/>
                          <a:pt x="12" y="29"/>
                        </a:cubicBezTo>
                        <a:cubicBezTo>
                          <a:pt x="11" y="30"/>
                          <a:pt x="11" y="31"/>
                          <a:pt x="12" y="32"/>
                        </a:cubicBezTo>
                        <a:cubicBezTo>
                          <a:pt x="13" y="34"/>
                          <a:pt x="17" y="40"/>
                          <a:pt x="18" y="41"/>
                        </a:cubicBezTo>
                        <a:cubicBezTo>
                          <a:pt x="15" y="46"/>
                          <a:pt x="13" y="50"/>
                          <a:pt x="12" y="56"/>
                        </a:cubicBezTo>
                        <a:cubicBezTo>
                          <a:pt x="11" y="56"/>
                          <a:pt x="4" y="58"/>
                          <a:pt x="2" y="58"/>
                        </a:cubicBezTo>
                        <a:cubicBezTo>
                          <a:pt x="1" y="59"/>
                          <a:pt x="0" y="59"/>
                          <a:pt x="0" y="61"/>
                        </a:cubicBezTo>
                        <a:cubicBezTo>
                          <a:pt x="0" y="61"/>
                          <a:pt x="0" y="74"/>
                          <a:pt x="0" y="75"/>
                        </a:cubicBezTo>
                        <a:cubicBezTo>
                          <a:pt x="0" y="76"/>
                          <a:pt x="1" y="77"/>
                          <a:pt x="2" y="77"/>
                        </a:cubicBezTo>
                        <a:cubicBezTo>
                          <a:pt x="3" y="78"/>
                          <a:pt x="10" y="80"/>
                          <a:pt x="11" y="80"/>
                        </a:cubicBezTo>
                        <a:cubicBezTo>
                          <a:pt x="12" y="86"/>
                          <a:pt x="14" y="91"/>
                          <a:pt x="17" y="95"/>
                        </a:cubicBezTo>
                        <a:cubicBezTo>
                          <a:pt x="16" y="96"/>
                          <a:pt x="11" y="102"/>
                          <a:pt x="11" y="104"/>
                        </a:cubicBezTo>
                        <a:cubicBezTo>
                          <a:pt x="10" y="105"/>
                          <a:pt x="10" y="106"/>
                          <a:pt x="11" y="107"/>
                        </a:cubicBezTo>
                        <a:cubicBezTo>
                          <a:pt x="11" y="107"/>
                          <a:pt x="19" y="118"/>
                          <a:pt x="20" y="118"/>
                        </a:cubicBezTo>
                        <a:cubicBezTo>
                          <a:pt x="21" y="119"/>
                          <a:pt x="22" y="119"/>
                          <a:pt x="23" y="119"/>
                        </a:cubicBezTo>
                        <a:cubicBezTo>
                          <a:pt x="24" y="118"/>
                          <a:pt x="31" y="115"/>
                          <a:pt x="32" y="115"/>
                        </a:cubicBezTo>
                        <a:cubicBezTo>
                          <a:pt x="36" y="118"/>
                          <a:pt x="41" y="121"/>
                          <a:pt x="46" y="123"/>
                        </a:cubicBezTo>
                        <a:cubicBezTo>
                          <a:pt x="46" y="124"/>
                          <a:pt x="46" y="132"/>
                          <a:pt x="46" y="133"/>
                        </a:cubicBezTo>
                        <a:cubicBezTo>
                          <a:pt x="46" y="134"/>
                          <a:pt x="47" y="135"/>
                          <a:pt x="48" y="135"/>
                        </a:cubicBezTo>
                        <a:cubicBezTo>
                          <a:pt x="49" y="136"/>
                          <a:pt x="62" y="138"/>
                          <a:pt x="62" y="138"/>
                        </a:cubicBezTo>
                        <a:cubicBezTo>
                          <a:pt x="64" y="138"/>
                          <a:pt x="65" y="138"/>
                          <a:pt x="65" y="137"/>
                        </a:cubicBezTo>
                        <a:cubicBezTo>
                          <a:pt x="66" y="135"/>
                          <a:pt x="69" y="129"/>
                          <a:pt x="70" y="128"/>
                        </a:cubicBezTo>
                        <a:cubicBezTo>
                          <a:pt x="72" y="128"/>
                          <a:pt x="75" y="127"/>
                          <a:pt x="78" y="127"/>
                        </a:cubicBezTo>
                        <a:cubicBezTo>
                          <a:pt x="80" y="127"/>
                          <a:pt x="83" y="126"/>
                          <a:pt x="86" y="125"/>
                        </a:cubicBezTo>
                        <a:cubicBezTo>
                          <a:pt x="86" y="126"/>
                          <a:pt x="92" y="132"/>
                          <a:pt x="93" y="133"/>
                        </a:cubicBezTo>
                        <a:cubicBezTo>
                          <a:pt x="93" y="133"/>
                          <a:pt x="95" y="134"/>
                          <a:pt x="96" y="133"/>
                        </a:cubicBezTo>
                        <a:cubicBezTo>
                          <a:pt x="96" y="133"/>
                          <a:pt x="108" y="126"/>
                          <a:pt x="108" y="126"/>
                        </a:cubicBezTo>
                        <a:cubicBezTo>
                          <a:pt x="110" y="126"/>
                          <a:pt x="110" y="124"/>
                          <a:pt x="110" y="123"/>
                        </a:cubicBezTo>
                        <a:cubicBezTo>
                          <a:pt x="109" y="122"/>
                          <a:pt x="108" y="115"/>
                          <a:pt x="107" y="113"/>
                        </a:cubicBezTo>
                        <a:cubicBezTo>
                          <a:pt x="111" y="110"/>
                          <a:pt x="115" y="106"/>
                          <a:pt x="118" y="101"/>
                        </a:cubicBezTo>
                        <a:cubicBezTo>
                          <a:pt x="119" y="102"/>
                          <a:pt x="126" y="102"/>
                          <a:pt x="128" y="102"/>
                        </a:cubicBezTo>
                        <a:cubicBezTo>
                          <a:pt x="129" y="103"/>
                          <a:pt x="130" y="102"/>
                          <a:pt x="130" y="101"/>
                        </a:cubicBezTo>
                        <a:cubicBezTo>
                          <a:pt x="131" y="100"/>
                          <a:pt x="135" y="88"/>
                          <a:pt x="136" y="88"/>
                        </a:cubicBezTo>
                        <a:cubicBezTo>
                          <a:pt x="136" y="86"/>
                          <a:pt x="136" y="85"/>
                          <a:pt x="135" y="85"/>
                        </a:cubicBezTo>
                        <a:cubicBezTo>
                          <a:pt x="133" y="84"/>
                          <a:pt x="128" y="79"/>
                          <a:pt x="127" y="78"/>
                        </a:cubicBezTo>
                        <a:cubicBezTo>
                          <a:pt x="127" y="73"/>
                          <a:pt x="128" y="68"/>
                          <a:pt x="127" y="63"/>
                        </a:cubicBezTo>
                        <a:cubicBezTo>
                          <a:pt x="128" y="62"/>
                          <a:pt x="134" y="58"/>
                          <a:pt x="135" y="57"/>
                        </a:cubicBezTo>
                        <a:cubicBezTo>
                          <a:pt x="136" y="56"/>
                          <a:pt x="137" y="55"/>
                          <a:pt x="136" y="54"/>
                        </a:cubicBezTo>
                        <a:close/>
                        <a:moveTo>
                          <a:pt x="86" y="91"/>
                        </a:moveTo>
                        <a:cubicBezTo>
                          <a:pt x="74" y="101"/>
                          <a:pt x="57" y="99"/>
                          <a:pt x="47" y="87"/>
                        </a:cubicBezTo>
                        <a:cubicBezTo>
                          <a:pt x="37" y="75"/>
                          <a:pt x="39" y="57"/>
                          <a:pt x="51" y="47"/>
                        </a:cubicBezTo>
                        <a:cubicBezTo>
                          <a:pt x="63" y="38"/>
                          <a:pt x="81" y="40"/>
                          <a:pt x="91" y="52"/>
                        </a:cubicBezTo>
                        <a:cubicBezTo>
                          <a:pt x="100" y="64"/>
                          <a:pt x="99" y="81"/>
                          <a:pt x="86" y="91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313" name="Freeform 312"/>
                  <p:cNvSpPr>
                    <a:spLocks noEditPoints="1"/>
                  </p:cNvSpPr>
                  <p:nvPr/>
                </p:nvSpPr>
                <p:spPr bwMode="auto">
                  <a:xfrm>
                    <a:off x="7142377" y="3678224"/>
                    <a:ext cx="588474" cy="784230"/>
                  </a:xfrm>
                  <a:custGeom>
                    <a:avLst/>
                    <a:gdLst/>
                    <a:ahLst/>
                    <a:cxnLst>
                      <a:cxn ang="0">
                        <a:pos x="259" y="120"/>
                      </a:cxn>
                      <a:cxn ang="0">
                        <a:pos x="254" y="93"/>
                      </a:cxn>
                      <a:cxn ang="0">
                        <a:pos x="250" y="89"/>
                      </a:cxn>
                      <a:cxn ang="0">
                        <a:pos x="231" y="87"/>
                      </a:cxn>
                      <a:cxn ang="0">
                        <a:pos x="216" y="62"/>
                      </a:cxn>
                      <a:cxn ang="0">
                        <a:pos x="224" y="44"/>
                      </a:cxn>
                      <a:cxn ang="0">
                        <a:pos x="222" y="39"/>
                      </a:cxn>
                      <a:cxn ang="0">
                        <a:pos x="202" y="22"/>
                      </a:cxn>
                      <a:cxn ang="0">
                        <a:pos x="196" y="21"/>
                      </a:cxn>
                      <a:cxn ang="0">
                        <a:pos x="180" y="32"/>
                      </a:cxn>
                      <a:cxn ang="0">
                        <a:pos x="152" y="22"/>
                      </a:cxn>
                      <a:cxn ang="0">
                        <a:pos x="147" y="4"/>
                      </a:cxn>
                      <a:cxn ang="0">
                        <a:pos x="143" y="0"/>
                      </a:cxn>
                      <a:cxn ang="0">
                        <a:pos x="116" y="0"/>
                      </a:cxn>
                      <a:cxn ang="0">
                        <a:pos x="111" y="4"/>
                      </a:cxn>
                      <a:cxn ang="0">
                        <a:pos x="106" y="22"/>
                      </a:cxn>
                      <a:cxn ang="0">
                        <a:pos x="78" y="32"/>
                      </a:cxn>
                      <a:cxn ang="0">
                        <a:pos x="62" y="22"/>
                      </a:cxn>
                      <a:cxn ang="0">
                        <a:pos x="56" y="22"/>
                      </a:cxn>
                      <a:cxn ang="0">
                        <a:pos x="36" y="39"/>
                      </a:cxn>
                      <a:cxn ang="0">
                        <a:pos x="35" y="45"/>
                      </a:cxn>
                      <a:cxn ang="0">
                        <a:pos x="43" y="62"/>
                      </a:cxn>
                      <a:cxn ang="0">
                        <a:pos x="28" y="88"/>
                      </a:cxn>
                      <a:cxn ang="0">
                        <a:pos x="9" y="90"/>
                      </a:cxn>
                      <a:cxn ang="0">
                        <a:pos x="5" y="94"/>
                      </a:cxn>
                      <a:cxn ang="0">
                        <a:pos x="0" y="120"/>
                      </a:cxn>
                      <a:cxn ang="0">
                        <a:pos x="3" y="126"/>
                      </a:cxn>
                      <a:cxn ang="0">
                        <a:pos x="20" y="134"/>
                      </a:cxn>
                      <a:cxn ang="0">
                        <a:pos x="25" y="163"/>
                      </a:cxn>
                      <a:cxn ang="0">
                        <a:pos x="12" y="177"/>
                      </a:cxn>
                      <a:cxn ang="0">
                        <a:pos x="11" y="183"/>
                      </a:cxn>
                      <a:cxn ang="0">
                        <a:pos x="25" y="206"/>
                      </a:cxn>
                      <a:cxn ang="0">
                        <a:pos x="30" y="208"/>
                      </a:cxn>
                      <a:cxn ang="0">
                        <a:pos x="49" y="203"/>
                      </a:cxn>
                      <a:cxn ang="0">
                        <a:pos x="71" y="222"/>
                      </a:cxn>
                      <a:cxn ang="0">
                        <a:pos x="70" y="241"/>
                      </a:cxn>
                      <a:cxn ang="0">
                        <a:pos x="73" y="246"/>
                      </a:cxn>
                      <a:cxn ang="0">
                        <a:pos x="98" y="255"/>
                      </a:cxn>
                      <a:cxn ang="0">
                        <a:pos x="104" y="254"/>
                      </a:cxn>
                      <a:cxn ang="0">
                        <a:pos x="115" y="238"/>
                      </a:cxn>
                      <a:cxn ang="0">
                        <a:pos x="130" y="239"/>
                      </a:cxn>
                      <a:cxn ang="0">
                        <a:pos x="145" y="238"/>
                      </a:cxn>
                      <a:cxn ang="0">
                        <a:pos x="156" y="253"/>
                      </a:cxn>
                      <a:cxn ang="0">
                        <a:pos x="161" y="255"/>
                      </a:cxn>
                      <a:cxn ang="0">
                        <a:pos x="187" y="246"/>
                      </a:cxn>
                      <a:cxn ang="0">
                        <a:pos x="190" y="241"/>
                      </a:cxn>
                      <a:cxn ang="0">
                        <a:pos x="188" y="222"/>
                      </a:cxn>
                      <a:cxn ang="0">
                        <a:pos x="211" y="203"/>
                      </a:cxn>
                      <a:cxn ang="0">
                        <a:pos x="230" y="207"/>
                      </a:cxn>
                      <a:cxn ang="0">
                        <a:pos x="235" y="205"/>
                      </a:cxn>
                      <a:cxn ang="0">
                        <a:pos x="248" y="182"/>
                      </a:cxn>
                      <a:cxn ang="0">
                        <a:pos x="248" y="176"/>
                      </a:cxn>
                      <a:cxn ang="0">
                        <a:pos x="234" y="162"/>
                      </a:cxn>
                      <a:cxn ang="0">
                        <a:pos x="239" y="133"/>
                      </a:cxn>
                      <a:cxn ang="0">
                        <a:pos x="256" y="125"/>
                      </a:cxn>
                      <a:cxn ang="0">
                        <a:pos x="259" y="120"/>
                      </a:cxn>
                      <a:cxn ang="0">
                        <a:pos x="165" y="190"/>
                      </a:cxn>
                      <a:cxn ang="0">
                        <a:pos x="69" y="165"/>
                      </a:cxn>
                      <a:cxn ang="0">
                        <a:pos x="94" y="69"/>
                      </a:cxn>
                      <a:cxn ang="0">
                        <a:pos x="190" y="94"/>
                      </a:cxn>
                      <a:cxn ang="0">
                        <a:pos x="165" y="190"/>
                      </a:cxn>
                    </a:cxnLst>
                    <a:rect l="0" t="0" r="r" b="b"/>
                    <a:pathLst>
                      <a:path w="259" h="256">
                        <a:moveTo>
                          <a:pt x="259" y="120"/>
                        </a:moveTo>
                        <a:cubicBezTo>
                          <a:pt x="259" y="118"/>
                          <a:pt x="254" y="94"/>
                          <a:pt x="254" y="93"/>
                        </a:cubicBezTo>
                        <a:cubicBezTo>
                          <a:pt x="254" y="91"/>
                          <a:pt x="252" y="89"/>
                          <a:pt x="250" y="89"/>
                        </a:cubicBezTo>
                        <a:cubicBezTo>
                          <a:pt x="247" y="89"/>
                          <a:pt x="233" y="88"/>
                          <a:pt x="231" y="87"/>
                        </a:cubicBezTo>
                        <a:cubicBezTo>
                          <a:pt x="227" y="78"/>
                          <a:pt x="222" y="70"/>
                          <a:pt x="216" y="62"/>
                        </a:cubicBezTo>
                        <a:cubicBezTo>
                          <a:pt x="217" y="60"/>
                          <a:pt x="223" y="47"/>
                          <a:pt x="224" y="44"/>
                        </a:cubicBezTo>
                        <a:cubicBezTo>
                          <a:pt x="225" y="42"/>
                          <a:pt x="224" y="40"/>
                          <a:pt x="222" y="39"/>
                        </a:cubicBezTo>
                        <a:cubicBezTo>
                          <a:pt x="222" y="38"/>
                          <a:pt x="203" y="22"/>
                          <a:pt x="202" y="22"/>
                        </a:cubicBezTo>
                        <a:cubicBezTo>
                          <a:pt x="200" y="20"/>
                          <a:pt x="198" y="20"/>
                          <a:pt x="196" y="21"/>
                        </a:cubicBezTo>
                        <a:cubicBezTo>
                          <a:pt x="194" y="23"/>
                          <a:pt x="182" y="31"/>
                          <a:pt x="180" y="32"/>
                        </a:cubicBezTo>
                        <a:cubicBezTo>
                          <a:pt x="172" y="27"/>
                          <a:pt x="162" y="24"/>
                          <a:pt x="152" y="22"/>
                        </a:cubicBezTo>
                        <a:cubicBezTo>
                          <a:pt x="152" y="20"/>
                          <a:pt x="148" y="6"/>
                          <a:pt x="147" y="4"/>
                        </a:cubicBezTo>
                        <a:cubicBezTo>
                          <a:pt x="147" y="2"/>
                          <a:pt x="145" y="0"/>
                          <a:pt x="143" y="0"/>
                        </a:cubicBezTo>
                        <a:cubicBezTo>
                          <a:pt x="116" y="0"/>
                          <a:pt x="116" y="0"/>
                          <a:pt x="116" y="0"/>
                        </a:cubicBezTo>
                        <a:cubicBezTo>
                          <a:pt x="113" y="0"/>
                          <a:pt x="112" y="2"/>
                          <a:pt x="111" y="4"/>
                        </a:cubicBezTo>
                        <a:cubicBezTo>
                          <a:pt x="110" y="7"/>
                          <a:pt x="107" y="20"/>
                          <a:pt x="106" y="22"/>
                        </a:cubicBezTo>
                        <a:cubicBezTo>
                          <a:pt x="96" y="24"/>
                          <a:pt x="87" y="28"/>
                          <a:pt x="78" y="32"/>
                        </a:cubicBezTo>
                        <a:cubicBezTo>
                          <a:pt x="76" y="31"/>
                          <a:pt x="65" y="23"/>
                          <a:pt x="62" y="22"/>
                        </a:cubicBezTo>
                        <a:cubicBezTo>
                          <a:pt x="61" y="21"/>
                          <a:pt x="58" y="20"/>
                          <a:pt x="56" y="22"/>
                        </a:cubicBezTo>
                        <a:cubicBezTo>
                          <a:pt x="56" y="23"/>
                          <a:pt x="37" y="38"/>
                          <a:pt x="36" y="39"/>
                        </a:cubicBezTo>
                        <a:cubicBezTo>
                          <a:pt x="34" y="41"/>
                          <a:pt x="34" y="43"/>
                          <a:pt x="35" y="45"/>
                        </a:cubicBezTo>
                        <a:cubicBezTo>
                          <a:pt x="36" y="48"/>
                          <a:pt x="42" y="60"/>
                          <a:pt x="43" y="62"/>
                        </a:cubicBezTo>
                        <a:cubicBezTo>
                          <a:pt x="37" y="70"/>
                          <a:pt x="32" y="79"/>
                          <a:pt x="28" y="88"/>
                        </a:cubicBezTo>
                        <a:cubicBezTo>
                          <a:pt x="25" y="88"/>
                          <a:pt x="12" y="90"/>
                          <a:pt x="9" y="90"/>
                        </a:cubicBezTo>
                        <a:cubicBezTo>
                          <a:pt x="7" y="90"/>
                          <a:pt x="5" y="91"/>
                          <a:pt x="5" y="94"/>
                        </a:cubicBezTo>
                        <a:cubicBezTo>
                          <a:pt x="4" y="95"/>
                          <a:pt x="0" y="119"/>
                          <a:pt x="0" y="120"/>
                        </a:cubicBezTo>
                        <a:cubicBezTo>
                          <a:pt x="0" y="123"/>
                          <a:pt x="1" y="125"/>
                          <a:pt x="3" y="126"/>
                        </a:cubicBezTo>
                        <a:cubicBezTo>
                          <a:pt x="6" y="127"/>
                          <a:pt x="18" y="133"/>
                          <a:pt x="20" y="134"/>
                        </a:cubicBezTo>
                        <a:cubicBezTo>
                          <a:pt x="20" y="144"/>
                          <a:pt x="22" y="154"/>
                          <a:pt x="25" y="163"/>
                        </a:cubicBezTo>
                        <a:cubicBezTo>
                          <a:pt x="24" y="165"/>
                          <a:pt x="14" y="175"/>
                          <a:pt x="12" y="177"/>
                        </a:cubicBezTo>
                        <a:cubicBezTo>
                          <a:pt x="10" y="178"/>
                          <a:pt x="10" y="180"/>
                          <a:pt x="11" y="183"/>
                        </a:cubicBezTo>
                        <a:cubicBezTo>
                          <a:pt x="12" y="184"/>
                          <a:pt x="24" y="205"/>
                          <a:pt x="25" y="206"/>
                        </a:cubicBezTo>
                        <a:cubicBezTo>
                          <a:pt x="26" y="208"/>
                          <a:pt x="28" y="208"/>
                          <a:pt x="30" y="208"/>
                        </a:cubicBezTo>
                        <a:cubicBezTo>
                          <a:pt x="33" y="207"/>
                          <a:pt x="46" y="204"/>
                          <a:pt x="49" y="203"/>
                        </a:cubicBezTo>
                        <a:cubicBezTo>
                          <a:pt x="55" y="210"/>
                          <a:pt x="63" y="217"/>
                          <a:pt x="71" y="222"/>
                        </a:cubicBezTo>
                        <a:cubicBezTo>
                          <a:pt x="71" y="224"/>
                          <a:pt x="70" y="238"/>
                          <a:pt x="70" y="241"/>
                        </a:cubicBezTo>
                        <a:cubicBezTo>
                          <a:pt x="70" y="243"/>
                          <a:pt x="71" y="245"/>
                          <a:pt x="73" y="246"/>
                        </a:cubicBezTo>
                        <a:cubicBezTo>
                          <a:pt x="74" y="247"/>
                          <a:pt x="97" y="255"/>
                          <a:pt x="98" y="255"/>
                        </a:cubicBezTo>
                        <a:cubicBezTo>
                          <a:pt x="101" y="256"/>
                          <a:pt x="103" y="255"/>
                          <a:pt x="104" y="254"/>
                        </a:cubicBezTo>
                        <a:cubicBezTo>
                          <a:pt x="106" y="251"/>
                          <a:pt x="114" y="240"/>
                          <a:pt x="115" y="238"/>
                        </a:cubicBezTo>
                        <a:cubicBezTo>
                          <a:pt x="120" y="239"/>
                          <a:pt x="125" y="239"/>
                          <a:pt x="130" y="239"/>
                        </a:cubicBezTo>
                        <a:cubicBezTo>
                          <a:pt x="135" y="239"/>
                          <a:pt x="140" y="239"/>
                          <a:pt x="145" y="238"/>
                        </a:cubicBezTo>
                        <a:cubicBezTo>
                          <a:pt x="146" y="240"/>
                          <a:pt x="154" y="251"/>
                          <a:pt x="156" y="253"/>
                        </a:cubicBezTo>
                        <a:cubicBezTo>
                          <a:pt x="157" y="255"/>
                          <a:pt x="159" y="256"/>
                          <a:pt x="161" y="255"/>
                        </a:cubicBezTo>
                        <a:cubicBezTo>
                          <a:pt x="163" y="255"/>
                          <a:pt x="186" y="246"/>
                          <a:pt x="187" y="246"/>
                        </a:cubicBezTo>
                        <a:cubicBezTo>
                          <a:pt x="189" y="245"/>
                          <a:pt x="190" y="243"/>
                          <a:pt x="190" y="241"/>
                        </a:cubicBezTo>
                        <a:cubicBezTo>
                          <a:pt x="190" y="238"/>
                          <a:pt x="188" y="224"/>
                          <a:pt x="188" y="222"/>
                        </a:cubicBezTo>
                        <a:cubicBezTo>
                          <a:pt x="197" y="216"/>
                          <a:pt x="204" y="210"/>
                          <a:pt x="211" y="203"/>
                        </a:cubicBezTo>
                        <a:cubicBezTo>
                          <a:pt x="213" y="203"/>
                          <a:pt x="227" y="207"/>
                          <a:pt x="230" y="207"/>
                        </a:cubicBezTo>
                        <a:cubicBezTo>
                          <a:pt x="231" y="208"/>
                          <a:pt x="234" y="207"/>
                          <a:pt x="235" y="205"/>
                        </a:cubicBezTo>
                        <a:cubicBezTo>
                          <a:pt x="235" y="204"/>
                          <a:pt x="248" y="183"/>
                          <a:pt x="248" y="182"/>
                        </a:cubicBezTo>
                        <a:cubicBezTo>
                          <a:pt x="249" y="180"/>
                          <a:pt x="249" y="178"/>
                          <a:pt x="248" y="176"/>
                        </a:cubicBezTo>
                        <a:cubicBezTo>
                          <a:pt x="245" y="174"/>
                          <a:pt x="236" y="164"/>
                          <a:pt x="234" y="162"/>
                        </a:cubicBezTo>
                        <a:cubicBezTo>
                          <a:pt x="237" y="153"/>
                          <a:pt x="239" y="143"/>
                          <a:pt x="239" y="133"/>
                        </a:cubicBezTo>
                        <a:cubicBezTo>
                          <a:pt x="241" y="132"/>
                          <a:pt x="254" y="126"/>
                          <a:pt x="256" y="125"/>
                        </a:cubicBezTo>
                        <a:cubicBezTo>
                          <a:pt x="258" y="124"/>
                          <a:pt x="259" y="122"/>
                          <a:pt x="259" y="120"/>
                        </a:cubicBezTo>
                        <a:close/>
                        <a:moveTo>
                          <a:pt x="165" y="190"/>
                        </a:moveTo>
                        <a:cubicBezTo>
                          <a:pt x="131" y="209"/>
                          <a:pt x="88" y="198"/>
                          <a:pt x="69" y="165"/>
                        </a:cubicBezTo>
                        <a:cubicBezTo>
                          <a:pt x="50" y="131"/>
                          <a:pt x="61" y="88"/>
                          <a:pt x="94" y="69"/>
                        </a:cubicBezTo>
                        <a:cubicBezTo>
                          <a:pt x="128" y="49"/>
                          <a:pt x="171" y="60"/>
                          <a:pt x="190" y="94"/>
                        </a:cubicBezTo>
                        <a:cubicBezTo>
                          <a:pt x="210" y="127"/>
                          <a:pt x="198" y="170"/>
                          <a:pt x="165" y="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452176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2100">
                      <a:solidFill>
                        <a:srgbClr val="0096D6"/>
                      </a:solidFill>
                      <a:latin typeface="Calibri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</p:grpSp>
            <p:sp>
              <p:nvSpPr>
                <p:cNvPr id="310" name="Freeform 132"/>
                <p:cNvSpPr>
                  <a:spLocks/>
                </p:cNvSpPr>
                <p:nvPr/>
              </p:nvSpPr>
              <p:spPr bwMode="auto">
                <a:xfrm>
                  <a:off x="3312884" y="4085766"/>
                  <a:ext cx="91795" cy="115799"/>
                </a:xfrm>
                <a:custGeom>
                  <a:avLst/>
                  <a:gdLst/>
                  <a:ahLst/>
                  <a:cxnLst>
                    <a:cxn ang="0">
                      <a:pos x="139" y="98"/>
                    </a:cxn>
                    <a:cxn ang="0">
                      <a:pos x="136" y="76"/>
                    </a:cxn>
                    <a:cxn ang="0">
                      <a:pos x="177" y="36"/>
                    </a:cxn>
                    <a:cxn ang="0">
                      <a:pos x="161" y="18"/>
                    </a:cxn>
                    <a:cxn ang="0">
                      <a:pos x="121" y="61"/>
                    </a:cxn>
                    <a:cxn ang="0">
                      <a:pos x="99" y="58"/>
                    </a:cxn>
                    <a:cxn ang="0">
                      <a:pos x="70" y="0"/>
                    </a:cxn>
                    <a:cxn ang="0">
                      <a:pos x="51" y="14"/>
                    </a:cxn>
                    <a:cxn ang="0">
                      <a:pos x="80" y="67"/>
                    </a:cxn>
                    <a:cxn ang="0">
                      <a:pos x="70" y="87"/>
                    </a:cxn>
                    <a:cxn ang="0">
                      <a:pos x="1" y="97"/>
                    </a:cxn>
                    <a:cxn ang="0">
                      <a:pos x="2" y="121"/>
                    </a:cxn>
                    <a:cxn ang="0">
                      <a:pos x="73" y="108"/>
                    </a:cxn>
                    <a:cxn ang="0">
                      <a:pos x="89" y="124"/>
                    </a:cxn>
                    <a:cxn ang="0">
                      <a:pos x="79" y="182"/>
                    </a:cxn>
                    <a:cxn ang="0">
                      <a:pos x="103" y="181"/>
                    </a:cxn>
                    <a:cxn ang="0">
                      <a:pos x="110" y="127"/>
                    </a:cxn>
                    <a:cxn ang="0">
                      <a:pos x="130" y="117"/>
                    </a:cxn>
                    <a:cxn ang="0">
                      <a:pos x="180" y="143"/>
                    </a:cxn>
                    <a:cxn ang="0">
                      <a:pos x="193" y="123"/>
                    </a:cxn>
                    <a:cxn ang="0">
                      <a:pos x="139" y="98"/>
                    </a:cxn>
                  </a:cxnLst>
                  <a:rect l="0" t="0" r="r" b="b"/>
                  <a:pathLst>
                    <a:path w="193" h="182">
                      <a:moveTo>
                        <a:pt x="139" y="98"/>
                      </a:moveTo>
                      <a:cubicBezTo>
                        <a:pt x="128" y="93"/>
                        <a:pt x="127" y="85"/>
                        <a:pt x="136" y="76"/>
                      </a:cubicBezTo>
                      <a:cubicBezTo>
                        <a:pt x="141" y="71"/>
                        <a:pt x="161" y="51"/>
                        <a:pt x="177" y="36"/>
                      </a:cubicBezTo>
                      <a:cubicBezTo>
                        <a:pt x="172" y="30"/>
                        <a:pt x="167" y="24"/>
                        <a:pt x="161" y="18"/>
                      </a:cubicBezTo>
                      <a:cubicBezTo>
                        <a:pt x="146" y="35"/>
                        <a:pt x="126" y="56"/>
                        <a:pt x="121" y="61"/>
                      </a:cubicBezTo>
                      <a:cubicBezTo>
                        <a:pt x="112" y="70"/>
                        <a:pt x="104" y="69"/>
                        <a:pt x="99" y="58"/>
                      </a:cubicBezTo>
                      <a:cubicBezTo>
                        <a:pt x="95" y="50"/>
                        <a:pt x="80" y="20"/>
                        <a:pt x="70" y="0"/>
                      </a:cubicBezTo>
                      <a:cubicBezTo>
                        <a:pt x="63" y="4"/>
                        <a:pt x="57" y="9"/>
                        <a:pt x="51" y="14"/>
                      </a:cubicBezTo>
                      <a:cubicBezTo>
                        <a:pt x="62" y="34"/>
                        <a:pt x="76" y="60"/>
                        <a:pt x="80" y="67"/>
                      </a:cubicBezTo>
                      <a:cubicBezTo>
                        <a:pt x="86" y="78"/>
                        <a:pt x="82" y="85"/>
                        <a:pt x="70" y="87"/>
                      </a:cubicBezTo>
                      <a:cubicBezTo>
                        <a:pt x="61" y="89"/>
                        <a:pt x="23" y="94"/>
                        <a:pt x="1" y="97"/>
                      </a:cubicBezTo>
                      <a:cubicBezTo>
                        <a:pt x="0" y="105"/>
                        <a:pt x="0" y="113"/>
                        <a:pt x="2" y="121"/>
                      </a:cubicBezTo>
                      <a:cubicBezTo>
                        <a:pt x="23" y="117"/>
                        <a:pt x="64" y="109"/>
                        <a:pt x="73" y="108"/>
                      </a:cubicBezTo>
                      <a:cubicBezTo>
                        <a:pt x="85" y="106"/>
                        <a:pt x="91" y="111"/>
                        <a:pt x="89" y="124"/>
                      </a:cubicBezTo>
                      <a:cubicBezTo>
                        <a:pt x="88" y="131"/>
                        <a:pt x="83" y="160"/>
                        <a:pt x="79" y="182"/>
                      </a:cubicBezTo>
                      <a:cubicBezTo>
                        <a:pt x="87" y="182"/>
                        <a:pt x="95" y="182"/>
                        <a:pt x="103" y="181"/>
                      </a:cubicBezTo>
                      <a:cubicBezTo>
                        <a:pt x="106" y="159"/>
                        <a:pt x="109" y="134"/>
                        <a:pt x="110" y="127"/>
                      </a:cubicBezTo>
                      <a:cubicBezTo>
                        <a:pt x="111" y="115"/>
                        <a:pt x="119" y="111"/>
                        <a:pt x="130" y="117"/>
                      </a:cubicBezTo>
                      <a:cubicBezTo>
                        <a:pt x="136" y="120"/>
                        <a:pt x="161" y="133"/>
                        <a:pt x="180" y="143"/>
                      </a:cubicBezTo>
                      <a:cubicBezTo>
                        <a:pt x="186" y="137"/>
                        <a:pt x="190" y="130"/>
                        <a:pt x="193" y="123"/>
                      </a:cubicBezTo>
                      <a:cubicBezTo>
                        <a:pt x="172" y="114"/>
                        <a:pt x="146" y="101"/>
                        <a:pt x="139" y="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217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100" dirty="0">
                    <a:solidFill>
                      <a:srgbClr val="0096D6"/>
                    </a:solidFill>
                    <a:latin typeface="Calibri"/>
                    <a:ea typeface="ＭＳ Ｐゴシック" pitchFamily="34" charset="-128"/>
                    <a:cs typeface="Apple LiGothic Medium"/>
                  </a:endParaRPr>
                </a:p>
              </p:txBody>
            </p:sp>
          </p:grpSp>
        </p:grpSp>
        <p:sp>
          <p:nvSpPr>
            <p:cNvPr id="305" name="Rounded Rectangle 41"/>
            <p:cNvSpPr/>
            <p:nvPr/>
          </p:nvSpPr>
          <p:spPr>
            <a:xfrm>
              <a:off x="3825777" y="4513365"/>
              <a:ext cx="914400" cy="313124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91440" tIns="45720" rIns="91440" bIns="45720" rtlCol="0" anchor="ctr"/>
            <a:lstStyle/>
            <a:p>
              <a:pPr algn="ctr" defTabSz="68548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Host A</a:t>
              </a:r>
            </a:p>
            <a:p>
              <a:pPr algn="ctr" defTabSz="685484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VNI 30000</a:t>
              </a:r>
            </a:p>
          </p:txBody>
        </p:sp>
      </p:grpSp>
      <p:cxnSp>
        <p:nvCxnSpPr>
          <p:cNvPr id="314" name="Straight Connector 313"/>
          <p:cNvCxnSpPr/>
          <p:nvPr/>
        </p:nvCxnSpPr>
        <p:spPr bwMode="auto">
          <a:xfrm flipV="1">
            <a:off x="6784170" y="3866223"/>
            <a:ext cx="3656648" cy="0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cxnSp>
        <p:nvCxnSpPr>
          <p:cNvPr id="315" name="Straight Connector 314"/>
          <p:cNvCxnSpPr/>
          <p:nvPr/>
        </p:nvCxnSpPr>
        <p:spPr bwMode="auto">
          <a:xfrm flipV="1">
            <a:off x="6958925" y="3808903"/>
            <a:ext cx="4875530" cy="0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cxnSp>
        <p:nvCxnSpPr>
          <p:cNvPr id="316" name="Straight Connector 315"/>
          <p:cNvCxnSpPr/>
          <p:nvPr/>
        </p:nvCxnSpPr>
        <p:spPr bwMode="auto">
          <a:xfrm>
            <a:off x="8072271" y="4078357"/>
            <a:ext cx="3113" cy="1219197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cxnSp>
        <p:nvCxnSpPr>
          <p:cNvPr id="317" name="Straight Connector 316"/>
          <p:cNvCxnSpPr/>
          <p:nvPr/>
        </p:nvCxnSpPr>
        <p:spPr bwMode="auto">
          <a:xfrm>
            <a:off x="9818328" y="3530019"/>
            <a:ext cx="0" cy="731520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rgbClr val="E44132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cxnSp>
        <p:nvCxnSpPr>
          <p:cNvPr id="318" name="Straight Connector 317"/>
          <p:cNvCxnSpPr/>
          <p:nvPr/>
        </p:nvCxnSpPr>
        <p:spPr bwMode="auto">
          <a:xfrm>
            <a:off x="11089298" y="2812740"/>
            <a:ext cx="0" cy="731520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rgbClr val="E44132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cxnSp>
        <p:nvCxnSpPr>
          <p:cNvPr id="324" name="Straight Connector 323"/>
          <p:cNvCxnSpPr/>
          <p:nvPr/>
        </p:nvCxnSpPr>
        <p:spPr bwMode="auto">
          <a:xfrm>
            <a:off x="8287743" y="4435784"/>
            <a:ext cx="0" cy="487680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rgbClr val="E44132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grpSp>
        <p:nvGrpSpPr>
          <p:cNvPr id="325" name="Group 324"/>
          <p:cNvGrpSpPr/>
          <p:nvPr/>
        </p:nvGrpSpPr>
        <p:grpSpPr>
          <a:xfrm>
            <a:off x="7959821" y="4570452"/>
            <a:ext cx="820222" cy="1037992"/>
            <a:chOff x="5197809" y="1470085"/>
            <a:chExt cx="615327" cy="778494"/>
          </a:xfrm>
        </p:grpSpPr>
        <p:grpSp>
          <p:nvGrpSpPr>
            <p:cNvPr id="326" name="Group 325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33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331" name="Group 330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332" name="Hexagon 33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632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4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333" name="TextBox 332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1218632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21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1</a:t>
                  </a:r>
                </a:p>
              </p:txBody>
            </p:sp>
          </p:grpSp>
        </p:grpSp>
        <p:grpSp>
          <p:nvGrpSpPr>
            <p:cNvPr id="327" name="Group 326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28" name="Oval 327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9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cxnSp>
        <p:nvCxnSpPr>
          <p:cNvPr id="334" name="Straight Connector 333"/>
          <p:cNvCxnSpPr/>
          <p:nvPr/>
        </p:nvCxnSpPr>
        <p:spPr bwMode="auto">
          <a:xfrm>
            <a:off x="9729771" y="3111397"/>
            <a:ext cx="3113" cy="1219197"/>
          </a:xfrm>
          <a:prstGeom prst="line">
            <a:avLst/>
          </a:prstGeom>
          <a:solidFill>
            <a:srgbClr val="0183B7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</p:cxnSp>
      <p:grpSp>
        <p:nvGrpSpPr>
          <p:cNvPr id="335" name="Group 334"/>
          <p:cNvGrpSpPr/>
          <p:nvPr/>
        </p:nvGrpSpPr>
        <p:grpSpPr>
          <a:xfrm>
            <a:off x="9617781" y="3698168"/>
            <a:ext cx="820222" cy="1037992"/>
            <a:chOff x="5197809" y="1470085"/>
            <a:chExt cx="615327" cy="778494"/>
          </a:xfrm>
        </p:grpSpPr>
        <p:grpSp>
          <p:nvGrpSpPr>
            <p:cNvPr id="336" name="Group 335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34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341" name="Group 340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342" name="Hexagon 34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632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4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343" name="TextBox 342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1218632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21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3</a:t>
                  </a:r>
                </a:p>
              </p:txBody>
            </p:sp>
          </p:grpSp>
        </p:grpSp>
        <p:grpSp>
          <p:nvGrpSpPr>
            <p:cNvPr id="337" name="Group 336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38" name="Oval 337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9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346" name="Group 345"/>
          <p:cNvGrpSpPr/>
          <p:nvPr/>
        </p:nvGrpSpPr>
        <p:grpSpPr>
          <a:xfrm>
            <a:off x="10846421" y="2922233"/>
            <a:ext cx="820222" cy="1037992"/>
            <a:chOff x="5197809" y="1470085"/>
            <a:chExt cx="615327" cy="778494"/>
          </a:xfrm>
        </p:grpSpPr>
        <p:grpSp>
          <p:nvGrpSpPr>
            <p:cNvPr id="347" name="Group 346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351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352" name="Group 351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353" name="Hexagon 352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8632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24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354" name="TextBox 353"/>
                <p:cNvSpPr txBox="1"/>
                <p:nvPr/>
              </p:nvSpPr>
              <p:spPr>
                <a:xfrm>
                  <a:off x="3251018" y="3604947"/>
                  <a:ext cx="209660" cy="222176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1218632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21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r>
                    <a:rPr lang="en-US" sz="2100" b="1" baseline="30000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2</a:t>
                  </a:r>
                </a:p>
              </p:txBody>
            </p:sp>
          </p:grpSp>
        </p:grpSp>
        <p:grpSp>
          <p:nvGrpSpPr>
            <p:cNvPr id="348" name="Group 347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49" name="Oval 348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0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218632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24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355" name="TextBox 354"/>
          <p:cNvSpPr txBox="1"/>
          <p:nvPr/>
        </p:nvSpPr>
        <p:spPr>
          <a:xfrm>
            <a:off x="409618" y="6104687"/>
            <a:ext cx="2409572" cy="292388"/>
          </a:xfrm>
          <a:prstGeom prst="rect">
            <a:avLst/>
          </a:prstGeom>
          <a:noFill/>
        </p:spPr>
        <p:txBody>
          <a:bodyPr wrap="none" lIns="121861" tIns="60931" rIns="121861" bIns="60931" rtlCol="0">
            <a:spAutoFit/>
          </a:bodyPr>
          <a:lstStyle/>
          <a:p>
            <a:pPr defTabSz="1218632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*Requires EVPN Control-Plane.</a:t>
            </a:r>
          </a:p>
        </p:txBody>
      </p:sp>
    </p:spTree>
    <p:extLst>
      <p:ext uri="{BB962C8B-B14F-4D97-AF65-F5344CB8AC3E}">
        <p14:creationId xmlns:p14="http://schemas.microsoft.com/office/powerpoint/2010/main" val="21394579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n 3"/>
          <p:cNvSpPr/>
          <p:nvPr/>
        </p:nvSpPr>
        <p:spPr bwMode="auto">
          <a:xfrm>
            <a:off x="6401186" y="4820663"/>
            <a:ext cx="258943" cy="961663"/>
          </a:xfrm>
          <a:prstGeom prst="can">
            <a:avLst/>
          </a:pr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3881"/>
            <a:endParaRPr lang="en-US" sz="15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XLAN/EVPN Fabric External </a:t>
            </a:r>
            <a:r>
              <a:rPr lang="en-US" dirty="0"/>
              <a:t>Routing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Border Leaf/Spine </a:t>
            </a:r>
            <a:r>
              <a:rPr lang="en-US" dirty="0"/>
              <a:t>provides Layer-2 and Layer-3 </a:t>
            </a:r>
            <a:r>
              <a:rPr lang="en-US" dirty="0" smtClean="0"/>
              <a:t>connectivity to external Network</a:t>
            </a:r>
          </a:p>
          <a:p>
            <a:r>
              <a:rPr lang="en-US" dirty="0" err="1" smtClean="0"/>
              <a:t>eBGP</a:t>
            </a:r>
            <a:r>
              <a:rPr lang="en-US" dirty="0" smtClean="0"/>
              <a:t> and OSPF are Layer-3 Routing Protocols available for external routing</a:t>
            </a:r>
          </a:p>
          <a:p>
            <a:r>
              <a:rPr lang="en-US" dirty="0" smtClean="0"/>
              <a:t>Today, VRF-lite allows to extend VRF outside of the fabric</a:t>
            </a:r>
          </a:p>
          <a:p>
            <a:r>
              <a:rPr lang="en-US" dirty="0" smtClean="0"/>
              <a:t>With Nexus 7000/7700 and F3, LISP &amp; MPLS L3VPN becomes available for fabric extensio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Overlay</a:t>
            </a:r>
            <a:endParaRPr lang="en-US" dirty="0"/>
          </a:p>
        </p:txBody>
      </p:sp>
      <p:cxnSp>
        <p:nvCxnSpPr>
          <p:cNvPr id="48" name="Straight Connector 47"/>
          <p:cNvCxnSpPr/>
          <p:nvPr/>
        </p:nvCxnSpPr>
        <p:spPr bwMode="auto">
          <a:xfrm flipV="1">
            <a:off x="6844069" y="3000041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 flipV="1">
            <a:off x="8104884" y="3000043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/>
          <p:cNvCxnSpPr/>
          <p:nvPr/>
        </p:nvCxnSpPr>
        <p:spPr bwMode="auto">
          <a:xfrm>
            <a:off x="8109270" y="3000077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/>
        </p:nvCxnSpPr>
        <p:spPr bwMode="auto">
          <a:xfrm flipV="1">
            <a:off x="6844068" y="3000041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/>
          <p:cNvCxnSpPr/>
          <p:nvPr/>
        </p:nvCxnSpPr>
        <p:spPr bwMode="auto">
          <a:xfrm flipV="1">
            <a:off x="6844069" y="3000041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Straight Connector 52"/>
          <p:cNvCxnSpPr/>
          <p:nvPr/>
        </p:nvCxnSpPr>
        <p:spPr bwMode="auto">
          <a:xfrm flipV="1">
            <a:off x="6844069" y="3000041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/>
          <p:cNvCxnSpPr/>
          <p:nvPr/>
        </p:nvCxnSpPr>
        <p:spPr bwMode="auto">
          <a:xfrm flipV="1">
            <a:off x="8104886" y="3000043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/>
          <p:cNvCxnSpPr/>
          <p:nvPr/>
        </p:nvCxnSpPr>
        <p:spPr bwMode="auto">
          <a:xfrm flipV="1">
            <a:off x="8104884" y="3000043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Straight Connector 55"/>
          <p:cNvCxnSpPr/>
          <p:nvPr/>
        </p:nvCxnSpPr>
        <p:spPr bwMode="auto">
          <a:xfrm flipV="1">
            <a:off x="8104886" y="3000043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Straight Connector 56"/>
          <p:cNvCxnSpPr/>
          <p:nvPr/>
        </p:nvCxnSpPr>
        <p:spPr bwMode="auto">
          <a:xfrm>
            <a:off x="8752605" y="3000077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Straight Connector 57"/>
          <p:cNvCxnSpPr/>
          <p:nvPr/>
        </p:nvCxnSpPr>
        <p:spPr bwMode="auto">
          <a:xfrm>
            <a:off x="9395868" y="3000077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>
            <a:off x="10039203" y="3000077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60" name="Group 59"/>
          <p:cNvGrpSpPr/>
          <p:nvPr/>
        </p:nvGrpSpPr>
        <p:grpSpPr>
          <a:xfrm>
            <a:off x="7796349" y="2621190"/>
            <a:ext cx="2522935" cy="582051"/>
            <a:chOff x="3581400" y="2152650"/>
            <a:chExt cx="1892694" cy="436538"/>
          </a:xfrm>
        </p:grpSpPr>
        <p:pic>
          <p:nvPicPr>
            <p:cNvPr id="8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9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9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9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61" name="Freeform 6"/>
          <p:cNvSpPr>
            <a:spLocks noChangeAspect="1"/>
          </p:cNvSpPr>
          <p:nvPr/>
        </p:nvSpPr>
        <p:spPr bwMode="auto">
          <a:xfrm>
            <a:off x="5462192" y="1706789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760" tIns="60880" rIns="121760" bIns="60880" numCol="1" anchor="ctr" anchorCtr="0" compatLnSpc="1">
            <a:prstTxWarp prst="textNoShape">
              <a:avLst/>
            </a:prstTxWarp>
          </a:bodyPr>
          <a:lstStyle/>
          <a:p>
            <a:pPr algn="ctr" defTabSz="1217415"/>
            <a:endParaRPr lang="en-US" sz="3200" dirty="0">
              <a:cs typeface="Cambria"/>
            </a:endParaRPr>
          </a:p>
        </p:txBody>
      </p:sp>
      <p:sp>
        <p:nvSpPr>
          <p:cNvPr id="64" name="Freeform 6"/>
          <p:cNvSpPr>
            <a:spLocks noChangeAspect="1"/>
          </p:cNvSpPr>
          <p:nvPr/>
        </p:nvSpPr>
        <p:spPr bwMode="auto">
          <a:xfrm>
            <a:off x="5462192" y="1657349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rgbClr val="6E3548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  <p:txBody>
          <a:bodyPr vert="horz" wrap="square" lIns="121760" tIns="60880" rIns="121760" bIns="60880" numCol="1" anchor="ctr" anchorCtr="0" compatLnSpc="1">
            <a:prstTxWarp prst="textNoShape">
              <a:avLst/>
            </a:prstTxWarp>
          </a:bodyPr>
          <a:lstStyle/>
          <a:p>
            <a:pPr algn="ctr" defTabSz="1217415"/>
            <a:endParaRPr lang="en-US" sz="3200" dirty="0">
              <a:cs typeface="Cambria"/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6114379" y="4314747"/>
            <a:ext cx="820222" cy="805025"/>
            <a:chOff x="4517870" y="2651692"/>
            <a:chExt cx="615327" cy="603769"/>
          </a:xfrm>
        </p:grpSpPr>
        <p:pic>
          <p:nvPicPr>
            <p:cNvPr id="98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99" name="Group 98"/>
            <p:cNvGrpSpPr/>
            <p:nvPr/>
          </p:nvGrpSpPr>
          <p:grpSpPr>
            <a:xfrm>
              <a:off x="4669605" y="2798128"/>
              <a:ext cx="311860" cy="310896"/>
              <a:chOff x="3199920" y="3562350"/>
              <a:chExt cx="311860" cy="310896"/>
            </a:xfrm>
          </p:grpSpPr>
          <p:sp>
            <p:nvSpPr>
              <p:cNvPr id="100" name="Hexagon 99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3199920" y="3604947"/>
                <a:ext cx="3118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BL</a:t>
                </a:r>
              </a:p>
            </p:txBody>
          </p:sp>
        </p:grpSp>
      </p:grpSp>
      <p:sp>
        <p:nvSpPr>
          <p:cNvPr id="3" name="Cloud 2"/>
          <p:cNvSpPr/>
          <p:nvPr/>
        </p:nvSpPr>
        <p:spPr bwMode="auto">
          <a:xfrm>
            <a:off x="5723029" y="5695997"/>
            <a:ext cx="1602981" cy="764397"/>
          </a:xfrm>
          <a:prstGeom prst="cloud">
            <a:avLst/>
          </a:prstGeom>
          <a:solidFill>
            <a:srgbClr val="FFFFFF">
              <a:alpha val="70000"/>
            </a:srgbClr>
          </a:solidFill>
          <a:ln w="3175" cmpd="sng">
            <a:solidFill>
              <a:schemeClr val="accent5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vert="horz" wrap="square" lIns="121760" tIns="60880" rIns="121760" bIns="60880" numCol="1" anchor="ctr" anchorCtr="0" compatLnSpc="1">
            <a:prstTxWarp prst="textNoShape">
              <a:avLst/>
            </a:prstTxWarp>
          </a:bodyPr>
          <a:lstStyle/>
          <a:p>
            <a:pPr algn="ctr" defTabSz="1217415"/>
            <a:r>
              <a:rPr lang="en-US" sz="2000" dirty="0">
                <a:cs typeface="Cambria"/>
                <a:sym typeface="Arial" pitchFamily="-107" charset="0"/>
              </a:rPr>
              <a:t>WAN</a:t>
            </a:r>
          </a:p>
        </p:txBody>
      </p:sp>
      <p:grpSp>
        <p:nvGrpSpPr>
          <p:cNvPr id="112" name="Group 51"/>
          <p:cNvGrpSpPr>
            <a:grpSpLocks noChangeAspect="1"/>
          </p:cNvGrpSpPr>
          <p:nvPr/>
        </p:nvGrpSpPr>
        <p:grpSpPr bwMode="auto">
          <a:xfrm>
            <a:off x="6223259" y="5572703"/>
            <a:ext cx="603672" cy="316152"/>
            <a:chOff x="1725" y="1914"/>
            <a:chExt cx="421" cy="21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3" name="AutoShape 52"/>
            <p:cNvSpPr>
              <a:spLocks noChangeAspect="1" noChangeArrowheads="1" noTextEdit="1"/>
            </p:cNvSpPr>
            <p:nvPr/>
          </p:nvSpPr>
          <p:spPr bwMode="auto">
            <a:xfrm>
              <a:off x="1725" y="1914"/>
              <a:ext cx="421" cy="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sp>
          <p:nvSpPr>
            <p:cNvPr id="114" name="Oval 53"/>
            <p:cNvSpPr>
              <a:spLocks noChangeArrowheads="1"/>
            </p:cNvSpPr>
            <p:nvPr/>
          </p:nvSpPr>
          <p:spPr bwMode="auto">
            <a:xfrm>
              <a:off x="1726" y="2006"/>
              <a:ext cx="419" cy="126"/>
            </a:xfrm>
            <a:prstGeom prst="ellipse">
              <a:avLst/>
            </a:prstGeom>
            <a:solidFill>
              <a:srgbClr val="7D7FD5"/>
            </a:solidFill>
            <a:ln w="9525">
              <a:solidFill>
                <a:srgbClr val="111111"/>
              </a:solidFill>
              <a:round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sp>
          <p:nvSpPr>
            <p:cNvPr id="115" name="Rectangle 54"/>
            <p:cNvSpPr>
              <a:spLocks noChangeArrowheads="1"/>
            </p:cNvSpPr>
            <p:nvPr/>
          </p:nvSpPr>
          <p:spPr bwMode="auto">
            <a:xfrm>
              <a:off x="1725" y="1980"/>
              <a:ext cx="418" cy="90"/>
            </a:xfrm>
            <a:prstGeom prst="rect">
              <a:avLst/>
            </a:prstGeom>
            <a:solidFill>
              <a:srgbClr val="0078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sp>
          <p:nvSpPr>
            <p:cNvPr id="116" name="Rectangle 55"/>
            <p:cNvSpPr>
              <a:spLocks noChangeArrowheads="1"/>
            </p:cNvSpPr>
            <p:nvPr/>
          </p:nvSpPr>
          <p:spPr bwMode="auto">
            <a:xfrm>
              <a:off x="1725" y="1980"/>
              <a:ext cx="418" cy="90"/>
            </a:xfrm>
            <a:prstGeom prst="rect">
              <a:avLst/>
            </a:prstGeom>
            <a:solidFill>
              <a:srgbClr val="7D7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sp>
          <p:nvSpPr>
            <p:cNvPr id="117" name="Oval 56"/>
            <p:cNvSpPr>
              <a:spLocks noChangeArrowheads="1"/>
            </p:cNvSpPr>
            <p:nvPr/>
          </p:nvSpPr>
          <p:spPr bwMode="auto">
            <a:xfrm>
              <a:off x="1726" y="1915"/>
              <a:ext cx="419" cy="126"/>
            </a:xfrm>
            <a:prstGeom prst="ellipse">
              <a:avLst/>
            </a:prstGeom>
            <a:gradFill rotWithShape="1">
              <a:gsLst>
                <a:gs pos="0">
                  <a:srgbClr val="7D7FD5"/>
                </a:gs>
                <a:gs pos="100000">
                  <a:srgbClr val="5F5F5F"/>
                </a:gs>
              </a:gsLst>
              <a:lin ang="5400000" scaled="1"/>
            </a:gradFill>
            <a:ln w="9525">
              <a:solidFill>
                <a:srgbClr val="111111"/>
              </a:solidFill>
              <a:round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grpSp>
          <p:nvGrpSpPr>
            <p:cNvPr id="118" name="Group 57"/>
            <p:cNvGrpSpPr>
              <a:grpSpLocks/>
            </p:cNvGrpSpPr>
            <p:nvPr/>
          </p:nvGrpSpPr>
          <p:grpSpPr bwMode="auto">
            <a:xfrm>
              <a:off x="1789" y="1930"/>
              <a:ext cx="291" cy="97"/>
              <a:chOff x="2220" y="1295"/>
              <a:chExt cx="911" cy="343"/>
            </a:xfrm>
          </p:grpSpPr>
          <p:grpSp>
            <p:nvGrpSpPr>
              <p:cNvPr id="121" name="Group 58"/>
              <p:cNvGrpSpPr>
                <a:grpSpLocks/>
              </p:cNvGrpSpPr>
              <p:nvPr/>
            </p:nvGrpSpPr>
            <p:grpSpPr bwMode="auto">
              <a:xfrm>
                <a:off x="2220" y="1295"/>
                <a:ext cx="903" cy="335"/>
                <a:chOff x="2220" y="1295"/>
                <a:chExt cx="903" cy="335"/>
              </a:xfrm>
            </p:grpSpPr>
            <p:sp>
              <p:nvSpPr>
                <p:cNvPr id="131" name="Freeform 59"/>
                <p:cNvSpPr>
                  <a:spLocks/>
                </p:cNvSpPr>
                <p:nvPr/>
              </p:nvSpPr>
              <p:spPr bwMode="auto">
                <a:xfrm>
                  <a:off x="2691" y="1303"/>
                  <a:ext cx="432" cy="144"/>
                </a:xfrm>
                <a:custGeom>
                  <a:avLst/>
                  <a:gdLst>
                    <a:gd name="T0" fmla="*/ 0 w 432"/>
                    <a:gd name="T1" fmla="*/ 112 h 144"/>
                    <a:gd name="T2" fmla="*/ 96 w 432"/>
                    <a:gd name="T3" fmla="*/ 144 h 144"/>
                    <a:gd name="T4" fmla="*/ 328 w 432"/>
                    <a:gd name="T5" fmla="*/ 48 h 144"/>
                    <a:gd name="T6" fmla="*/ 432 w 432"/>
                    <a:gd name="T7" fmla="*/ 80 h 144"/>
                    <a:gd name="T8" fmla="*/ 376 w 432"/>
                    <a:gd name="T9" fmla="*/ 0 h 144"/>
                    <a:gd name="T10" fmla="*/ 104 w 432"/>
                    <a:gd name="T11" fmla="*/ 0 h 144"/>
                    <a:gd name="T12" fmla="*/ 216 w 432"/>
                    <a:gd name="T13" fmla="*/ 24 h 144"/>
                    <a:gd name="T14" fmla="*/ 0 w 432"/>
                    <a:gd name="T15" fmla="*/ 11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112"/>
                      </a:moveTo>
                      <a:lnTo>
                        <a:pt x="96" y="144"/>
                      </a:lnTo>
                      <a:lnTo>
                        <a:pt x="328" y="48"/>
                      </a:lnTo>
                      <a:lnTo>
                        <a:pt x="432" y="80"/>
                      </a:lnTo>
                      <a:lnTo>
                        <a:pt x="376" y="0"/>
                      </a:lnTo>
                      <a:lnTo>
                        <a:pt x="104" y="0"/>
                      </a:lnTo>
                      <a:lnTo>
                        <a:pt x="216" y="2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2" name="Freeform 60"/>
                <p:cNvSpPr>
                  <a:spLocks/>
                </p:cNvSpPr>
                <p:nvPr/>
              </p:nvSpPr>
              <p:spPr bwMode="auto">
                <a:xfrm>
                  <a:off x="2691" y="1303"/>
                  <a:ext cx="432" cy="144"/>
                </a:xfrm>
                <a:custGeom>
                  <a:avLst/>
                  <a:gdLst>
                    <a:gd name="T0" fmla="*/ 0 w 432"/>
                    <a:gd name="T1" fmla="*/ 112 h 144"/>
                    <a:gd name="T2" fmla="*/ 96 w 432"/>
                    <a:gd name="T3" fmla="*/ 144 h 144"/>
                    <a:gd name="T4" fmla="*/ 328 w 432"/>
                    <a:gd name="T5" fmla="*/ 48 h 144"/>
                    <a:gd name="T6" fmla="*/ 432 w 432"/>
                    <a:gd name="T7" fmla="*/ 80 h 144"/>
                    <a:gd name="T8" fmla="*/ 376 w 432"/>
                    <a:gd name="T9" fmla="*/ 0 h 144"/>
                    <a:gd name="T10" fmla="*/ 104 w 432"/>
                    <a:gd name="T11" fmla="*/ 0 h 144"/>
                    <a:gd name="T12" fmla="*/ 216 w 432"/>
                    <a:gd name="T13" fmla="*/ 24 h 144"/>
                    <a:gd name="T14" fmla="*/ 0 w 432"/>
                    <a:gd name="T15" fmla="*/ 11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112"/>
                      </a:moveTo>
                      <a:lnTo>
                        <a:pt x="96" y="144"/>
                      </a:lnTo>
                      <a:lnTo>
                        <a:pt x="328" y="48"/>
                      </a:lnTo>
                      <a:lnTo>
                        <a:pt x="432" y="80"/>
                      </a:lnTo>
                      <a:lnTo>
                        <a:pt x="376" y="0"/>
                      </a:lnTo>
                      <a:lnTo>
                        <a:pt x="104" y="0"/>
                      </a:lnTo>
                      <a:lnTo>
                        <a:pt x="216" y="2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3" name="Freeform 61"/>
                <p:cNvSpPr>
                  <a:spLocks/>
                </p:cNvSpPr>
                <p:nvPr/>
              </p:nvSpPr>
              <p:spPr bwMode="auto">
                <a:xfrm>
                  <a:off x="2220" y="1471"/>
                  <a:ext cx="432" cy="152"/>
                </a:xfrm>
                <a:custGeom>
                  <a:avLst/>
                  <a:gdLst>
                    <a:gd name="T0" fmla="*/ 432 w 432"/>
                    <a:gd name="T1" fmla="*/ 32 h 152"/>
                    <a:gd name="T2" fmla="*/ 336 w 432"/>
                    <a:gd name="T3" fmla="*/ 0 h 152"/>
                    <a:gd name="T4" fmla="*/ 112 w 432"/>
                    <a:gd name="T5" fmla="*/ 96 h 152"/>
                    <a:gd name="T6" fmla="*/ 0 w 432"/>
                    <a:gd name="T7" fmla="*/ 64 h 152"/>
                    <a:gd name="T8" fmla="*/ 56 w 432"/>
                    <a:gd name="T9" fmla="*/ 152 h 152"/>
                    <a:gd name="T10" fmla="*/ 336 w 432"/>
                    <a:gd name="T11" fmla="*/ 152 h 152"/>
                    <a:gd name="T12" fmla="*/ 216 w 432"/>
                    <a:gd name="T13" fmla="*/ 120 h 152"/>
                    <a:gd name="T14" fmla="*/ 432 w 432"/>
                    <a:gd name="T15" fmla="*/ 32 h 1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52"/>
                    <a:gd name="T26" fmla="*/ 432 w 432"/>
                    <a:gd name="T27" fmla="*/ 152 h 1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52">
                      <a:moveTo>
                        <a:pt x="432" y="32"/>
                      </a:moveTo>
                      <a:lnTo>
                        <a:pt x="336" y="0"/>
                      </a:lnTo>
                      <a:lnTo>
                        <a:pt x="112" y="96"/>
                      </a:lnTo>
                      <a:lnTo>
                        <a:pt x="0" y="64"/>
                      </a:lnTo>
                      <a:lnTo>
                        <a:pt x="56" y="152"/>
                      </a:lnTo>
                      <a:lnTo>
                        <a:pt x="336" y="152"/>
                      </a:lnTo>
                      <a:lnTo>
                        <a:pt x="216" y="120"/>
                      </a:lnTo>
                      <a:lnTo>
                        <a:pt x="432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4" name="Freeform 62"/>
                <p:cNvSpPr>
                  <a:spLocks/>
                </p:cNvSpPr>
                <p:nvPr/>
              </p:nvSpPr>
              <p:spPr bwMode="auto">
                <a:xfrm>
                  <a:off x="2220" y="1471"/>
                  <a:ext cx="432" cy="152"/>
                </a:xfrm>
                <a:custGeom>
                  <a:avLst/>
                  <a:gdLst>
                    <a:gd name="T0" fmla="*/ 432 w 432"/>
                    <a:gd name="T1" fmla="*/ 32 h 152"/>
                    <a:gd name="T2" fmla="*/ 336 w 432"/>
                    <a:gd name="T3" fmla="*/ 0 h 152"/>
                    <a:gd name="T4" fmla="*/ 112 w 432"/>
                    <a:gd name="T5" fmla="*/ 96 h 152"/>
                    <a:gd name="T6" fmla="*/ 0 w 432"/>
                    <a:gd name="T7" fmla="*/ 64 h 152"/>
                    <a:gd name="T8" fmla="*/ 56 w 432"/>
                    <a:gd name="T9" fmla="*/ 152 h 152"/>
                    <a:gd name="T10" fmla="*/ 336 w 432"/>
                    <a:gd name="T11" fmla="*/ 152 h 152"/>
                    <a:gd name="T12" fmla="*/ 216 w 432"/>
                    <a:gd name="T13" fmla="*/ 120 h 152"/>
                    <a:gd name="T14" fmla="*/ 432 w 432"/>
                    <a:gd name="T15" fmla="*/ 32 h 15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52"/>
                    <a:gd name="T26" fmla="*/ 432 w 432"/>
                    <a:gd name="T27" fmla="*/ 152 h 15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52">
                      <a:moveTo>
                        <a:pt x="432" y="32"/>
                      </a:moveTo>
                      <a:lnTo>
                        <a:pt x="336" y="0"/>
                      </a:lnTo>
                      <a:lnTo>
                        <a:pt x="112" y="96"/>
                      </a:lnTo>
                      <a:lnTo>
                        <a:pt x="0" y="64"/>
                      </a:lnTo>
                      <a:lnTo>
                        <a:pt x="56" y="152"/>
                      </a:lnTo>
                      <a:lnTo>
                        <a:pt x="336" y="152"/>
                      </a:lnTo>
                      <a:lnTo>
                        <a:pt x="216" y="120"/>
                      </a:lnTo>
                      <a:lnTo>
                        <a:pt x="432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5" name="Freeform 63"/>
                <p:cNvSpPr>
                  <a:spLocks/>
                </p:cNvSpPr>
                <p:nvPr/>
              </p:nvSpPr>
              <p:spPr bwMode="auto">
                <a:xfrm>
                  <a:off x="2244" y="1295"/>
                  <a:ext cx="432" cy="144"/>
                </a:xfrm>
                <a:custGeom>
                  <a:avLst/>
                  <a:gdLst>
                    <a:gd name="T0" fmla="*/ 0 w 432"/>
                    <a:gd name="T1" fmla="*/ 32 h 144"/>
                    <a:gd name="T2" fmla="*/ 96 w 432"/>
                    <a:gd name="T3" fmla="*/ 0 h 144"/>
                    <a:gd name="T4" fmla="*/ 328 w 432"/>
                    <a:gd name="T5" fmla="*/ 88 h 144"/>
                    <a:gd name="T6" fmla="*/ 432 w 432"/>
                    <a:gd name="T7" fmla="*/ 64 h 144"/>
                    <a:gd name="T8" fmla="*/ 376 w 432"/>
                    <a:gd name="T9" fmla="*/ 144 h 144"/>
                    <a:gd name="T10" fmla="*/ 104 w 432"/>
                    <a:gd name="T11" fmla="*/ 144 h 144"/>
                    <a:gd name="T12" fmla="*/ 216 w 432"/>
                    <a:gd name="T13" fmla="*/ 120 h 144"/>
                    <a:gd name="T14" fmla="*/ 0 w 432"/>
                    <a:gd name="T15" fmla="*/ 3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32"/>
                      </a:moveTo>
                      <a:lnTo>
                        <a:pt x="96" y="0"/>
                      </a:lnTo>
                      <a:lnTo>
                        <a:pt x="328" y="88"/>
                      </a:lnTo>
                      <a:lnTo>
                        <a:pt x="432" y="64"/>
                      </a:lnTo>
                      <a:lnTo>
                        <a:pt x="376" y="144"/>
                      </a:lnTo>
                      <a:lnTo>
                        <a:pt x="104" y="144"/>
                      </a:lnTo>
                      <a:lnTo>
                        <a:pt x="216" y="12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6" name="Freeform 64"/>
                <p:cNvSpPr>
                  <a:spLocks/>
                </p:cNvSpPr>
                <p:nvPr/>
              </p:nvSpPr>
              <p:spPr bwMode="auto">
                <a:xfrm>
                  <a:off x="2244" y="1295"/>
                  <a:ext cx="432" cy="144"/>
                </a:xfrm>
                <a:custGeom>
                  <a:avLst/>
                  <a:gdLst>
                    <a:gd name="T0" fmla="*/ 0 w 432"/>
                    <a:gd name="T1" fmla="*/ 32 h 144"/>
                    <a:gd name="T2" fmla="*/ 96 w 432"/>
                    <a:gd name="T3" fmla="*/ 0 h 144"/>
                    <a:gd name="T4" fmla="*/ 328 w 432"/>
                    <a:gd name="T5" fmla="*/ 88 h 144"/>
                    <a:gd name="T6" fmla="*/ 432 w 432"/>
                    <a:gd name="T7" fmla="*/ 64 h 144"/>
                    <a:gd name="T8" fmla="*/ 376 w 432"/>
                    <a:gd name="T9" fmla="*/ 144 h 144"/>
                    <a:gd name="T10" fmla="*/ 104 w 432"/>
                    <a:gd name="T11" fmla="*/ 144 h 144"/>
                    <a:gd name="T12" fmla="*/ 216 w 432"/>
                    <a:gd name="T13" fmla="*/ 120 h 144"/>
                    <a:gd name="T14" fmla="*/ 0 w 432"/>
                    <a:gd name="T15" fmla="*/ 3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32"/>
                      </a:moveTo>
                      <a:lnTo>
                        <a:pt x="96" y="0"/>
                      </a:lnTo>
                      <a:lnTo>
                        <a:pt x="328" y="88"/>
                      </a:lnTo>
                      <a:lnTo>
                        <a:pt x="432" y="64"/>
                      </a:lnTo>
                      <a:lnTo>
                        <a:pt x="376" y="144"/>
                      </a:lnTo>
                      <a:lnTo>
                        <a:pt x="104" y="144"/>
                      </a:lnTo>
                      <a:lnTo>
                        <a:pt x="216" y="12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7" name="Freeform 65"/>
                <p:cNvSpPr>
                  <a:spLocks/>
                </p:cNvSpPr>
                <p:nvPr/>
              </p:nvSpPr>
              <p:spPr bwMode="auto">
                <a:xfrm>
                  <a:off x="2676" y="1487"/>
                  <a:ext cx="431" cy="143"/>
                </a:xfrm>
                <a:custGeom>
                  <a:avLst/>
                  <a:gdLst>
                    <a:gd name="T0" fmla="*/ 431 w 431"/>
                    <a:gd name="T1" fmla="*/ 112 h 143"/>
                    <a:gd name="T2" fmla="*/ 335 w 431"/>
                    <a:gd name="T3" fmla="*/ 143 h 143"/>
                    <a:gd name="T4" fmla="*/ 111 w 431"/>
                    <a:gd name="T5" fmla="*/ 48 h 143"/>
                    <a:gd name="T6" fmla="*/ 0 w 431"/>
                    <a:gd name="T7" fmla="*/ 80 h 143"/>
                    <a:gd name="T8" fmla="*/ 55 w 431"/>
                    <a:gd name="T9" fmla="*/ 0 h 143"/>
                    <a:gd name="T10" fmla="*/ 335 w 431"/>
                    <a:gd name="T11" fmla="*/ 0 h 143"/>
                    <a:gd name="T12" fmla="*/ 215 w 431"/>
                    <a:gd name="T13" fmla="*/ 24 h 143"/>
                    <a:gd name="T14" fmla="*/ 431 w 431"/>
                    <a:gd name="T15" fmla="*/ 112 h 1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1"/>
                    <a:gd name="T25" fmla="*/ 0 h 143"/>
                    <a:gd name="T26" fmla="*/ 431 w 431"/>
                    <a:gd name="T27" fmla="*/ 143 h 1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1" h="143">
                      <a:moveTo>
                        <a:pt x="431" y="112"/>
                      </a:moveTo>
                      <a:lnTo>
                        <a:pt x="335" y="143"/>
                      </a:lnTo>
                      <a:lnTo>
                        <a:pt x="111" y="48"/>
                      </a:lnTo>
                      <a:lnTo>
                        <a:pt x="0" y="80"/>
                      </a:lnTo>
                      <a:lnTo>
                        <a:pt x="55" y="0"/>
                      </a:lnTo>
                      <a:lnTo>
                        <a:pt x="335" y="0"/>
                      </a:lnTo>
                      <a:lnTo>
                        <a:pt x="215" y="24"/>
                      </a:lnTo>
                      <a:lnTo>
                        <a:pt x="431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8" name="Freeform 66"/>
                <p:cNvSpPr>
                  <a:spLocks/>
                </p:cNvSpPr>
                <p:nvPr/>
              </p:nvSpPr>
              <p:spPr bwMode="auto">
                <a:xfrm>
                  <a:off x="2676" y="1487"/>
                  <a:ext cx="431" cy="143"/>
                </a:xfrm>
                <a:custGeom>
                  <a:avLst/>
                  <a:gdLst>
                    <a:gd name="T0" fmla="*/ 431 w 431"/>
                    <a:gd name="T1" fmla="*/ 112 h 143"/>
                    <a:gd name="T2" fmla="*/ 335 w 431"/>
                    <a:gd name="T3" fmla="*/ 143 h 143"/>
                    <a:gd name="T4" fmla="*/ 111 w 431"/>
                    <a:gd name="T5" fmla="*/ 48 h 143"/>
                    <a:gd name="T6" fmla="*/ 0 w 431"/>
                    <a:gd name="T7" fmla="*/ 80 h 143"/>
                    <a:gd name="T8" fmla="*/ 55 w 431"/>
                    <a:gd name="T9" fmla="*/ 0 h 143"/>
                    <a:gd name="T10" fmla="*/ 335 w 431"/>
                    <a:gd name="T11" fmla="*/ 0 h 143"/>
                    <a:gd name="T12" fmla="*/ 215 w 431"/>
                    <a:gd name="T13" fmla="*/ 24 h 143"/>
                    <a:gd name="T14" fmla="*/ 431 w 431"/>
                    <a:gd name="T15" fmla="*/ 112 h 1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1"/>
                    <a:gd name="T25" fmla="*/ 0 h 143"/>
                    <a:gd name="T26" fmla="*/ 431 w 431"/>
                    <a:gd name="T27" fmla="*/ 143 h 1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1" h="143">
                      <a:moveTo>
                        <a:pt x="431" y="112"/>
                      </a:moveTo>
                      <a:lnTo>
                        <a:pt x="335" y="143"/>
                      </a:lnTo>
                      <a:lnTo>
                        <a:pt x="111" y="48"/>
                      </a:lnTo>
                      <a:lnTo>
                        <a:pt x="0" y="80"/>
                      </a:lnTo>
                      <a:lnTo>
                        <a:pt x="55" y="0"/>
                      </a:lnTo>
                      <a:lnTo>
                        <a:pt x="335" y="0"/>
                      </a:lnTo>
                      <a:lnTo>
                        <a:pt x="215" y="24"/>
                      </a:lnTo>
                      <a:lnTo>
                        <a:pt x="431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</p:grpSp>
          <p:grpSp>
            <p:nvGrpSpPr>
              <p:cNvPr id="122" name="Group 67"/>
              <p:cNvGrpSpPr>
                <a:grpSpLocks/>
              </p:cNvGrpSpPr>
              <p:nvPr/>
            </p:nvGrpSpPr>
            <p:grpSpPr bwMode="auto">
              <a:xfrm>
                <a:off x="2228" y="1303"/>
                <a:ext cx="903" cy="335"/>
                <a:chOff x="2228" y="1303"/>
                <a:chExt cx="903" cy="335"/>
              </a:xfrm>
            </p:grpSpPr>
            <p:sp>
              <p:nvSpPr>
                <p:cNvPr id="123" name="Freeform 68"/>
                <p:cNvSpPr>
                  <a:spLocks/>
                </p:cNvSpPr>
                <p:nvPr/>
              </p:nvSpPr>
              <p:spPr bwMode="auto">
                <a:xfrm>
                  <a:off x="2699" y="1311"/>
                  <a:ext cx="432" cy="144"/>
                </a:xfrm>
                <a:custGeom>
                  <a:avLst/>
                  <a:gdLst>
                    <a:gd name="T0" fmla="*/ 0 w 432"/>
                    <a:gd name="T1" fmla="*/ 112 h 144"/>
                    <a:gd name="T2" fmla="*/ 96 w 432"/>
                    <a:gd name="T3" fmla="*/ 144 h 144"/>
                    <a:gd name="T4" fmla="*/ 328 w 432"/>
                    <a:gd name="T5" fmla="*/ 48 h 144"/>
                    <a:gd name="T6" fmla="*/ 432 w 432"/>
                    <a:gd name="T7" fmla="*/ 80 h 144"/>
                    <a:gd name="T8" fmla="*/ 376 w 432"/>
                    <a:gd name="T9" fmla="*/ 0 h 144"/>
                    <a:gd name="T10" fmla="*/ 104 w 432"/>
                    <a:gd name="T11" fmla="*/ 0 h 144"/>
                    <a:gd name="T12" fmla="*/ 216 w 432"/>
                    <a:gd name="T13" fmla="*/ 24 h 144"/>
                    <a:gd name="T14" fmla="*/ 0 w 432"/>
                    <a:gd name="T15" fmla="*/ 11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112"/>
                      </a:moveTo>
                      <a:lnTo>
                        <a:pt x="96" y="144"/>
                      </a:lnTo>
                      <a:lnTo>
                        <a:pt x="328" y="48"/>
                      </a:lnTo>
                      <a:lnTo>
                        <a:pt x="432" y="80"/>
                      </a:lnTo>
                      <a:lnTo>
                        <a:pt x="376" y="0"/>
                      </a:lnTo>
                      <a:lnTo>
                        <a:pt x="104" y="0"/>
                      </a:lnTo>
                      <a:lnTo>
                        <a:pt x="216" y="2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4" name="Freeform 69"/>
                <p:cNvSpPr>
                  <a:spLocks/>
                </p:cNvSpPr>
                <p:nvPr/>
              </p:nvSpPr>
              <p:spPr bwMode="auto">
                <a:xfrm>
                  <a:off x="2699" y="1311"/>
                  <a:ext cx="432" cy="144"/>
                </a:xfrm>
                <a:custGeom>
                  <a:avLst/>
                  <a:gdLst>
                    <a:gd name="T0" fmla="*/ 0 w 432"/>
                    <a:gd name="T1" fmla="*/ 112 h 144"/>
                    <a:gd name="T2" fmla="*/ 96 w 432"/>
                    <a:gd name="T3" fmla="*/ 144 h 144"/>
                    <a:gd name="T4" fmla="*/ 328 w 432"/>
                    <a:gd name="T5" fmla="*/ 48 h 144"/>
                    <a:gd name="T6" fmla="*/ 432 w 432"/>
                    <a:gd name="T7" fmla="*/ 80 h 144"/>
                    <a:gd name="T8" fmla="*/ 376 w 432"/>
                    <a:gd name="T9" fmla="*/ 0 h 144"/>
                    <a:gd name="T10" fmla="*/ 104 w 432"/>
                    <a:gd name="T11" fmla="*/ 0 h 144"/>
                    <a:gd name="T12" fmla="*/ 216 w 432"/>
                    <a:gd name="T13" fmla="*/ 24 h 144"/>
                    <a:gd name="T14" fmla="*/ 0 w 432"/>
                    <a:gd name="T15" fmla="*/ 11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4"/>
                    <a:gd name="T26" fmla="*/ 432 w 432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4">
                      <a:moveTo>
                        <a:pt x="0" y="112"/>
                      </a:moveTo>
                      <a:lnTo>
                        <a:pt x="96" y="144"/>
                      </a:lnTo>
                      <a:lnTo>
                        <a:pt x="328" y="48"/>
                      </a:lnTo>
                      <a:lnTo>
                        <a:pt x="432" y="80"/>
                      </a:lnTo>
                      <a:lnTo>
                        <a:pt x="376" y="0"/>
                      </a:lnTo>
                      <a:lnTo>
                        <a:pt x="104" y="0"/>
                      </a:lnTo>
                      <a:lnTo>
                        <a:pt x="216" y="2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5" name="Freeform 70"/>
                <p:cNvSpPr>
                  <a:spLocks/>
                </p:cNvSpPr>
                <p:nvPr/>
              </p:nvSpPr>
              <p:spPr bwMode="auto">
                <a:xfrm>
                  <a:off x="2228" y="1479"/>
                  <a:ext cx="432" cy="151"/>
                </a:xfrm>
                <a:custGeom>
                  <a:avLst/>
                  <a:gdLst>
                    <a:gd name="T0" fmla="*/ 432 w 432"/>
                    <a:gd name="T1" fmla="*/ 32 h 151"/>
                    <a:gd name="T2" fmla="*/ 336 w 432"/>
                    <a:gd name="T3" fmla="*/ 0 h 151"/>
                    <a:gd name="T4" fmla="*/ 112 w 432"/>
                    <a:gd name="T5" fmla="*/ 96 h 151"/>
                    <a:gd name="T6" fmla="*/ 0 w 432"/>
                    <a:gd name="T7" fmla="*/ 64 h 151"/>
                    <a:gd name="T8" fmla="*/ 56 w 432"/>
                    <a:gd name="T9" fmla="*/ 151 h 151"/>
                    <a:gd name="T10" fmla="*/ 336 w 432"/>
                    <a:gd name="T11" fmla="*/ 151 h 151"/>
                    <a:gd name="T12" fmla="*/ 216 w 432"/>
                    <a:gd name="T13" fmla="*/ 120 h 151"/>
                    <a:gd name="T14" fmla="*/ 432 w 432"/>
                    <a:gd name="T15" fmla="*/ 32 h 15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51"/>
                    <a:gd name="T26" fmla="*/ 432 w 432"/>
                    <a:gd name="T27" fmla="*/ 151 h 15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51">
                      <a:moveTo>
                        <a:pt x="432" y="32"/>
                      </a:moveTo>
                      <a:lnTo>
                        <a:pt x="336" y="0"/>
                      </a:lnTo>
                      <a:lnTo>
                        <a:pt x="112" y="96"/>
                      </a:lnTo>
                      <a:lnTo>
                        <a:pt x="0" y="64"/>
                      </a:lnTo>
                      <a:lnTo>
                        <a:pt x="56" y="151"/>
                      </a:lnTo>
                      <a:lnTo>
                        <a:pt x="336" y="151"/>
                      </a:lnTo>
                      <a:lnTo>
                        <a:pt x="216" y="120"/>
                      </a:lnTo>
                      <a:lnTo>
                        <a:pt x="432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6" name="Freeform 71"/>
                <p:cNvSpPr>
                  <a:spLocks/>
                </p:cNvSpPr>
                <p:nvPr/>
              </p:nvSpPr>
              <p:spPr bwMode="auto">
                <a:xfrm>
                  <a:off x="2228" y="1479"/>
                  <a:ext cx="432" cy="151"/>
                </a:xfrm>
                <a:custGeom>
                  <a:avLst/>
                  <a:gdLst>
                    <a:gd name="T0" fmla="*/ 432 w 432"/>
                    <a:gd name="T1" fmla="*/ 32 h 151"/>
                    <a:gd name="T2" fmla="*/ 336 w 432"/>
                    <a:gd name="T3" fmla="*/ 0 h 151"/>
                    <a:gd name="T4" fmla="*/ 112 w 432"/>
                    <a:gd name="T5" fmla="*/ 96 h 151"/>
                    <a:gd name="T6" fmla="*/ 0 w 432"/>
                    <a:gd name="T7" fmla="*/ 64 h 151"/>
                    <a:gd name="T8" fmla="*/ 56 w 432"/>
                    <a:gd name="T9" fmla="*/ 151 h 151"/>
                    <a:gd name="T10" fmla="*/ 336 w 432"/>
                    <a:gd name="T11" fmla="*/ 151 h 151"/>
                    <a:gd name="T12" fmla="*/ 216 w 432"/>
                    <a:gd name="T13" fmla="*/ 120 h 151"/>
                    <a:gd name="T14" fmla="*/ 432 w 432"/>
                    <a:gd name="T15" fmla="*/ 32 h 15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51"/>
                    <a:gd name="T26" fmla="*/ 432 w 432"/>
                    <a:gd name="T27" fmla="*/ 151 h 15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51">
                      <a:moveTo>
                        <a:pt x="432" y="32"/>
                      </a:moveTo>
                      <a:lnTo>
                        <a:pt x="336" y="0"/>
                      </a:lnTo>
                      <a:lnTo>
                        <a:pt x="112" y="96"/>
                      </a:lnTo>
                      <a:lnTo>
                        <a:pt x="0" y="64"/>
                      </a:lnTo>
                      <a:lnTo>
                        <a:pt x="56" y="151"/>
                      </a:lnTo>
                      <a:lnTo>
                        <a:pt x="336" y="151"/>
                      </a:lnTo>
                      <a:lnTo>
                        <a:pt x="216" y="120"/>
                      </a:lnTo>
                      <a:lnTo>
                        <a:pt x="432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7" name="Freeform 72"/>
                <p:cNvSpPr>
                  <a:spLocks/>
                </p:cNvSpPr>
                <p:nvPr/>
              </p:nvSpPr>
              <p:spPr bwMode="auto">
                <a:xfrm>
                  <a:off x="2252" y="1303"/>
                  <a:ext cx="431" cy="144"/>
                </a:xfrm>
                <a:custGeom>
                  <a:avLst/>
                  <a:gdLst>
                    <a:gd name="T0" fmla="*/ 0 w 431"/>
                    <a:gd name="T1" fmla="*/ 32 h 144"/>
                    <a:gd name="T2" fmla="*/ 96 w 431"/>
                    <a:gd name="T3" fmla="*/ 0 h 144"/>
                    <a:gd name="T4" fmla="*/ 328 w 431"/>
                    <a:gd name="T5" fmla="*/ 88 h 144"/>
                    <a:gd name="T6" fmla="*/ 431 w 431"/>
                    <a:gd name="T7" fmla="*/ 64 h 144"/>
                    <a:gd name="T8" fmla="*/ 376 w 431"/>
                    <a:gd name="T9" fmla="*/ 144 h 144"/>
                    <a:gd name="T10" fmla="*/ 104 w 431"/>
                    <a:gd name="T11" fmla="*/ 144 h 144"/>
                    <a:gd name="T12" fmla="*/ 216 w 431"/>
                    <a:gd name="T13" fmla="*/ 120 h 144"/>
                    <a:gd name="T14" fmla="*/ 0 w 431"/>
                    <a:gd name="T15" fmla="*/ 3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1"/>
                    <a:gd name="T25" fmla="*/ 0 h 144"/>
                    <a:gd name="T26" fmla="*/ 431 w 431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1" h="144">
                      <a:moveTo>
                        <a:pt x="0" y="32"/>
                      </a:moveTo>
                      <a:lnTo>
                        <a:pt x="96" y="0"/>
                      </a:lnTo>
                      <a:lnTo>
                        <a:pt x="328" y="88"/>
                      </a:lnTo>
                      <a:lnTo>
                        <a:pt x="431" y="64"/>
                      </a:lnTo>
                      <a:lnTo>
                        <a:pt x="376" y="144"/>
                      </a:lnTo>
                      <a:lnTo>
                        <a:pt x="104" y="144"/>
                      </a:lnTo>
                      <a:lnTo>
                        <a:pt x="216" y="12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8" name="Freeform 73"/>
                <p:cNvSpPr>
                  <a:spLocks/>
                </p:cNvSpPr>
                <p:nvPr/>
              </p:nvSpPr>
              <p:spPr bwMode="auto">
                <a:xfrm>
                  <a:off x="2252" y="1303"/>
                  <a:ext cx="431" cy="144"/>
                </a:xfrm>
                <a:custGeom>
                  <a:avLst/>
                  <a:gdLst>
                    <a:gd name="T0" fmla="*/ 0 w 431"/>
                    <a:gd name="T1" fmla="*/ 32 h 144"/>
                    <a:gd name="T2" fmla="*/ 96 w 431"/>
                    <a:gd name="T3" fmla="*/ 0 h 144"/>
                    <a:gd name="T4" fmla="*/ 328 w 431"/>
                    <a:gd name="T5" fmla="*/ 88 h 144"/>
                    <a:gd name="T6" fmla="*/ 431 w 431"/>
                    <a:gd name="T7" fmla="*/ 64 h 144"/>
                    <a:gd name="T8" fmla="*/ 376 w 431"/>
                    <a:gd name="T9" fmla="*/ 144 h 144"/>
                    <a:gd name="T10" fmla="*/ 104 w 431"/>
                    <a:gd name="T11" fmla="*/ 144 h 144"/>
                    <a:gd name="T12" fmla="*/ 216 w 431"/>
                    <a:gd name="T13" fmla="*/ 120 h 144"/>
                    <a:gd name="T14" fmla="*/ 0 w 431"/>
                    <a:gd name="T15" fmla="*/ 32 h 14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1"/>
                    <a:gd name="T25" fmla="*/ 0 h 144"/>
                    <a:gd name="T26" fmla="*/ 431 w 431"/>
                    <a:gd name="T27" fmla="*/ 144 h 14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1" h="144">
                      <a:moveTo>
                        <a:pt x="0" y="32"/>
                      </a:moveTo>
                      <a:lnTo>
                        <a:pt x="96" y="0"/>
                      </a:lnTo>
                      <a:lnTo>
                        <a:pt x="328" y="88"/>
                      </a:lnTo>
                      <a:lnTo>
                        <a:pt x="431" y="64"/>
                      </a:lnTo>
                      <a:lnTo>
                        <a:pt x="376" y="144"/>
                      </a:lnTo>
                      <a:lnTo>
                        <a:pt x="104" y="144"/>
                      </a:lnTo>
                      <a:lnTo>
                        <a:pt x="216" y="12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29" name="Freeform 74"/>
                <p:cNvSpPr>
                  <a:spLocks/>
                </p:cNvSpPr>
                <p:nvPr/>
              </p:nvSpPr>
              <p:spPr bwMode="auto">
                <a:xfrm>
                  <a:off x="2683" y="1495"/>
                  <a:ext cx="432" cy="143"/>
                </a:xfrm>
                <a:custGeom>
                  <a:avLst/>
                  <a:gdLst>
                    <a:gd name="T0" fmla="*/ 432 w 432"/>
                    <a:gd name="T1" fmla="*/ 112 h 143"/>
                    <a:gd name="T2" fmla="*/ 336 w 432"/>
                    <a:gd name="T3" fmla="*/ 143 h 143"/>
                    <a:gd name="T4" fmla="*/ 112 w 432"/>
                    <a:gd name="T5" fmla="*/ 48 h 143"/>
                    <a:gd name="T6" fmla="*/ 0 w 432"/>
                    <a:gd name="T7" fmla="*/ 80 h 143"/>
                    <a:gd name="T8" fmla="*/ 56 w 432"/>
                    <a:gd name="T9" fmla="*/ 0 h 143"/>
                    <a:gd name="T10" fmla="*/ 336 w 432"/>
                    <a:gd name="T11" fmla="*/ 0 h 143"/>
                    <a:gd name="T12" fmla="*/ 216 w 432"/>
                    <a:gd name="T13" fmla="*/ 24 h 143"/>
                    <a:gd name="T14" fmla="*/ 432 w 432"/>
                    <a:gd name="T15" fmla="*/ 112 h 1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3"/>
                    <a:gd name="T26" fmla="*/ 432 w 432"/>
                    <a:gd name="T27" fmla="*/ 143 h 1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3">
                      <a:moveTo>
                        <a:pt x="432" y="112"/>
                      </a:moveTo>
                      <a:lnTo>
                        <a:pt x="336" y="143"/>
                      </a:lnTo>
                      <a:lnTo>
                        <a:pt x="112" y="48"/>
                      </a:lnTo>
                      <a:lnTo>
                        <a:pt x="0" y="80"/>
                      </a:lnTo>
                      <a:lnTo>
                        <a:pt x="56" y="0"/>
                      </a:lnTo>
                      <a:lnTo>
                        <a:pt x="336" y="0"/>
                      </a:lnTo>
                      <a:lnTo>
                        <a:pt x="216" y="24"/>
                      </a:lnTo>
                      <a:lnTo>
                        <a:pt x="432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  <p:sp>
              <p:nvSpPr>
                <p:cNvPr id="130" name="Freeform 75"/>
                <p:cNvSpPr>
                  <a:spLocks/>
                </p:cNvSpPr>
                <p:nvPr/>
              </p:nvSpPr>
              <p:spPr bwMode="auto">
                <a:xfrm>
                  <a:off x="2683" y="1495"/>
                  <a:ext cx="432" cy="143"/>
                </a:xfrm>
                <a:custGeom>
                  <a:avLst/>
                  <a:gdLst>
                    <a:gd name="T0" fmla="*/ 432 w 432"/>
                    <a:gd name="T1" fmla="*/ 112 h 143"/>
                    <a:gd name="T2" fmla="*/ 336 w 432"/>
                    <a:gd name="T3" fmla="*/ 143 h 143"/>
                    <a:gd name="T4" fmla="*/ 112 w 432"/>
                    <a:gd name="T5" fmla="*/ 48 h 143"/>
                    <a:gd name="T6" fmla="*/ 0 w 432"/>
                    <a:gd name="T7" fmla="*/ 80 h 143"/>
                    <a:gd name="T8" fmla="*/ 56 w 432"/>
                    <a:gd name="T9" fmla="*/ 0 h 143"/>
                    <a:gd name="T10" fmla="*/ 336 w 432"/>
                    <a:gd name="T11" fmla="*/ 0 h 143"/>
                    <a:gd name="T12" fmla="*/ 216 w 432"/>
                    <a:gd name="T13" fmla="*/ 24 h 143"/>
                    <a:gd name="T14" fmla="*/ 432 w 432"/>
                    <a:gd name="T15" fmla="*/ 112 h 14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32"/>
                    <a:gd name="T25" fmla="*/ 0 h 143"/>
                    <a:gd name="T26" fmla="*/ 432 w 432"/>
                    <a:gd name="T27" fmla="*/ 143 h 14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32" h="143">
                      <a:moveTo>
                        <a:pt x="432" y="112"/>
                      </a:moveTo>
                      <a:lnTo>
                        <a:pt x="336" y="143"/>
                      </a:lnTo>
                      <a:lnTo>
                        <a:pt x="112" y="48"/>
                      </a:lnTo>
                      <a:lnTo>
                        <a:pt x="0" y="80"/>
                      </a:lnTo>
                      <a:lnTo>
                        <a:pt x="56" y="0"/>
                      </a:lnTo>
                      <a:lnTo>
                        <a:pt x="336" y="0"/>
                      </a:lnTo>
                      <a:lnTo>
                        <a:pt x="216" y="24"/>
                      </a:lnTo>
                      <a:lnTo>
                        <a:pt x="432" y="112"/>
                      </a:lnTo>
                      <a:close/>
                    </a:path>
                  </a:pathLst>
                </a:custGeom>
                <a:solidFill>
                  <a:srgbClr val="F8F8F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608328">
                    <a:defRPr/>
                  </a:pPr>
                  <a:endParaRPr lang="en-US" kern="0" dirty="0">
                    <a:solidFill>
                      <a:sysClr val="windowText" lastClr="000000"/>
                    </a:solidFill>
                    <a:latin typeface="CiscoSansTT Light"/>
                    <a:ea typeface="Apple LiGothic Medium"/>
                    <a:cs typeface="Apple LiGothic Medium"/>
                  </a:endParaRPr>
                </a:p>
              </p:txBody>
            </p:sp>
          </p:grpSp>
        </p:grpSp>
        <p:sp>
          <p:nvSpPr>
            <p:cNvPr id="119" name="Line 76"/>
            <p:cNvSpPr>
              <a:spLocks noChangeShapeType="1"/>
            </p:cNvSpPr>
            <p:nvPr/>
          </p:nvSpPr>
          <p:spPr bwMode="auto">
            <a:xfrm>
              <a:off x="1725" y="1977"/>
              <a:ext cx="0" cy="90"/>
            </a:xfrm>
            <a:prstGeom prst="line">
              <a:avLst/>
            </a:prstGeom>
            <a:noFill/>
            <a:ln w="9525">
              <a:solidFill>
                <a:srgbClr val="111111"/>
              </a:solidFill>
              <a:round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  <p:sp>
          <p:nvSpPr>
            <p:cNvPr id="120" name="Line 77"/>
            <p:cNvSpPr>
              <a:spLocks noChangeShapeType="1"/>
            </p:cNvSpPr>
            <p:nvPr/>
          </p:nvSpPr>
          <p:spPr bwMode="auto">
            <a:xfrm>
              <a:off x="2143" y="1977"/>
              <a:ext cx="1" cy="90"/>
            </a:xfrm>
            <a:prstGeom prst="line">
              <a:avLst/>
            </a:prstGeom>
            <a:noFill/>
            <a:ln w="9525">
              <a:solidFill>
                <a:srgbClr val="111111"/>
              </a:solidFill>
              <a:round/>
              <a:headEnd/>
              <a:tailEnd/>
            </a:ln>
          </p:spPr>
          <p:txBody>
            <a:bodyPr/>
            <a:lstStyle/>
            <a:p>
              <a:pPr defTabSz="608328"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Apple LiGothic Medium"/>
                <a:cs typeface="Apple LiGothic Medium"/>
              </a:endParaRPr>
            </a:p>
          </p:txBody>
        </p:sp>
      </p:grpSp>
      <p:cxnSp>
        <p:nvCxnSpPr>
          <p:cNvPr id="139" name="Curved Connector 138"/>
          <p:cNvCxnSpPr>
            <a:stCxn id="107" idx="5"/>
            <a:endCxn id="98" idx="0"/>
          </p:cNvCxnSpPr>
          <p:nvPr/>
        </p:nvCxnSpPr>
        <p:spPr bwMode="auto">
          <a:xfrm rot="16200000" flipV="1">
            <a:off x="7157037" y="3682172"/>
            <a:ext cx="683956" cy="1949047"/>
          </a:xfrm>
          <a:prstGeom prst="curvedConnector3">
            <a:avLst>
              <a:gd name="adj1" fmla="val 133423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cxnSp>
        <p:nvCxnSpPr>
          <p:cNvPr id="140" name="Curved Connector 139"/>
          <p:cNvCxnSpPr>
            <a:stCxn id="147" idx="5"/>
            <a:endCxn id="98" idx="0"/>
          </p:cNvCxnSpPr>
          <p:nvPr/>
        </p:nvCxnSpPr>
        <p:spPr bwMode="auto">
          <a:xfrm rot="16200000" flipH="1" flipV="1">
            <a:off x="8233828" y="2417052"/>
            <a:ext cx="188328" cy="3607007"/>
          </a:xfrm>
          <a:prstGeom prst="curvedConnector3">
            <a:avLst>
              <a:gd name="adj1" fmla="val -402886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cxnSp>
        <p:nvCxnSpPr>
          <p:cNvPr id="149" name="Curved Connector 148"/>
          <p:cNvCxnSpPr>
            <a:stCxn id="163" idx="5"/>
            <a:endCxn id="98" idx="0"/>
          </p:cNvCxnSpPr>
          <p:nvPr/>
        </p:nvCxnSpPr>
        <p:spPr bwMode="auto">
          <a:xfrm rot="16200000" flipH="1" flipV="1">
            <a:off x="8460211" y="1414764"/>
            <a:ext cx="964263" cy="4835647"/>
          </a:xfrm>
          <a:prstGeom prst="curvedConnector3">
            <a:avLst>
              <a:gd name="adj1" fmla="val -73572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grpSp>
        <p:nvGrpSpPr>
          <p:cNvPr id="157" name="Group 156"/>
          <p:cNvGrpSpPr/>
          <p:nvPr/>
        </p:nvGrpSpPr>
        <p:grpSpPr>
          <a:xfrm>
            <a:off x="10846421" y="3155212"/>
            <a:ext cx="820222" cy="805025"/>
            <a:chOff x="4517870" y="2651692"/>
            <a:chExt cx="615327" cy="603769"/>
          </a:xfrm>
        </p:grpSpPr>
        <p:pic>
          <p:nvPicPr>
            <p:cNvPr id="16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62" name="Group 161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63" name="Hexagon 162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65" name="TextBox 164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2</a:t>
                </a:r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7959821" y="4803455"/>
            <a:ext cx="820222" cy="805025"/>
            <a:chOff x="4517870" y="2651692"/>
            <a:chExt cx="615327" cy="603769"/>
          </a:xfrm>
        </p:grpSpPr>
        <p:pic>
          <p:nvPicPr>
            <p:cNvPr id="105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06" name="Group 105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07" name="Hexagon 106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1</a:t>
                </a:r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9617781" y="3931171"/>
            <a:ext cx="820222" cy="805025"/>
            <a:chOff x="4517870" y="2651692"/>
            <a:chExt cx="615327" cy="603769"/>
          </a:xfrm>
        </p:grpSpPr>
        <p:pic>
          <p:nvPicPr>
            <p:cNvPr id="145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46" name="Group 145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47" name="Hexagon 146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48" name="TextBox 147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3</a:t>
                </a:r>
              </a:p>
            </p:txBody>
          </p:sp>
        </p:grpSp>
      </p:grpSp>
      <p:grpSp>
        <p:nvGrpSpPr>
          <p:cNvPr id="102" name="Group 101"/>
          <p:cNvGrpSpPr/>
          <p:nvPr/>
        </p:nvGrpSpPr>
        <p:grpSpPr>
          <a:xfrm>
            <a:off x="8169067" y="4570454"/>
            <a:ext cx="409445" cy="409547"/>
            <a:chOff x="3352800" y="3943350"/>
            <a:chExt cx="307164" cy="307160"/>
          </a:xfrm>
        </p:grpSpPr>
        <p:sp>
          <p:nvSpPr>
            <p:cNvPr id="103" name="Oval 102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4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9827023" y="3698170"/>
            <a:ext cx="409445" cy="409547"/>
            <a:chOff x="3352800" y="3943350"/>
            <a:chExt cx="307164" cy="307160"/>
          </a:xfrm>
        </p:grpSpPr>
        <p:sp>
          <p:nvSpPr>
            <p:cNvPr id="143" name="Oval 142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4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11052188" y="2888910"/>
            <a:ext cx="409445" cy="409547"/>
            <a:chOff x="3352800" y="3943350"/>
            <a:chExt cx="307164" cy="307160"/>
          </a:xfrm>
        </p:grpSpPr>
        <p:sp>
          <p:nvSpPr>
            <p:cNvPr id="93" name="Oval 92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303493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420623" y="488046"/>
            <a:ext cx="12246065" cy="5470793"/>
          </a:xfrm>
        </p:spPr>
        <p:txBody>
          <a:bodyPr/>
          <a:lstStyle/>
          <a:p>
            <a:pPr marL="2380" indent="0">
              <a:buNone/>
            </a:pPr>
            <a:r>
              <a:rPr lang="en-US" sz="4800" dirty="0" smtClean="0"/>
              <a:t>Business Outcomes</a:t>
            </a:r>
          </a:p>
          <a:p>
            <a:pPr marL="2380" indent="0">
              <a:buNone/>
            </a:pPr>
            <a:endParaRPr lang="en-US" sz="1900" dirty="0"/>
          </a:p>
          <a:p>
            <a:r>
              <a:rPr lang="en-US" sz="3600" b="1" dirty="0" smtClean="0"/>
              <a:t>Flexibility</a:t>
            </a:r>
            <a:r>
              <a:rPr lang="en-US" sz="3600" dirty="0" smtClean="0"/>
              <a:t>: </a:t>
            </a:r>
            <a:r>
              <a:rPr lang="en-US" sz="3200" dirty="0" smtClean="0"/>
              <a:t>Layer-2 everywhere; physical and virtual</a:t>
            </a:r>
            <a:endParaRPr lang="en-US" sz="3200" dirty="0"/>
          </a:p>
          <a:p>
            <a:r>
              <a:rPr lang="en-US" sz="3600" b="1" dirty="0" smtClean="0"/>
              <a:t>Simplicity</a:t>
            </a:r>
            <a:r>
              <a:rPr lang="en-US" sz="3600" dirty="0" smtClean="0"/>
              <a:t>: </a:t>
            </a:r>
            <a:r>
              <a:rPr lang="en-US" sz="3200" dirty="0" smtClean="0"/>
              <a:t>Centralized controller (Virtual Topology System)</a:t>
            </a:r>
            <a:endParaRPr lang="en-US" sz="3200" dirty="0"/>
          </a:p>
          <a:p>
            <a:r>
              <a:rPr lang="en-US" sz="3600" b="1" dirty="0" smtClean="0"/>
              <a:t>Scalability</a:t>
            </a:r>
            <a:r>
              <a:rPr lang="en-US" sz="3600" dirty="0" smtClean="0"/>
              <a:t>: Increased name space from 4K to 16M Layer-2 identifiers; one spine or leaf at a time</a:t>
            </a:r>
          </a:p>
          <a:p>
            <a:r>
              <a:rPr lang="en-US" sz="3600" b="1" dirty="0" smtClean="0"/>
              <a:t>Security</a:t>
            </a:r>
            <a:r>
              <a:rPr lang="en-US" sz="3600" dirty="0" smtClean="0"/>
              <a:t>: Segmentation and multi-tenancy</a:t>
            </a:r>
            <a:endParaRPr lang="en-US" sz="3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437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3975602"/>
            <a:ext cx="10783554" cy="1750666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  <a:p>
            <a:pPr algn="ctr"/>
            <a:r>
              <a:rPr lang="en-US" sz="2000" dirty="0"/>
              <a:t>VXLAN FABRIC</a:t>
            </a:r>
          </a:p>
        </p:txBody>
      </p:sp>
      <p:pic>
        <p:nvPicPr>
          <p:cNvPr id="95" name="Picture 3" descr="C:\Share\Rajesh\backup(15112012)\Device Icons\icons\nexus9500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89" t="3332" r="10363" b="3203"/>
          <a:stretch/>
        </p:blipFill>
        <p:spPr bwMode="auto">
          <a:xfrm>
            <a:off x="5035484" y="2995738"/>
            <a:ext cx="914400" cy="1366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3" descr="C:\Share\Rajesh\backup(15112012)\Device Icons\icons\nexus9500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289" t="3332" r="10363" b="3203"/>
          <a:stretch/>
        </p:blipFill>
        <p:spPr bwMode="auto">
          <a:xfrm>
            <a:off x="6242116" y="2995738"/>
            <a:ext cx="914400" cy="1366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5011177" y="2375149"/>
            <a:ext cx="1646344" cy="893627"/>
            <a:chOff x="5009589" y="1516814"/>
            <a:chExt cx="1646344" cy="893627"/>
          </a:xfrm>
        </p:grpSpPr>
        <p:cxnSp>
          <p:nvCxnSpPr>
            <p:cNvPr id="121" name="Straight Connector 120"/>
            <p:cNvCxnSpPr/>
            <p:nvPr/>
          </p:nvCxnSpPr>
          <p:spPr>
            <a:xfrm>
              <a:off x="5009589" y="1516814"/>
              <a:ext cx="435106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5421175" y="1516814"/>
              <a:ext cx="858452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5021349" y="1528573"/>
              <a:ext cx="1622825" cy="8465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6267867" y="1552089"/>
              <a:ext cx="388066" cy="81131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xus 9300/9500</a:t>
            </a:r>
            <a:br>
              <a:rPr lang="en-US" dirty="0" smtClean="0"/>
            </a:br>
            <a:r>
              <a:rPr lang="en-US" dirty="0" smtClean="0"/>
              <a:t>External Connectivity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608819" y="2771072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110459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Border Leaf</a:t>
              </a:r>
            </a:p>
            <a:p>
              <a:r>
                <a:rPr lang="en-US" sz="1200" dirty="0"/>
                <a:t>Border 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3325930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3325930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sp>
        <p:nvSpPr>
          <p:cNvPr id="270" name="TextBox 269"/>
          <p:cNvSpPr txBox="1"/>
          <p:nvPr/>
        </p:nvSpPr>
        <p:spPr>
          <a:xfrm>
            <a:off x="6657518" y="940640"/>
            <a:ext cx="5391776" cy="1061694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/9500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VRF-lite (Layer-3 Classic Ethernet)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VPC (Layer-2 Classic Ethernet)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433753" y="2739674"/>
            <a:ext cx="11324494" cy="3127683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2761701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813809"/>
            <a:ext cx="6621133" cy="446141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/9500 as Border Leaf or Border Spine</a:t>
            </a:r>
          </a:p>
        </p:txBody>
      </p:sp>
      <p:sp>
        <p:nvSpPr>
          <p:cNvPr id="113" name="Hexagon 112"/>
          <p:cNvSpPr/>
          <p:nvPr/>
        </p:nvSpPr>
        <p:spPr>
          <a:xfrm>
            <a:off x="4669331" y="3594083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sp>
        <p:nvSpPr>
          <p:cNvPr id="114" name="Hexagon 113"/>
          <p:cNvSpPr/>
          <p:nvPr/>
        </p:nvSpPr>
        <p:spPr>
          <a:xfrm>
            <a:off x="7009025" y="3594083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grpSp>
        <p:nvGrpSpPr>
          <p:cNvPr id="246" name="Group 245"/>
          <p:cNvGrpSpPr/>
          <p:nvPr/>
        </p:nvGrpSpPr>
        <p:grpSpPr>
          <a:xfrm>
            <a:off x="5071651" y="363056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235376" y="3630569"/>
            <a:ext cx="850633" cy="369197"/>
            <a:chOff x="3694664" y="5917691"/>
            <a:chExt cx="850633" cy="369197"/>
          </a:xfrm>
        </p:grpSpPr>
        <p:sp>
          <p:nvSpPr>
            <p:cNvPr id="104" name="Oval 1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sp>
        <p:nvSpPr>
          <p:cNvPr id="115" name="Can 114"/>
          <p:cNvSpPr/>
          <p:nvPr/>
        </p:nvSpPr>
        <p:spPr>
          <a:xfrm rot="10800000" flipV="1">
            <a:off x="4763751" y="4015584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6" name="Can 115"/>
          <p:cNvSpPr/>
          <p:nvPr/>
        </p:nvSpPr>
        <p:spPr>
          <a:xfrm rot="10800000" flipV="1">
            <a:off x="7115196" y="4015584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17" name="Group 116"/>
          <p:cNvGrpSpPr/>
          <p:nvPr/>
        </p:nvGrpSpPr>
        <p:grpSpPr>
          <a:xfrm>
            <a:off x="4644565" y="1507556"/>
            <a:ext cx="2005290" cy="1097585"/>
            <a:chOff x="8923471" y="5728780"/>
            <a:chExt cx="2005290" cy="1097585"/>
          </a:xfrm>
        </p:grpSpPr>
        <p:sp>
          <p:nvSpPr>
            <p:cNvPr id="118" name="Cloud 117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119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585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3975602"/>
            <a:ext cx="10783554" cy="1750666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  <a:p>
            <a:pPr algn="ctr"/>
            <a:r>
              <a:rPr lang="en-US" sz="2000" dirty="0"/>
              <a:t>VXLAN FABRIC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5011177" y="2375149"/>
            <a:ext cx="1646344" cy="893627"/>
            <a:chOff x="5009589" y="1516814"/>
            <a:chExt cx="1646344" cy="893627"/>
          </a:xfrm>
        </p:grpSpPr>
        <p:cxnSp>
          <p:nvCxnSpPr>
            <p:cNvPr id="121" name="Straight Connector 120"/>
            <p:cNvCxnSpPr/>
            <p:nvPr/>
          </p:nvCxnSpPr>
          <p:spPr>
            <a:xfrm>
              <a:off x="5009589" y="1516814"/>
              <a:ext cx="435106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5421175" y="1516814"/>
              <a:ext cx="858452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5021349" y="1528573"/>
              <a:ext cx="1622825" cy="8465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6267867" y="1552089"/>
              <a:ext cx="388066" cy="81131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7" name="Picture 10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4024" y="3062776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3028" y="3062776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Nexus 7000/7700 (F3)</a:t>
            </a:r>
            <a:br>
              <a:rPr lang="en-US" dirty="0" smtClean="0"/>
            </a:br>
            <a:r>
              <a:rPr lang="en-US" dirty="0" smtClean="0"/>
              <a:t>Flexible External Connectivity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608819" y="2771072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110459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Border Leaf</a:t>
              </a:r>
            </a:p>
            <a:p>
              <a:r>
                <a:rPr lang="en-US" sz="1200" dirty="0"/>
                <a:t>Border 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3325930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3325930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sp>
        <p:nvSpPr>
          <p:cNvPr id="270" name="TextBox 269"/>
          <p:cNvSpPr txBox="1"/>
          <p:nvPr/>
        </p:nvSpPr>
        <p:spPr>
          <a:xfrm>
            <a:off x="6657518" y="940640"/>
            <a:ext cx="5391776" cy="173880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(F3)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VRF-lite (Layer-3 Classic Ethernet)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000000"/>
                </a:solidFill>
              </a:rPr>
              <a:t>VPC (Layer-2 Classic Ethernet)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FF0000"/>
                </a:solidFill>
              </a:rPr>
              <a:t>LISP*</a:t>
            </a:r>
          </a:p>
          <a:p>
            <a:pPr marL="989001" lvl="1" indent="-380597" defTabSz="1217923">
              <a:buFont typeface="Wingdings" charset="2"/>
              <a:buChar char="§"/>
            </a:pPr>
            <a:r>
              <a:rPr lang="en-US" sz="2000" dirty="0">
                <a:solidFill>
                  <a:srgbClr val="FF0000"/>
                </a:solidFill>
              </a:rPr>
              <a:t>MPLS L3VPN*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433753" y="2739674"/>
            <a:ext cx="11324494" cy="3127683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2761701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813809"/>
            <a:ext cx="6621133" cy="446141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as Border Leaf or Border Spine</a:t>
            </a:r>
          </a:p>
        </p:txBody>
      </p:sp>
      <p:sp>
        <p:nvSpPr>
          <p:cNvPr id="113" name="Hexagon 112"/>
          <p:cNvSpPr/>
          <p:nvPr/>
        </p:nvSpPr>
        <p:spPr>
          <a:xfrm>
            <a:off x="4669331" y="3594083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sp>
        <p:nvSpPr>
          <p:cNvPr id="114" name="Hexagon 113"/>
          <p:cNvSpPr/>
          <p:nvPr/>
        </p:nvSpPr>
        <p:spPr>
          <a:xfrm>
            <a:off x="7009025" y="3594083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grpSp>
        <p:nvGrpSpPr>
          <p:cNvPr id="246" name="Group 245"/>
          <p:cNvGrpSpPr/>
          <p:nvPr/>
        </p:nvGrpSpPr>
        <p:grpSpPr>
          <a:xfrm>
            <a:off x="5071651" y="363056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235376" y="3630569"/>
            <a:ext cx="850633" cy="369197"/>
            <a:chOff x="3694664" y="5917691"/>
            <a:chExt cx="850633" cy="369197"/>
          </a:xfrm>
        </p:grpSpPr>
        <p:sp>
          <p:nvSpPr>
            <p:cNvPr id="104" name="Oval 1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sp>
        <p:nvSpPr>
          <p:cNvPr id="115" name="Can 114"/>
          <p:cNvSpPr/>
          <p:nvPr/>
        </p:nvSpPr>
        <p:spPr>
          <a:xfrm rot="10800000" flipV="1">
            <a:off x="4763751" y="4015584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6" name="Can 115"/>
          <p:cNvSpPr/>
          <p:nvPr/>
        </p:nvSpPr>
        <p:spPr>
          <a:xfrm rot="10800000" flipV="1">
            <a:off x="7115196" y="4015584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17" name="Group 116"/>
          <p:cNvGrpSpPr/>
          <p:nvPr/>
        </p:nvGrpSpPr>
        <p:grpSpPr>
          <a:xfrm>
            <a:off x="4644565" y="1507556"/>
            <a:ext cx="2005290" cy="1097585"/>
            <a:chOff x="8923471" y="5728780"/>
            <a:chExt cx="2005290" cy="1097585"/>
          </a:xfrm>
        </p:grpSpPr>
        <p:sp>
          <p:nvSpPr>
            <p:cNvPr id="118" name="Cloud 117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119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71471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LAN/EVPN Fabric External Rout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Overla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 lang="en-US" smtClean="0">
                <a:solidFill>
                  <a:srgbClr val="595959"/>
                </a:solidFill>
                <a:latin typeface="Arial"/>
                <a:ea typeface="Apple LiGothic Medium"/>
                <a:cs typeface="Apple LiGothic Medium"/>
              </a:rPr>
              <a:pPr/>
              <a:t>42</a:t>
            </a:fld>
            <a:endParaRPr lang="en-US" dirty="0">
              <a:solidFill>
                <a:srgbClr val="595959"/>
              </a:solidFill>
              <a:latin typeface="Arial"/>
              <a:ea typeface="Apple LiGothic Medium"/>
              <a:cs typeface="Apple LiGothic Medium"/>
            </a:endParaRPr>
          </a:p>
        </p:txBody>
      </p:sp>
      <p:cxnSp>
        <p:nvCxnSpPr>
          <p:cNvPr id="86" name="Straight Connector 85"/>
          <p:cNvCxnSpPr/>
          <p:nvPr/>
        </p:nvCxnSpPr>
        <p:spPr bwMode="auto">
          <a:xfrm flipV="1">
            <a:off x="6177831" y="1938157"/>
            <a:ext cx="1265201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/>
          <p:cNvCxnSpPr/>
          <p:nvPr/>
        </p:nvCxnSpPr>
        <p:spPr bwMode="auto">
          <a:xfrm flipV="1">
            <a:off x="7438644" y="1938159"/>
            <a:ext cx="4386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8" name="Straight Connector 87"/>
          <p:cNvCxnSpPr/>
          <p:nvPr/>
        </p:nvCxnSpPr>
        <p:spPr bwMode="auto">
          <a:xfrm>
            <a:off x="7443030" y="1938193"/>
            <a:ext cx="2521086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/>
          <p:cNvCxnSpPr/>
          <p:nvPr/>
        </p:nvCxnSpPr>
        <p:spPr bwMode="auto">
          <a:xfrm flipV="1">
            <a:off x="6177829" y="1938157"/>
            <a:ext cx="1908500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0" name="Straight Connector 89"/>
          <p:cNvCxnSpPr/>
          <p:nvPr/>
        </p:nvCxnSpPr>
        <p:spPr bwMode="auto">
          <a:xfrm flipV="1">
            <a:off x="6177831" y="1938157"/>
            <a:ext cx="2551799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Straight Connector 90"/>
          <p:cNvCxnSpPr/>
          <p:nvPr/>
        </p:nvCxnSpPr>
        <p:spPr bwMode="auto">
          <a:xfrm flipV="1">
            <a:off x="6177829" y="1938157"/>
            <a:ext cx="3195098" cy="93806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91"/>
          <p:cNvCxnSpPr/>
          <p:nvPr/>
        </p:nvCxnSpPr>
        <p:spPr bwMode="auto">
          <a:xfrm flipV="1">
            <a:off x="7438646" y="1938159"/>
            <a:ext cx="647685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92"/>
          <p:cNvCxnSpPr/>
          <p:nvPr/>
        </p:nvCxnSpPr>
        <p:spPr bwMode="auto">
          <a:xfrm flipV="1">
            <a:off x="7438644" y="1938159"/>
            <a:ext cx="1290984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4" name="Straight Connector 93"/>
          <p:cNvCxnSpPr/>
          <p:nvPr/>
        </p:nvCxnSpPr>
        <p:spPr bwMode="auto">
          <a:xfrm flipV="1">
            <a:off x="7438646" y="1938159"/>
            <a:ext cx="1934283" cy="20673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Straight Connector 94"/>
          <p:cNvCxnSpPr/>
          <p:nvPr/>
        </p:nvCxnSpPr>
        <p:spPr bwMode="auto">
          <a:xfrm>
            <a:off x="8086365" y="1938193"/>
            <a:ext cx="1877787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5"/>
          <p:cNvCxnSpPr/>
          <p:nvPr/>
        </p:nvCxnSpPr>
        <p:spPr bwMode="auto">
          <a:xfrm>
            <a:off x="8729628" y="1938193"/>
            <a:ext cx="1234488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6"/>
          <p:cNvCxnSpPr/>
          <p:nvPr/>
        </p:nvCxnSpPr>
        <p:spPr bwMode="auto">
          <a:xfrm>
            <a:off x="9372963" y="1938193"/>
            <a:ext cx="591189" cy="75802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98" name="Group 97"/>
          <p:cNvGrpSpPr/>
          <p:nvPr/>
        </p:nvGrpSpPr>
        <p:grpSpPr>
          <a:xfrm>
            <a:off x="7130109" y="1559306"/>
            <a:ext cx="2522935" cy="582051"/>
            <a:chOff x="3581400" y="2152650"/>
            <a:chExt cx="1892694" cy="436538"/>
          </a:xfrm>
        </p:grpSpPr>
        <p:pic>
          <p:nvPicPr>
            <p:cNvPr id="99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35814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10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0640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101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4546600" y="2152650"/>
              <a:ext cx="444894" cy="436538"/>
            </a:xfrm>
            <a:prstGeom prst="rect">
              <a:avLst/>
            </a:prstGeom>
            <a:noFill/>
          </p:spPr>
        </p:pic>
        <p:pic>
          <p:nvPicPr>
            <p:cNvPr id="10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>
              <a:alphaModFix amt="50000"/>
            </a:blip>
            <a:srcRect/>
            <a:stretch>
              <a:fillRect/>
            </a:stretch>
          </p:blipFill>
          <p:spPr bwMode="auto">
            <a:xfrm>
              <a:off x="5029200" y="2152650"/>
              <a:ext cx="444894" cy="436538"/>
            </a:xfrm>
            <a:prstGeom prst="rect">
              <a:avLst/>
            </a:prstGeom>
            <a:noFill/>
          </p:spPr>
        </p:pic>
      </p:grpSp>
      <p:sp>
        <p:nvSpPr>
          <p:cNvPr id="103" name="Freeform 6"/>
          <p:cNvSpPr>
            <a:spLocks noChangeAspect="1"/>
          </p:cNvSpPr>
          <p:nvPr/>
        </p:nvSpPr>
        <p:spPr bwMode="auto">
          <a:xfrm>
            <a:off x="4795952" y="644905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760" tIns="60880" rIns="121760" bIns="60880" numCol="1" anchor="ctr" anchorCtr="0" compatLnSpc="1">
            <a:prstTxWarp prst="textNoShape">
              <a:avLst/>
            </a:prstTxWarp>
          </a:bodyPr>
          <a:lstStyle/>
          <a:p>
            <a:pPr algn="ctr" defTabSz="1217415"/>
            <a:endParaRPr lang="en-US" sz="3200" dirty="0">
              <a:cs typeface="Cambria"/>
            </a:endParaRPr>
          </a:p>
        </p:txBody>
      </p:sp>
      <p:sp>
        <p:nvSpPr>
          <p:cNvPr id="104" name="Freeform 6"/>
          <p:cNvSpPr>
            <a:spLocks noChangeAspect="1"/>
          </p:cNvSpPr>
          <p:nvPr/>
        </p:nvSpPr>
        <p:spPr bwMode="auto">
          <a:xfrm>
            <a:off x="4795952" y="595465"/>
            <a:ext cx="6293486" cy="3657600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rgbClr val="6E3548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  <a:scene3d>
            <a:camera prst="isometricTopUp"/>
            <a:lightRig rig="threePt" dir="t"/>
          </a:scene3d>
        </p:spPr>
        <p:txBody>
          <a:bodyPr vert="horz" wrap="square" lIns="121760" tIns="60880" rIns="121760" bIns="60880" numCol="1" anchor="ctr" anchorCtr="0" compatLnSpc="1">
            <a:prstTxWarp prst="textNoShape">
              <a:avLst/>
            </a:prstTxWarp>
          </a:bodyPr>
          <a:lstStyle/>
          <a:p>
            <a:pPr algn="ctr" defTabSz="1217415"/>
            <a:endParaRPr lang="en-US" sz="3200" dirty="0">
              <a:cs typeface="Cambria"/>
            </a:endParaRPr>
          </a:p>
        </p:txBody>
      </p:sp>
      <p:cxnSp>
        <p:nvCxnSpPr>
          <p:cNvPr id="138" name="Curved Connector 137"/>
          <p:cNvCxnSpPr>
            <a:stCxn id="149" idx="5"/>
            <a:endCxn id="108" idx="5"/>
          </p:cNvCxnSpPr>
          <p:nvPr/>
        </p:nvCxnSpPr>
        <p:spPr bwMode="auto">
          <a:xfrm rot="16200000" flipV="1">
            <a:off x="5979636" y="2109104"/>
            <a:ext cx="2254311" cy="1401066"/>
          </a:xfrm>
          <a:prstGeom prst="curvedConnector3">
            <a:avLst>
              <a:gd name="adj1" fmla="val 110141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cxnSp>
        <p:nvCxnSpPr>
          <p:cNvPr id="139" name="Curved Connector 138"/>
          <p:cNvCxnSpPr>
            <a:stCxn id="154" idx="5"/>
            <a:endCxn id="108" idx="5"/>
          </p:cNvCxnSpPr>
          <p:nvPr/>
        </p:nvCxnSpPr>
        <p:spPr bwMode="auto">
          <a:xfrm rot="16200000" flipV="1">
            <a:off x="7244730" y="843980"/>
            <a:ext cx="1382027" cy="3059026"/>
          </a:xfrm>
          <a:prstGeom prst="curvedConnector3">
            <a:avLst>
              <a:gd name="adj1" fmla="val 116541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cxnSp>
        <p:nvCxnSpPr>
          <p:cNvPr id="140" name="Curved Connector 139"/>
          <p:cNvCxnSpPr>
            <a:stCxn id="144" idx="5"/>
            <a:endCxn id="108" idx="5"/>
          </p:cNvCxnSpPr>
          <p:nvPr/>
        </p:nvCxnSpPr>
        <p:spPr bwMode="auto">
          <a:xfrm rot="16200000" flipV="1">
            <a:off x="8247019" y="-158305"/>
            <a:ext cx="606092" cy="4287666"/>
          </a:xfrm>
          <a:prstGeom prst="curvedConnector3">
            <a:avLst>
              <a:gd name="adj1" fmla="val 137717"/>
            </a:avLst>
          </a:prstGeom>
          <a:solidFill>
            <a:srgbClr val="0183B7"/>
          </a:solidFill>
          <a:ln w="38100" cap="rnd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</p:cxnSp>
      <p:grpSp>
        <p:nvGrpSpPr>
          <p:cNvPr id="141" name="Group 140"/>
          <p:cNvGrpSpPr/>
          <p:nvPr/>
        </p:nvGrpSpPr>
        <p:grpSpPr>
          <a:xfrm>
            <a:off x="10180181" y="2093353"/>
            <a:ext cx="820222" cy="805025"/>
            <a:chOff x="4517870" y="2651692"/>
            <a:chExt cx="615327" cy="603769"/>
          </a:xfrm>
        </p:grpSpPr>
        <p:pic>
          <p:nvPicPr>
            <p:cNvPr id="14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43" name="Group 142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44" name="Hexagon 143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45" name="TextBox 144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2</a:t>
                </a:r>
              </a:p>
            </p:txBody>
          </p:sp>
        </p:grpSp>
      </p:grpSp>
      <p:grpSp>
        <p:nvGrpSpPr>
          <p:cNvPr id="146" name="Group 145"/>
          <p:cNvGrpSpPr/>
          <p:nvPr/>
        </p:nvGrpSpPr>
        <p:grpSpPr>
          <a:xfrm>
            <a:off x="7293581" y="3741571"/>
            <a:ext cx="820222" cy="805025"/>
            <a:chOff x="4517870" y="2651692"/>
            <a:chExt cx="615327" cy="603769"/>
          </a:xfrm>
        </p:grpSpPr>
        <p:pic>
          <p:nvPicPr>
            <p:cNvPr id="147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48" name="Group 147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49" name="Hexagon 148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50" name="TextBox 149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1</a:t>
                </a:r>
              </a:p>
            </p:txBody>
          </p:sp>
        </p:grpSp>
      </p:grpSp>
      <p:grpSp>
        <p:nvGrpSpPr>
          <p:cNvPr id="151" name="Group 150"/>
          <p:cNvGrpSpPr/>
          <p:nvPr/>
        </p:nvGrpSpPr>
        <p:grpSpPr>
          <a:xfrm>
            <a:off x="8951544" y="2869287"/>
            <a:ext cx="820222" cy="805025"/>
            <a:chOff x="4517870" y="2651692"/>
            <a:chExt cx="615327" cy="603769"/>
          </a:xfrm>
        </p:grpSpPr>
        <p:pic>
          <p:nvPicPr>
            <p:cNvPr id="15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53" name="Group 152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54" name="Hexagon 153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55" name="TextBox 154"/>
              <p:cNvSpPr txBox="1"/>
              <p:nvPr/>
            </p:nvSpPr>
            <p:spPr>
              <a:xfrm>
                <a:off x="3251018" y="3604947"/>
                <a:ext cx="209660" cy="22217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21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21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3</a:t>
                </a:r>
              </a:p>
            </p:txBody>
          </p:sp>
        </p:grpSp>
      </p:grpSp>
      <p:grpSp>
        <p:nvGrpSpPr>
          <p:cNvPr id="156" name="Group 155"/>
          <p:cNvGrpSpPr/>
          <p:nvPr/>
        </p:nvGrpSpPr>
        <p:grpSpPr>
          <a:xfrm>
            <a:off x="7502827" y="3508570"/>
            <a:ext cx="409445" cy="409547"/>
            <a:chOff x="3352800" y="3943350"/>
            <a:chExt cx="307164" cy="307160"/>
          </a:xfrm>
        </p:grpSpPr>
        <p:sp>
          <p:nvSpPr>
            <p:cNvPr id="157" name="Oval 156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8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9160783" y="2636286"/>
            <a:ext cx="409445" cy="409547"/>
            <a:chOff x="3352800" y="3943350"/>
            <a:chExt cx="307164" cy="307160"/>
          </a:xfrm>
        </p:grpSpPr>
        <p:sp>
          <p:nvSpPr>
            <p:cNvPr id="160" name="Oval 159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1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10385948" y="1827026"/>
            <a:ext cx="409445" cy="409547"/>
            <a:chOff x="3352800" y="3943350"/>
            <a:chExt cx="307164" cy="307160"/>
          </a:xfrm>
        </p:grpSpPr>
        <p:sp>
          <p:nvSpPr>
            <p:cNvPr id="163" name="Oval 162"/>
            <p:cNvSpPr/>
            <p:nvPr/>
          </p:nvSpPr>
          <p:spPr>
            <a:xfrm>
              <a:off x="3352800" y="3943350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4" name="Freeform 129"/>
            <p:cNvSpPr>
              <a:spLocks noEditPoints="1"/>
            </p:cNvSpPr>
            <p:nvPr/>
          </p:nvSpPr>
          <p:spPr bwMode="auto">
            <a:xfrm>
              <a:off x="3420300" y="4012206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Can 84"/>
          <p:cNvSpPr/>
          <p:nvPr/>
        </p:nvSpPr>
        <p:spPr bwMode="auto">
          <a:xfrm>
            <a:off x="5533862" y="3133596"/>
            <a:ext cx="1124282" cy="1753385"/>
          </a:xfrm>
          <a:prstGeom prst="can">
            <a:avLst/>
          </a:prstGeom>
          <a:solidFill>
            <a:schemeClr val="accent5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3881"/>
            <a:endParaRPr lang="en-US" sz="1500" dirty="0" err="1">
              <a:solidFill>
                <a:schemeClr val="bg1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cxnSp>
        <p:nvCxnSpPr>
          <p:cNvPr id="170" name="Straight Connector 169"/>
          <p:cNvCxnSpPr/>
          <p:nvPr/>
        </p:nvCxnSpPr>
        <p:spPr bwMode="auto">
          <a:xfrm>
            <a:off x="5737506" y="3144013"/>
            <a:ext cx="0" cy="1634469"/>
          </a:xfrm>
          <a:prstGeom prst="line">
            <a:avLst/>
          </a:prstGeom>
          <a:solidFill>
            <a:srgbClr val="0183B7"/>
          </a:solidFill>
          <a:ln w="762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2" name="Straight Connector 171"/>
          <p:cNvCxnSpPr/>
          <p:nvPr/>
        </p:nvCxnSpPr>
        <p:spPr bwMode="auto">
          <a:xfrm>
            <a:off x="6096001" y="3202716"/>
            <a:ext cx="0" cy="1634469"/>
          </a:xfrm>
          <a:prstGeom prst="line">
            <a:avLst/>
          </a:prstGeom>
          <a:solidFill>
            <a:srgbClr val="0183B7"/>
          </a:solidFill>
          <a:ln w="762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3" name="Straight Connector 172"/>
          <p:cNvCxnSpPr/>
          <p:nvPr/>
        </p:nvCxnSpPr>
        <p:spPr bwMode="auto">
          <a:xfrm>
            <a:off x="6427477" y="3167725"/>
            <a:ext cx="0" cy="1634469"/>
          </a:xfrm>
          <a:prstGeom prst="line">
            <a:avLst/>
          </a:prstGeom>
          <a:solidFill>
            <a:srgbClr val="0183B7"/>
          </a:solidFill>
          <a:ln w="762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05" name="Group 104"/>
          <p:cNvGrpSpPr>
            <a:grpSpLocks noChangeAspect="1"/>
          </p:cNvGrpSpPr>
          <p:nvPr/>
        </p:nvGrpSpPr>
        <p:grpSpPr>
          <a:xfrm>
            <a:off x="4867977" y="1097838"/>
            <a:ext cx="2456052" cy="2410547"/>
            <a:chOff x="4517870" y="2651692"/>
            <a:chExt cx="615327" cy="603769"/>
          </a:xfrm>
        </p:grpSpPr>
        <p:pic>
          <p:nvPicPr>
            <p:cNvPr id="10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07" name="Group 106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08" name="Hexagon 107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 dirty="0" err="1">
                  <a:solidFill>
                    <a:schemeClr val="bg1"/>
                  </a:solidFill>
                  <a:latin typeface="+mj-lt"/>
                  <a:sym typeface="Arial" pitchFamily="-107" charset="0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3256687" y="3653071"/>
                <a:ext cx="198326" cy="141329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800"/>
                  </a:spcBef>
                </a:pPr>
                <a:r>
                  <a:rPr lang="en-US" sz="4000" b="1" dirty="0">
                    <a:solidFill>
                      <a:schemeClr val="bg1"/>
                    </a:solidFill>
                    <a:latin typeface="+mj-lt"/>
                    <a:cs typeface="Arial"/>
                  </a:rPr>
                  <a:t>V</a:t>
                </a:r>
                <a:r>
                  <a:rPr lang="en-US" sz="4000" b="1" baseline="30000" dirty="0">
                    <a:solidFill>
                      <a:schemeClr val="bg1"/>
                    </a:solidFill>
                    <a:latin typeface="+mj-lt"/>
                    <a:cs typeface="Arial"/>
                  </a:rPr>
                  <a:t>BL</a:t>
                </a:r>
              </a:p>
            </p:txBody>
          </p:sp>
        </p:grpSp>
      </p:grpSp>
      <p:grpSp>
        <p:nvGrpSpPr>
          <p:cNvPr id="165" name="Group 164"/>
          <p:cNvGrpSpPr>
            <a:grpSpLocks noChangeAspect="1"/>
          </p:cNvGrpSpPr>
          <p:nvPr/>
        </p:nvGrpSpPr>
        <p:grpSpPr>
          <a:xfrm>
            <a:off x="4350406" y="4656602"/>
            <a:ext cx="3491247" cy="1933359"/>
            <a:chOff x="5055172" y="4510819"/>
            <a:chExt cx="1602981" cy="887688"/>
          </a:xfrm>
        </p:grpSpPr>
        <p:sp>
          <p:nvSpPr>
            <p:cNvPr id="110" name="Cloud 109"/>
            <p:cNvSpPr/>
            <p:nvPr/>
          </p:nvSpPr>
          <p:spPr bwMode="auto">
            <a:xfrm>
              <a:off x="5055172" y="4634110"/>
              <a:ext cx="1602981" cy="764397"/>
            </a:xfrm>
            <a:prstGeom prst="cloud">
              <a:avLst/>
            </a:prstGeom>
            <a:solidFill>
              <a:srgbClr val="FFFFFF">
                <a:alpha val="70000"/>
              </a:srgbClr>
            </a:solidFill>
            <a:ln w="3175" cmpd="sng">
              <a:solidFill>
                <a:schemeClr val="accent5"/>
              </a:solidFill>
            </a:ln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</p:spPr>
          <p:txBody>
            <a:bodyPr vert="horz" wrap="square" lIns="121872" tIns="60936" rIns="121872" bIns="60936" numCol="1" anchor="ctr" anchorCtr="0" compatLnSpc="1">
              <a:prstTxWarp prst="textNoShape">
                <a:avLst/>
              </a:prstTxWarp>
            </a:bodyPr>
            <a:lstStyle/>
            <a:p>
              <a:pPr algn="ctr" defTabSz="1217415"/>
              <a:r>
                <a:rPr lang="en-US" sz="2000" dirty="0">
                  <a:cs typeface="Cambria"/>
                  <a:sym typeface="Arial" pitchFamily="-107" charset="0"/>
                </a:rPr>
                <a:t>WAN</a:t>
              </a:r>
            </a:p>
          </p:txBody>
        </p:sp>
        <p:grpSp>
          <p:nvGrpSpPr>
            <p:cNvPr id="111" name="Group 51"/>
            <p:cNvGrpSpPr>
              <a:grpSpLocks noChangeAspect="1"/>
            </p:cNvGrpSpPr>
            <p:nvPr/>
          </p:nvGrpSpPr>
          <p:grpSpPr bwMode="auto">
            <a:xfrm>
              <a:off x="5555431" y="4510819"/>
              <a:ext cx="603672" cy="316152"/>
              <a:chOff x="1725" y="1914"/>
              <a:chExt cx="421" cy="219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12" name="AutoShape 52"/>
              <p:cNvSpPr>
                <a:spLocks noChangeAspect="1" noChangeArrowheads="1" noTextEdit="1"/>
              </p:cNvSpPr>
              <p:nvPr/>
            </p:nvSpPr>
            <p:spPr bwMode="auto">
              <a:xfrm>
                <a:off x="1725" y="1914"/>
                <a:ext cx="421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sp>
            <p:nvSpPr>
              <p:cNvPr id="113" name="Oval 53"/>
              <p:cNvSpPr>
                <a:spLocks noChangeArrowheads="1"/>
              </p:cNvSpPr>
              <p:nvPr/>
            </p:nvSpPr>
            <p:spPr bwMode="auto">
              <a:xfrm>
                <a:off x="1726" y="2006"/>
                <a:ext cx="419" cy="126"/>
              </a:xfrm>
              <a:prstGeom prst="ellipse">
                <a:avLst/>
              </a:prstGeom>
              <a:solidFill>
                <a:srgbClr val="7D7FD5"/>
              </a:solidFill>
              <a:ln w="9525">
                <a:solidFill>
                  <a:srgbClr val="11111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sp>
            <p:nvSpPr>
              <p:cNvPr id="114" name="Rectangle 54"/>
              <p:cNvSpPr>
                <a:spLocks noChangeArrowheads="1"/>
              </p:cNvSpPr>
              <p:nvPr/>
            </p:nvSpPr>
            <p:spPr bwMode="auto">
              <a:xfrm>
                <a:off x="1725" y="1980"/>
                <a:ext cx="418" cy="90"/>
              </a:xfrm>
              <a:prstGeom prst="rect">
                <a:avLst/>
              </a:prstGeom>
              <a:solidFill>
                <a:srgbClr val="0078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sp>
            <p:nvSpPr>
              <p:cNvPr id="115" name="Rectangle 55"/>
              <p:cNvSpPr>
                <a:spLocks noChangeArrowheads="1"/>
              </p:cNvSpPr>
              <p:nvPr/>
            </p:nvSpPr>
            <p:spPr bwMode="auto">
              <a:xfrm>
                <a:off x="1725" y="1980"/>
                <a:ext cx="418" cy="90"/>
              </a:xfrm>
              <a:prstGeom prst="rect">
                <a:avLst/>
              </a:prstGeom>
              <a:solidFill>
                <a:srgbClr val="7D7FD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sp>
            <p:nvSpPr>
              <p:cNvPr id="116" name="Oval 56"/>
              <p:cNvSpPr>
                <a:spLocks noChangeArrowheads="1"/>
              </p:cNvSpPr>
              <p:nvPr/>
            </p:nvSpPr>
            <p:spPr bwMode="auto">
              <a:xfrm>
                <a:off x="1726" y="1915"/>
                <a:ext cx="419" cy="126"/>
              </a:xfrm>
              <a:prstGeom prst="ellipse">
                <a:avLst/>
              </a:prstGeom>
              <a:gradFill rotWithShape="1">
                <a:gsLst>
                  <a:gs pos="0">
                    <a:srgbClr val="7D7FD5"/>
                  </a:gs>
                  <a:gs pos="100000">
                    <a:srgbClr val="5F5F5F"/>
                  </a:gs>
                </a:gsLst>
                <a:lin ang="5400000" scaled="1"/>
              </a:gradFill>
              <a:ln w="9525">
                <a:solidFill>
                  <a:srgbClr val="11111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grpSp>
            <p:nvGrpSpPr>
              <p:cNvPr id="117" name="Group 57"/>
              <p:cNvGrpSpPr>
                <a:grpSpLocks/>
              </p:cNvGrpSpPr>
              <p:nvPr/>
            </p:nvGrpSpPr>
            <p:grpSpPr bwMode="auto">
              <a:xfrm>
                <a:off x="1789" y="1930"/>
                <a:ext cx="291" cy="97"/>
                <a:chOff x="2220" y="1295"/>
                <a:chExt cx="911" cy="343"/>
              </a:xfrm>
            </p:grpSpPr>
            <p:grpSp>
              <p:nvGrpSpPr>
                <p:cNvPr id="120" name="Group 58"/>
                <p:cNvGrpSpPr>
                  <a:grpSpLocks/>
                </p:cNvGrpSpPr>
                <p:nvPr/>
              </p:nvGrpSpPr>
              <p:grpSpPr bwMode="auto">
                <a:xfrm>
                  <a:off x="2220" y="1295"/>
                  <a:ext cx="903" cy="335"/>
                  <a:chOff x="2220" y="1295"/>
                  <a:chExt cx="903" cy="335"/>
                </a:xfrm>
              </p:grpSpPr>
              <p:sp>
                <p:nvSpPr>
                  <p:cNvPr id="130" name="Freeform 59"/>
                  <p:cNvSpPr>
                    <a:spLocks/>
                  </p:cNvSpPr>
                  <p:nvPr/>
                </p:nvSpPr>
                <p:spPr bwMode="auto">
                  <a:xfrm>
                    <a:off x="2691" y="1303"/>
                    <a:ext cx="432" cy="144"/>
                  </a:xfrm>
                  <a:custGeom>
                    <a:avLst/>
                    <a:gdLst>
                      <a:gd name="T0" fmla="*/ 0 w 432"/>
                      <a:gd name="T1" fmla="*/ 112 h 144"/>
                      <a:gd name="T2" fmla="*/ 96 w 432"/>
                      <a:gd name="T3" fmla="*/ 144 h 144"/>
                      <a:gd name="T4" fmla="*/ 328 w 432"/>
                      <a:gd name="T5" fmla="*/ 48 h 144"/>
                      <a:gd name="T6" fmla="*/ 432 w 432"/>
                      <a:gd name="T7" fmla="*/ 80 h 144"/>
                      <a:gd name="T8" fmla="*/ 376 w 432"/>
                      <a:gd name="T9" fmla="*/ 0 h 144"/>
                      <a:gd name="T10" fmla="*/ 104 w 432"/>
                      <a:gd name="T11" fmla="*/ 0 h 144"/>
                      <a:gd name="T12" fmla="*/ 216 w 432"/>
                      <a:gd name="T13" fmla="*/ 24 h 144"/>
                      <a:gd name="T14" fmla="*/ 0 w 432"/>
                      <a:gd name="T15" fmla="*/ 11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112"/>
                        </a:moveTo>
                        <a:lnTo>
                          <a:pt x="96" y="144"/>
                        </a:lnTo>
                        <a:lnTo>
                          <a:pt x="328" y="48"/>
                        </a:lnTo>
                        <a:lnTo>
                          <a:pt x="432" y="80"/>
                        </a:lnTo>
                        <a:lnTo>
                          <a:pt x="376" y="0"/>
                        </a:lnTo>
                        <a:lnTo>
                          <a:pt x="104" y="0"/>
                        </a:lnTo>
                        <a:lnTo>
                          <a:pt x="216" y="24"/>
                        </a:lnTo>
                        <a:lnTo>
                          <a:pt x="0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1" name="Freeform 60"/>
                  <p:cNvSpPr>
                    <a:spLocks/>
                  </p:cNvSpPr>
                  <p:nvPr/>
                </p:nvSpPr>
                <p:spPr bwMode="auto">
                  <a:xfrm>
                    <a:off x="2691" y="1303"/>
                    <a:ext cx="432" cy="144"/>
                  </a:xfrm>
                  <a:custGeom>
                    <a:avLst/>
                    <a:gdLst>
                      <a:gd name="T0" fmla="*/ 0 w 432"/>
                      <a:gd name="T1" fmla="*/ 112 h 144"/>
                      <a:gd name="T2" fmla="*/ 96 w 432"/>
                      <a:gd name="T3" fmla="*/ 144 h 144"/>
                      <a:gd name="T4" fmla="*/ 328 w 432"/>
                      <a:gd name="T5" fmla="*/ 48 h 144"/>
                      <a:gd name="T6" fmla="*/ 432 w 432"/>
                      <a:gd name="T7" fmla="*/ 80 h 144"/>
                      <a:gd name="T8" fmla="*/ 376 w 432"/>
                      <a:gd name="T9" fmla="*/ 0 h 144"/>
                      <a:gd name="T10" fmla="*/ 104 w 432"/>
                      <a:gd name="T11" fmla="*/ 0 h 144"/>
                      <a:gd name="T12" fmla="*/ 216 w 432"/>
                      <a:gd name="T13" fmla="*/ 24 h 144"/>
                      <a:gd name="T14" fmla="*/ 0 w 432"/>
                      <a:gd name="T15" fmla="*/ 11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112"/>
                        </a:moveTo>
                        <a:lnTo>
                          <a:pt x="96" y="144"/>
                        </a:lnTo>
                        <a:lnTo>
                          <a:pt x="328" y="48"/>
                        </a:lnTo>
                        <a:lnTo>
                          <a:pt x="432" y="80"/>
                        </a:lnTo>
                        <a:lnTo>
                          <a:pt x="376" y="0"/>
                        </a:lnTo>
                        <a:lnTo>
                          <a:pt x="104" y="0"/>
                        </a:lnTo>
                        <a:lnTo>
                          <a:pt x="216" y="24"/>
                        </a:lnTo>
                        <a:lnTo>
                          <a:pt x="0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2" name="Freeform 61"/>
                  <p:cNvSpPr>
                    <a:spLocks/>
                  </p:cNvSpPr>
                  <p:nvPr/>
                </p:nvSpPr>
                <p:spPr bwMode="auto">
                  <a:xfrm>
                    <a:off x="2220" y="1471"/>
                    <a:ext cx="432" cy="152"/>
                  </a:xfrm>
                  <a:custGeom>
                    <a:avLst/>
                    <a:gdLst>
                      <a:gd name="T0" fmla="*/ 432 w 432"/>
                      <a:gd name="T1" fmla="*/ 32 h 152"/>
                      <a:gd name="T2" fmla="*/ 336 w 432"/>
                      <a:gd name="T3" fmla="*/ 0 h 152"/>
                      <a:gd name="T4" fmla="*/ 112 w 432"/>
                      <a:gd name="T5" fmla="*/ 96 h 152"/>
                      <a:gd name="T6" fmla="*/ 0 w 432"/>
                      <a:gd name="T7" fmla="*/ 64 h 152"/>
                      <a:gd name="T8" fmla="*/ 56 w 432"/>
                      <a:gd name="T9" fmla="*/ 152 h 152"/>
                      <a:gd name="T10" fmla="*/ 336 w 432"/>
                      <a:gd name="T11" fmla="*/ 152 h 152"/>
                      <a:gd name="T12" fmla="*/ 216 w 432"/>
                      <a:gd name="T13" fmla="*/ 120 h 152"/>
                      <a:gd name="T14" fmla="*/ 432 w 432"/>
                      <a:gd name="T15" fmla="*/ 32 h 15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52"/>
                      <a:gd name="T26" fmla="*/ 432 w 432"/>
                      <a:gd name="T27" fmla="*/ 152 h 15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52">
                        <a:moveTo>
                          <a:pt x="432" y="32"/>
                        </a:moveTo>
                        <a:lnTo>
                          <a:pt x="336" y="0"/>
                        </a:lnTo>
                        <a:lnTo>
                          <a:pt x="112" y="96"/>
                        </a:lnTo>
                        <a:lnTo>
                          <a:pt x="0" y="64"/>
                        </a:lnTo>
                        <a:lnTo>
                          <a:pt x="56" y="152"/>
                        </a:lnTo>
                        <a:lnTo>
                          <a:pt x="336" y="152"/>
                        </a:lnTo>
                        <a:lnTo>
                          <a:pt x="216" y="120"/>
                        </a:lnTo>
                        <a:lnTo>
                          <a:pt x="432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3" name="Freeform 62"/>
                  <p:cNvSpPr>
                    <a:spLocks/>
                  </p:cNvSpPr>
                  <p:nvPr/>
                </p:nvSpPr>
                <p:spPr bwMode="auto">
                  <a:xfrm>
                    <a:off x="2220" y="1471"/>
                    <a:ext cx="432" cy="152"/>
                  </a:xfrm>
                  <a:custGeom>
                    <a:avLst/>
                    <a:gdLst>
                      <a:gd name="T0" fmla="*/ 432 w 432"/>
                      <a:gd name="T1" fmla="*/ 32 h 152"/>
                      <a:gd name="T2" fmla="*/ 336 w 432"/>
                      <a:gd name="T3" fmla="*/ 0 h 152"/>
                      <a:gd name="T4" fmla="*/ 112 w 432"/>
                      <a:gd name="T5" fmla="*/ 96 h 152"/>
                      <a:gd name="T6" fmla="*/ 0 w 432"/>
                      <a:gd name="T7" fmla="*/ 64 h 152"/>
                      <a:gd name="T8" fmla="*/ 56 w 432"/>
                      <a:gd name="T9" fmla="*/ 152 h 152"/>
                      <a:gd name="T10" fmla="*/ 336 w 432"/>
                      <a:gd name="T11" fmla="*/ 152 h 152"/>
                      <a:gd name="T12" fmla="*/ 216 w 432"/>
                      <a:gd name="T13" fmla="*/ 120 h 152"/>
                      <a:gd name="T14" fmla="*/ 432 w 432"/>
                      <a:gd name="T15" fmla="*/ 32 h 152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52"/>
                      <a:gd name="T26" fmla="*/ 432 w 432"/>
                      <a:gd name="T27" fmla="*/ 152 h 152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52">
                        <a:moveTo>
                          <a:pt x="432" y="32"/>
                        </a:moveTo>
                        <a:lnTo>
                          <a:pt x="336" y="0"/>
                        </a:lnTo>
                        <a:lnTo>
                          <a:pt x="112" y="96"/>
                        </a:lnTo>
                        <a:lnTo>
                          <a:pt x="0" y="64"/>
                        </a:lnTo>
                        <a:lnTo>
                          <a:pt x="56" y="152"/>
                        </a:lnTo>
                        <a:lnTo>
                          <a:pt x="336" y="152"/>
                        </a:lnTo>
                        <a:lnTo>
                          <a:pt x="216" y="120"/>
                        </a:lnTo>
                        <a:lnTo>
                          <a:pt x="432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4" name="Freeform 63"/>
                  <p:cNvSpPr>
                    <a:spLocks/>
                  </p:cNvSpPr>
                  <p:nvPr/>
                </p:nvSpPr>
                <p:spPr bwMode="auto">
                  <a:xfrm>
                    <a:off x="2244" y="1295"/>
                    <a:ext cx="432" cy="144"/>
                  </a:xfrm>
                  <a:custGeom>
                    <a:avLst/>
                    <a:gdLst>
                      <a:gd name="T0" fmla="*/ 0 w 432"/>
                      <a:gd name="T1" fmla="*/ 32 h 144"/>
                      <a:gd name="T2" fmla="*/ 96 w 432"/>
                      <a:gd name="T3" fmla="*/ 0 h 144"/>
                      <a:gd name="T4" fmla="*/ 328 w 432"/>
                      <a:gd name="T5" fmla="*/ 88 h 144"/>
                      <a:gd name="T6" fmla="*/ 432 w 432"/>
                      <a:gd name="T7" fmla="*/ 64 h 144"/>
                      <a:gd name="T8" fmla="*/ 376 w 432"/>
                      <a:gd name="T9" fmla="*/ 144 h 144"/>
                      <a:gd name="T10" fmla="*/ 104 w 432"/>
                      <a:gd name="T11" fmla="*/ 144 h 144"/>
                      <a:gd name="T12" fmla="*/ 216 w 432"/>
                      <a:gd name="T13" fmla="*/ 120 h 144"/>
                      <a:gd name="T14" fmla="*/ 0 w 432"/>
                      <a:gd name="T15" fmla="*/ 3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32"/>
                        </a:moveTo>
                        <a:lnTo>
                          <a:pt x="96" y="0"/>
                        </a:lnTo>
                        <a:lnTo>
                          <a:pt x="328" y="88"/>
                        </a:lnTo>
                        <a:lnTo>
                          <a:pt x="432" y="64"/>
                        </a:lnTo>
                        <a:lnTo>
                          <a:pt x="376" y="144"/>
                        </a:lnTo>
                        <a:lnTo>
                          <a:pt x="104" y="144"/>
                        </a:lnTo>
                        <a:lnTo>
                          <a:pt x="216" y="120"/>
                        </a:ln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5" name="Freeform 64"/>
                  <p:cNvSpPr>
                    <a:spLocks/>
                  </p:cNvSpPr>
                  <p:nvPr/>
                </p:nvSpPr>
                <p:spPr bwMode="auto">
                  <a:xfrm>
                    <a:off x="2244" y="1295"/>
                    <a:ext cx="432" cy="144"/>
                  </a:xfrm>
                  <a:custGeom>
                    <a:avLst/>
                    <a:gdLst>
                      <a:gd name="T0" fmla="*/ 0 w 432"/>
                      <a:gd name="T1" fmla="*/ 32 h 144"/>
                      <a:gd name="T2" fmla="*/ 96 w 432"/>
                      <a:gd name="T3" fmla="*/ 0 h 144"/>
                      <a:gd name="T4" fmla="*/ 328 w 432"/>
                      <a:gd name="T5" fmla="*/ 88 h 144"/>
                      <a:gd name="T6" fmla="*/ 432 w 432"/>
                      <a:gd name="T7" fmla="*/ 64 h 144"/>
                      <a:gd name="T8" fmla="*/ 376 w 432"/>
                      <a:gd name="T9" fmla="*/ 144 h 144"/>
                      <a:gd name="T10" fmla="*/ 104 w 432"/>
                      <a:gd name="T11" fmla="*/ 144 h 144"/>
                      <a:gd name="T12" fmla="*/ 216 w 432"/>
                      <a:gd name="T13" fmla="*/ 120 h 144"/>
                      <a:gd name="T14" fmla="*/ 0 w 432"/>
                      <a:gd name="T15" fmla="*/ 3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32"/>
                        </a:moveTo>
                        <a:lnTo>
                          <a:pt x="96" y="0"/>
                        </a:lnTo>
                        <a:lnTo>
                          <a:pt x="328" y="88"/>
                        </a:lnTo>
                        <a:lnTo>
                          <a:pt x="432" y="64"/>
                        </a:lnTo>
                        <a:lnTo>
                          <a:pt x="376" y="144"/>
                        </a:lnTo>
                        <a:lnTo>
                          <a:pt x="104" y="144"/>
                        </a:lnTo>
                        <a:lnTo>
                          <a:pt x="216" y="120"/>
                        </a:ln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6" name="Freeform 65"/>
                  <p:cNvSpPr>
                    <a:spLocks/>
                  </p:cNvSpPr>
                  <p:nvPr/>
                </p:nvSpPr>
                <p:spPr bwMode="auto">
                  <a:xfrm>
                    <a:off x="2676" y="1487"/>
                    <a:ext cx="431" cy="143"/>
                  </a:xfrm>
                  <a:custGeom>
                    <a:avLst/>
                    <a:gdLst>
                      <a:gd name="T0" fmla="*/ 431 w 431"/>
                      <a:gd name="T1" fmla="*/ 112 h 143"/>
                      <a:gd name="T2" fmla="*/ 335 w 431"/>
                      <a:gd name="T3" fmla="*/ 143 h 143"/>
                      <a:gd name="T4" fmla="*/ 111 w 431"/>
                      <a:gd name="T5" fmla="*/ 48 h 143"/>
                      <a:gd name="T6" fmla="*/ 0 w 431"/>
                      <a:gd name="T7" fmla="*/ 80 h 143"/>
                      <a:gd name="T8" fmla="*/ 55 w 431"/>
                      <a:gd name="T9" fmla="*/ 0 h 143"/>
                      <a:gd name="T10" fmla="*/ 335 w 431"/>
                      <a:gd name="T11" fmla="*/ 0 h 143"/>
                      <a:gd name="T12" fmla="*/ 215 w 431"/>
                      <a:gd name="T13" fmla="*/ 24 h 143"/>
                      <a:gd name="T14" fmla="*/ 431 w 431"/>
                      <a:gd name="T15" fmla="*/ 112 h 14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1"/>
                      <a:gd name="T25" fmla="*/ 0 h 143"/>
                      <a:gd name="T26" fmla="*/ 431 w 431"/>
                      <a:gd name="T27" fmla="*/ 143 h 14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1" h="143">
                        <a:moveTo>
                          <a:pt x="431" y="112"/>
                        </a:moveTo>
                        <a:lnTo>
                          <a:pt x="335" y="143"/>
                        </a:lnTo>
                        <a:lnTo>
                          <a:pt x="111" y="48"/>
                        </a:lnTo>
                        <a:lnTo>
                          <a:pt x="0" y="80"/>
                        </a:lnTo>
                        <a:lnTo>
                          <a:pt x="55" y="0"/>
                        </a:lnTo>
                        <a:lnTo>
                          <a:pt x="335" y="0"/>
                        </a:lnTo>
                        <a:lnTo>
                          <a:pt x="215" y="24"/>
                        </a:lnTo>
                        <a:lnTo>
                          <a:pt x="431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37" name="Freeform 66"/>
                  <p:cNvSpPr>
                    <a:spLocks/>
                  </p:cNvSpPr>
                  <p:nvPr/>
                </p:nvSpPr>
                <p:spPr bwMode="auto">
                  <a:xfrm>
                    <a:off x="2676" y="1487"/>
                    <a:ext cx="431" cy="143"/>
                  </a:xfrm>
                  <a:custGeom>
                    <a:avLst/>
                    <a:gdLst>
                      <a:gd name="T0" fmla="*/ 431 w 431"/>
                      <a:gd name="T1" fmla="*/ 112 h 143"/>
                      <a:gd name="T2" fmla="*/ 335 w 431"/>
                      <a:gd name="T3" fmla="*/ 143 h 143"/>
                      <a:gd name="T4" fmla="*/ 111 w 431"/>
                      <a:gd name="T5" fmla="*/ 48 h 143"/>
                      <a:gd name="T6" fmla="*/ 0 w 431"/>
                      <a:gd name="T7" fmla="*/ 80 h 143"/>
                      <a:gd name="T8" fmla="*/ 55 w 431"/>
                      <a:gd name="T9" fmla="*/ 0 h 143"/>
                      <a:gd name="T10" fmla="*/ 335 w 431"/>
                      <a:gd name="T11" fmla="*/ 0 h 143"/>
                      <a:gd name="T12" fmla="*/ 215 w 431"/>
                      <a:gd name="T13" fmla="*/ 24 h 143"/>
                      <a:gd name="T14" fmla="*/ 431 w 431"/>
                      <a:gd name="T15" fmla="*/ 112 h 14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1"/>
                      <a:gd name="T25" fmla="*/ 0 h 143"/>
                      <a:gd name="T26" fmla="*/ 431 w 431"/>
                      <a:gd name="T27" fmla="*/ 143 h 14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1" h="143">
                        <a:moveTo>
                          <a:pt x="431" y="112"/>
                        </a:moveTo>
                        <a:lnTo>
                          <a:pt x="335" y="143"/>
                        </a:lnTo>
                        <a:lnTo>
                          <a:pt x="111" y="48"/>
                        </a:lnTo>
                        <a:lnTo>
                          <a:pt x="0" y="80"/>
                        </a:lnTo>
                        <a:lnTo>
                          <a:pt x="55" y="0"/>
                        </a:lnTo>
                        <a:lnTo>
                          <a:pt x="335" y="0"/>
                        </a:lnTo>
                        <a:lnTo>
                          <a:pt x="215" y="24"/>
                        </a:lnTo>
                        <a:lnTo>
                          <a:pt x="431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</p:grpSp>
            <p:grpSp>
              <p:nvGrpSpPr>
                <p:cNvPr id="121" name="Group 67"/>
                <p:cNvGrpSpPr>
                  <a:grpSpLocks/>
                </p:cNvGrpSpPr>
                <p:nvPr/>
              </p:nvGrpSpPr>
              <p:grpSpPr bwMode="auto">
                <a:xfrm>
                  <a:off x="2228" y="1303"/>
                  <a:ext cx="903" cy="335"/>
                  <a:chOff x="2228" y="1303"/>
                  <a:chExt cx="903" cy="335"/>
                </a:xfrm>
              </p:grpSpPr>
              <p:sp>
                <p:nvSpPr>
                  <p:cNvPr id="122" name="Freeform 68"/>
                  <p:cNvSpPr>
                    <a:spLocks/>
                  </p:cNvSpPr>
                  <p:nvPr/>
                </p:nvSpPr>
                <p:spPr bwMode="auto">
                  <a:xfrm>
                    <a:off x="2699" y="1311"/>
                    <a:ext cx="432" cy="144"/>
                  </a:xfrm>
                  <a:custGeom>
                    <a:avLst/>
                    <a:gdLst>
                      <a:gd name="T0" fmla="*/ 0 w 432"/>
                      <a:gd name="T1" fmla="*/ 112 h 144"/>
                      <a:gd name="T2" fmla="*/ 96 w 432"/>
                      <a:gd name="T3" fmla="*/ 144 h 144"/>
                      <a:gd name="T4" fmla="*/ 328 w 432"/>
                      <a:gd name="T5" fmla="*/ 48 h 144"/>
                      <a:gd name="T6" fmla="*/ 432 w 432"/>
                      <a:gd name="T7" fmla="*/ 80 h 144"/>
                      <a:gd name="T8" fmla="*/ 376 w 432"/>
                      <a:gd name="T9" fmla="*/ 0 h 144"/>
                      <a:gd name="T10" fmla="*/ 104 w 432"/>
                      <a:gd name="T11" fmla="*/ 0 h 144"/>
                      <a:gd name="T12" fmla="*/ 216 w 432"/>
                      <a:gd name="T13" fmla="*/ 24 h 144"/>
                      <a:gd name="T14" fmla="*/ 0 w 432"/>
                      <a:gd name="T15" fmla="*/ 11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112"/>
                        </a:moveTo>
                        <a:lnTo>
                          <a:pt x="96" y="144"/>
                        </a:lnTo>
                        <a:lnTo>
                          <a:pt x="328" y="48"/>
                        </a:lnTo>
                        <a:lnTo>
                          <a:pt x="432" y="80"/>
                        </a:lnTo>
                        <a:lnTo>
                          <a:pt x="376" y="0"/>
                        </a:lnTo>
                        <a:lnTo>
                          <a:pt x="104" y="0"/>
                        </a:lnTo>
                        <a:lnTo>
                          <a:pt x="216" y="24"/>
                        </a:lnTo>
                        <a:lnTo>
                          <a:pt x="0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3" name="Freeform 69"/>
                  <p:cNvSpPr>
                    <a:spLocks/>
                  </p:cNvSpPr>
                  <p:nvPr/>
                </p:nvSpPr>
                <p:spPr bwMode="auto">
                  <a:xfrm>
                    <a:off x="2699" y="1311"/>
                    <a:ext cx="432" cy="144"/>
                  </a:xfrm>
                  <a:custGeom>
                    <a:avLst/>
                    <a:gdLst>
                      <a:gd name="T0" fmla="*/ 0 w 432"/>
                      <a:gd name="T1" fmla="*/ 112 h 144"/>
                      <a:gd name="T2" fmla="*/ 96 w 432"/>
                      <a:gd name="T3" fmla="*/ 144 h 144"/>
                      <a:gd name="T4" fmla="*/ 328 w 432"/>
                      <a:gd name="T5" fmla="*/ 48 h 144"/>
                      <a:gd name="T6" fmla="*/ 432 w 432"/>
                      <a:gd name="T7" fmla="*/ 80 h 144"/>
                      <a:gd name="T8" fmla="*/ 376 w 432"/>
                      <a:gd name="T9" fmla="*/ 0 h 144"/>
                      <a:gd name="T10" fmla="*/ 104 w 432"/>
                      <a:gd name="T11" fmla="*/ 0 h 144"/>
                      <a:gd name="T12" fmla="*/ 216 w 432"/>
                      <a:gd name="T13" fmla="*/ 24 h 144"/>
                      <a:gd name="T14" fmla="*/ 0 w 432"/>
                      <a:gd name="T15" fmla="*/ 11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4"/>
                      <a:gd name="T26" fmla="*/ 432 w 432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4">
                        <a:moveTo>
                          <a:pt x="0" y="112"/>
                        </a:moveTo>
                        <a:lnTo>
                          <a:pt x="96" y="144"/>
                        </a:lnTo>
                        <a:lnTo>
                          <a:pt x="328" y="48"/>
                        </a:lnTo>
                        <a:lnTo>
                          <a:pt x="432" y="80"/>
                        </a:lnTo>
                        <a:lnTo>
                          <a:pt x="376" y="0"/>
                        </a:lnTo>
                        <a:lnTo>
                          <a:pt x="104" y="0"/>
                        </a:lnTo>
                        <a:lnTo>
                          <a:pt x="216" y="24"/>
                        </a:lnTo>
                        <a:lnTo>
                          <a:pt x="0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4" name="Freeform 70"/>
                  <p:cNvSpPr>
                    <a:spLocks/>
                  </p:cNvSpPr>
                  <p:nvPr/>
                </p:nvSpPr>
                <p:spPr bwMode="auto">
                  <a:xfrm>
                    <a:off x="2228" y="1479"/>
                    <a:ext cx="432" cy="151"/>
                  </a:xfrm>
                  <a:custGeom>
                    <a:avLst/>
                    <a:gdLst>
                      <a:gd name="T0" fmla="*/ 432 w 432"/>
                      <a:gd name="T1" fmla="*/ 32 h 151"/>
                      <a:gd name="T2" fmla="*/ 336 w 432"/>
                      <a:gd name="T3" fmla="*/ 0 h 151"/>
                      <a:gd name="T4" fmla="*/ 112 w 432"/>
                      <a:gd name="T5" fmla="*/ 96 h 151"/>
                      <a:gd name="T6" fmla="*/ 0 w 432"/>
                      <a:gd name="T7" fmla="*/ 64 h 151"/>
                      <a:gd name="T8" fmla="*/ 56 w 432"/>
                      <a:gd name="T9" fmla="*/ 151 h 151"/>
                      <a:gd name="T10" fmla="*/ 336 w 432"/>
                      <a:gd name="T11" fmla="*/ 151 h 151"/>
                      <a:gd name="T12" fmla="*/ 216 w 432"/>
                      <a:gd name="T13" fmla="*/ 120 h 151"/>
                      <a:gd name="T14" fmla="*/ 432 w 432"/>
                      <a:gd name="T15" fmla="*/ 32 h 151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51"/>
                      <a:gd name="T26" fmla="*/ 432 w 432"/>
                      <a:gd name="T27" fmla="*/ 151 h 151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51">
                        <a:moveTo>
                          <a:pt x="432" y="32"/>
                        </a:moveTo>
                        <a:lnTo>
                          <a:pt x="336" y="0"/>
                        </a:lnTo>
                        <a:lnTo>
                          <a:pt x="112" y="96"/>
                        </a:lnTo>
                        <a:lnTo>
                          <a:pt x="0" y="64"/>
                        </a:lnTo>
                        <a:lnTo>
                          <a:pt x="56" y="151"/>
                        </a:lnTo>
                        <a:lnTo>
                          <a:pt x="336" y="151"/>
                        </a:lnTo>
                        <a:lnTo>
                          <a:pt x="216" y="120"/>
                        </a:lnTo>
                        <a:lnTo>
                          <a:pt x="432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5" name="Freeform 71"/>
                  <p:cNvSpPr>
                    <a:spLocks/>
                  </p:cNvSpPr>
                  <p:nvPr/>
                </p:nvSpPr>
                <p:spPr bwMode="auto">
                  <a:xfrm>
                    <a:off x="2228" y="1479"/>
                    <a:ext cx="432" cy="151"/>
                  </a:xfrm>
                  <a:custGeom>
                    <a:avLst/>
                    <a:gdLst>
                      <a:gd name="T0" fmla="*/ 432 w 432"/>
                      <a:gd name="T1" fmla="*/ 32 h 151"/>
                      <a:gd name="T2" fmla="*/ 336 w 432"/>
                      <a:gd name="T3" fmla="*/ 0 h 151"/>
                      <a:gd name="T4" fmla="*/ 112 w 432"/>
                      <a:gd name="T5" fmla="*/ 96 h 151"/>
                      <a:gd name="T6" fmla="*/ 0 w 432"/>
                      <a:gd name="T7" fmla="*/ 64 h 151"/>
                      <a:gd name="T8" fmla="*/ 56 w 432"/>
                      <a:gd name="T9" fmla="*/ 151 h 151"/>
                      <a:gd name="T10" fmla="*/ 336 w 432"/>
                      <a:gd name="T11" fmla="*/ 151 h 151"/>
                      <a:gd name="T12" fmla="*/ 216 w 432"/>
                      <a:gd name="T13" fmla="*/ 120 h 151"/>
                      <a:gd name="T14" fmla="*/ 432 w 432"/>
                      <a:gd name="T15" fmla="*/ 32 h 151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51"/>
                      <a:gd name="T26" fmla="*/ 432 w 432"/>
                      <a:gd name="T27" fmla="*/ 151 h 151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51">
                        <a:moveTo>
                          <a:pt x="432" y="32"/>
                        </a:moveTo>
                        <a:lnTo>
                          <a:pt x="336" y="0"/>
                        </a:lnTo>
                        <a:lnTo>
                          <a:pt x="112" y="96"/>
                        </a:lnTo>
                        <a:lnTo>
                          <a:pt x="0" y="64"/>
                        </a:lnTo>
                        <a:lnTo>
                          <a:pt x="56" y="151"/>
                        </a:lnTo>
                        <a:lnTo>
                          <a:pt x="336" y="151"/>
                        </a:lnTo>
                        <a:lnTo>
                          <a:pt x="216" y="120"/>
                        </a:lnTo>
                        <a:lnTo>
                          <a:pt x="432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6" name="Freeform 72"/>
                  <p:cNvSpPr>
                    <a:spLocks/>
                  </p:cNvSpPr>
                  <p:nvPr/>
                </p:nvSpPr>
                <p:spPr bwMode="auto">
                  <a:xfrm>
                    <a:off x="2252" y="1303"/>
                    <a:ext cx="431" cy="144"/>
                  </a:xfrm>
                  <a:custGeom>
                    <a:avLst/>
                    <a:gdLst>
                      <a:gd name="T0" fmla="*/ 0 w 431"/>
                      <a:gd name="T1" fmla="*/ 32 h 144"/>
                      <a:gd name="T2" fmla="*/ 96 w 431"/>
                      <a:gd name="T3" fmla="*/ 0 h 144"/>
                      <a:gd name="T4" fmla="*/ 328 w 431"/>
                      <a:gd name="T5" fmla="*/ 88 h 144"/>
                      <a:gd name="T6" fmla="*/ 431 w 431"/>
                      <a:gd name="T7" fmla="*/ 64 h 144"/>
                      <a:gd name="T8" fmla="*/ 376 w 431"/>
                      <a:gd name="T9" fmla="*/ 144 h 144"/>
                      <a:gd name="T10" fmla="*/ 104 w 431"/>
                      <a:gd name="T11" fmla="*/ 144 h 144"/>
                      <a:gd name="T12" fmla="*/ 216 w 431"/>
                      <a:gd name="T13" fmla="*/ 120 h 144"/>
                      <a:gd name="T14" fmla="*/ 0 w 431"/>
                      <a:gd name="T15" fmla="*/ 3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1"/>
                      <a:gd name="T25" fmla="*/ 0 h 144"/>
                      <a:gd name="T26" fmla="*/ 431 w 431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1" h="144">
                        <a:moveTo>
                          <a:pt x="0" y="32"/>
                        </a:moveTo>
                        <a:lnTo>
                          <a:pt x="96" y="0"/>
                        </a:lnTo>
                        <a:lnTo>
                          <a:pt x="328" y="88"/>
                        </a:lnTo>
                        <a:lnTo>
                          <a:pt x="431" y="64"/>
                        </a:lnTo>
                        <a:lnTo>
                          <a:pt x="376" y="144"/>
                        </a:lnTo>
                        <a:lnTo>
                          <a:pt x="104" y="144"/>
                        </a:lnTo>
                        <a:lnTo>
                          <a:pt x="216" y="120"/>
                        </a:ln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7" name="Freeform 73"/>
                  <p:cNvSpPr>
                    <a:spLocks/>
                  </p:cNvSpPr>
                  <p:nvPr/>
                </p:nvSpPr>
                <p:spPr bwMode="auto">
                  <a:xfrm>
                    <a:off x="2252" y="1303"/>
                    <a:ext cx="431" cy="144"/>
                  </a:xfrm>
                  <a:custGeom>
                    <a:avLst/>
                    <a:gdLst>
                      <a:gd name="T0" fmla="*/ 0 w 431"/>
                      <a:gd name="T1" fmla="*/ 32 h 144"/>
                      <a:gd name="T2" fmla="*/ 96 w 431"/>
                      <a:gd name="T3" fmla="*/ 0 h 144"/>
                      <a:gd name="T4" fmla="*/ 328 w 431"/>
                      <a:gd name="T5" fmla="*/ 88 h 144"/>
                      <a:gd name="T6" fmla="*/ 431 w 431"/>
                      <a:gd name="T7" fmla="*/ 64 h 144"/>
                      <a:gd name="T8" fmla="*/ 376 w 431"/>
                      <a:gd name="T9" fmla="*/ 144 h 144"/>
                      <a:gd name="T10" fmla="*/ 104 w 431"/>
                      <a:gd name="T11" fmla="*/ 144 h 144"/>
                      <a:gd name="T12" fmla="*/ 216 w 431"/>
                      <a:gd name="T13" fmla="*/ 120 h 144"/>
                      <a:gd name="T14" fmla="*/ 0 w 431"/>
                      <a:gd name="T15" fmla="*/ 32 h 144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1"/>
                      <a:gd name="T25" fmla="*/ 0 h 144"/>
                      <a:gd name="T26" fmla="*/ 431 w 431"/>
                      <a:gd name="T27" fmla="*/ 144 h 144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1" h="144">
                        <a:moveTo>
                          <a:pt x="0" y="32"/>
                        </a:moveTo>
                        <a:lnTo>
                          <a:pt x="96" y="0"/>
                        </a:lnTo>
                        <a:lnTo>
                          <a:pt x="328" y="88"/>
                        </a:lnTo>
                        <a:lnTo>
                          <a:pt x="431" y="64"/>
                        </a:lnTo>
                        <a:lnTo>
                          <a:pt x="376" y="144"/>
                        </a:lnTo>
                        <a:lnTo>
                          <a:pt x="104" y="144"/>
                        </a:lnTo>
                        <a:lnTo>
                          <a:pt x="216" y="120"/>
                        </a:lnTo>
                        <a:lnTo>
                          <a:pt x="0" y="3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8" name="Freeform 74"/>
                  <p:cNvSpPr>
                    <a:spLocks/>
                  </p:cNvSpPr>
                  <p:nvPr/>
                </p:nvSpPr>
                <p:spPr bwMode="auto">
                  <a:xfrm>
                    <a:off x="2683" y="1495"/>
                    <a:ext cx="432" cy="143"/>
                  </a:xfrm>
                  <a:custGeom>
                    <a:avLst/>
                    <a:gdLst>
                      <a:gd name="T0" fmla="*/ 432 w 432"/>
                      <a:gd name="T1" fmla="*/ 112 h 143"/>
                      <a:gd name="T2" fmla="*/ 336 w 432"/>
                      <a:gd name="T3" fmla="*/ 143 h 143"/>
                      <a:gd name="T4" fmla="*/ 112 w 432"/>
                      <a:gd name="T5" fmla="*/ 48 h 143"/>
                      <a:gd name="T6" fmla="*/ 0 w 432"/>
                      <a:gd name="T7" fmla="*/ 80 h 143"/>
                      <a:gd name="T8" fmla="*/ 56 w 432"/>
                      <a:gd name="T9" fmla="*/ 0 h 143"/>
                      <a:gd name="T10" fmla="*/ 336 w 432"/>
                      <a:gd name="T11" fmla="*/ 0 h 143"/>
                      <a:gd name="T12" fmla="*/ 216 w 432"/>
                      <a:gd name="T13" fmla="*/ 24 h 143"/>
                      <a:gd name="T14" fmla="*/ 432 w 432"/>
                      <a:gd name="T15" fmla="*/ 112 h 14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3"/>
                      <a:gd name="T26" fmla="*/ 432 w 432"/>
                      <a:gd name="T27" fmla="*/ 143 h 14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3">
                        <a:moveTo>
                          <a:pt x="432" y="112"/>
                        </a:moveTo>
                        <a:lnTo>
                          <a:pt x="336" y="143"/>
                        </a:lnTo>
                        <a:lnTo>
                          <a:pt x="112" y="48"/>
                        </a:lnTo>
                        <a:lnTo>
                          <a:pt x="0" y="80"/>
                        </a:lnTo>
                        <a:lnTo>
                          <a:pt x="56" y="0"/>
                        </a:lnTo>
                        <a:lnTo>
                          <a:pt x="336" y="0"/>
                        </a:lnTo>
                        <a:lnTo>
                          <a:pt x="216" y="24"/>
                        </a:lnTo>
                        <a:lnTo>
                          <a:pt x="432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  <p:sp>
                <p:nvSpPr>
                  <p:cNvPr id="129" name="Freeform 75"/>
                  <p:cNvSpPr>
                    <a:spLocks/>
                  </p:cNvSpPr>
                  <p:nvPr/>
                </p:nvSpPr>
                <p:spPr bwMode="auto">
                  <a:xfrm>
                    <a:off x="2683" y="1495"/>
                    <a:ext cx="432" cy="143"/>
                  </a:xfrm>
                  <a:custGeom>
                    <a:avLst/>
                    <a:gdLst>
                      <a:gd name="T0" fmla="*/ 432 w 432"/>
                      <a:gd name="T1" fmla="*/ 112 h 143"/>
                      <a:gd name="T2" fmla="*/ 336 w 432"/>
                      <a:gd name="T3" fmla="*/ 143 h 143"/>
                      <a:gd name="T4" fmla="*/ 112 w 432"/>
                      <a:gd name="T5" fmla="*/ 48 h 143"/>
                      <a:gd name="T6" fmla="*/ 0 w 432"/>
                      <a:gd name="T7" fmla="*/ 80 h 143"/>
                      <a:gd name="T8" fmla="*/ 56 w 432"/>
                      <a:gd name="T9" fmla="*/ 0 h 143"/>
                      <a:gd name="T10" fmla="*/ 336 w 432"/>
                      <a:gd name="T11" fmla="*/ 0 h 143"/>
                      <a:gd name="T12" fmla="*/ 216 w 432"/>
                      <a:gd name="T13" fmla="*/ 24 h 143"/>
                      <a:gd name="T14" fmla="*/ 432 w 432"/>
                      <a:gd name="T15" fmla="*/ 112 h 143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432"/>
                      <a:gd name="T25" fmla="*/ 0 h 143"/>
                      <a:gd name="T26" fmla="*/ 432 w 432"/>
                      <a:gd name="T27" fmla="*/ 143 h 143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432" h="143">
                        <a:moveTo>
                          <a:pt x="432" y="112"/>
                        </a:moveTo>
                        <a:lnTo>
                          <a:pt x="336" y="143"/>
                        </a:lnTo>
                        <a:lnTo>
                          <a:pt x="112" y="48"/>
                        </a:lnTo>
                        <a:lnTo>
                          <a:pt x="0" y="80"/>
                        </a:lnTo>
                        <a:lnTo>
                          <a:pt x="56" y="0"/>
                        </a:lnTo>
                        <a:lnTo>
                          <a:pt x="336" y="0"/>
                        </a:lnTo>
                        <a:lnTo>
                          <a:pt x="216" y="24"/>
                        </a:lnTo>
                        <a:lnTo>
                          <a:pt x="432" y="112"/>
                        </a:lnTo>
                        <a:close/>
                      </a:path>
                    </a:pathLst>
                  </a:custGeom>
                  <a:solidFill>
                    <a:srgbClr val="F8F8F8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608328">
                      <a:defRPr/>
                    </a:pPr>
                    <a:endParaRPr lang="en-US" kern="0" dirty="0">
                      <a:solidFill>
                        <a:sysClr val="windowText" lastClr="000000"/>
                      </a:solidFill>
                      <a:latin typeface="CiscoSansTT Light"/>
                      <a:ea typeface="Apple LiGothic Medium"/>
                      <a:cs typeface="Apple LiGothic Medium"/>
                    </a:endParaRPr>
                  </a:p>
                </p:txBody>
              </p:sp>
            </p:grpSp>
          </p:grpSp>
          <p:sp>
            <p:nvSpPr>
              <p:cNvPr id="118" name="Line 76"/>
              <p:cNvSpPr>
                <a:spLocks noChangeShapeType="1"/>
              </p:cNvSpPr>
              <p:nvPr/>
            </p:nvSpPr>
            <p:spPr bwMode="auto">
              <a:xfrm>
                <a:off x="1725" y="1977"/>
                <a:ext cx="0" cy="90"/>
              </a:xfrm>
              <a:prstGeom prst="line">
                <a:avLst/>
              </a:prstGeom>
              <a:noFill/>
              <a:ln w="9525">
                <a:solidFill>
                  <a:srgbClr val="11111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  <p:sp>
            <p:nvSpPr>
              <p:cNvPr id="119" name="Line 77"/>
              <p:cNvSpPr>
                <a:spLocks noChangeShapeType="1"/>
              </p:cNvSpPr>
              <p:nvPr/>
            </p:nvSpPr>
            <p:spPr bwMode="auto">
              <a:xfrm>
                <a:off x="2143" y="1977"/>
                <a:ext cx="1" cy="90"/>
              </a:xfrm>
              <a:prstGeom prst="line">
                <a:avLst/>
              </a:prstGeom>
              <a:noFill/>
              <a:ln w="9525">
                <a:solidFill>
                  <a:srgbClr val="11111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08328"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174" name="Oval 173"/>
          <p:cNvSpPr/>
          <p:nvPr/>
        </p:nvSpPr>
        <p:spPr bwMode="auto">
          <a:xfrm>
            <a:off x="5321133" y="1980911"/>
            <a:ext cx="666241" cy="1426256"/>
          </a:xfrm>
          <a:prstGeom prst="ellipse">
            <a:avLst/>
          </a:prstGeom>
          <a:solidFill>
            <a:schemeClr val="accent4"/>
          </a:solidFill>
          <a:ln w="1270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RF</a:t>
            </a:r>
          </a:p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A</a:t>
            </a:r>
          </a:p>
        </p:txBody>
      </p:sp>
      <p:sp>
        <p:nvSpPr>
          <p:cNvPr id="175" name="Oval 174"/>
          <p:cNvSpPr/>
          <p:nvPr/>
        </p:nvSpPr>
        <p:spPr bwMode="auto">
          <a:xfrm>
            <a:off x="5759810" y="1980911"/>
            <a:ext cx="666241" cy="1426256"/>
          </a:xfrm>
          <a:prstGeom prst="ellipse">
            <a:avLst/>
          </a:prstGeom>
          <a:solidFill>
            <a:schemeClr val="accent3"/>
          </a:solidFill>
          <a:ln w="12700" cap="flat">
            <a:solidFill>
              <a:srgbClr val="FFFFFF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RF</a:t>
            </a:r>
          </a:p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B</a:t>
            </a:r>
          </a:p>
        </p:txBody>
      </p:sp>
      <p:sp>
        <p:nvSpPr>
          <p:cNvPr id="176" name="Oval 175"/>
          <p:cNvSpPr/>
          <p:nvPr/>
        </p:nvSpPr>
        <p:spPr bwMode="auto">
          <a:xfrm>
            <a:off x="6198485" y="1980911"/>
            <a:ext cx="666241" cy="1426256"/>
          </a:xfrm>
          <a:prstGeom prst="ellipse">
            <a:avLst/>
          </a:prstGeom>
          <a:solidFill>
            <a:schemeClr val="accent6"/>
          </a:solidFill>
          <a:ln w="12700" cap="flat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VRF</a:t>
            </a:r>
          </a:p>
          <a:p>
            <a:pPr algn="ctr" defTabSz="513902"/>
            <a:r>
              <a:rPr lang="en-US" sz="1500" dirty="0">
                <a:solidFill>
                  <a:schemeClr val="bg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C</a:t>
            </a:r>
          </a:p>
        </p:txBody>
      </p:sp>
      <p:grpSp>
        <p:nvGrpSpPr>
          <p:cNvPr id="177" name="Group 176"/>
          <p:cNvGrpSpPr/>
          <p:nvPr/>
        </p:nvGrpSpPr>
        <p:grpSpPr>
          <a:xfrm>
            <a:off x="1270328" y="2098882"/>
            <a:ext cx="4050805" cy="616579"/>
            <a:chOff x="4570607" y="3044961"/>
            <a:chExt cx="4050805" cy="616589"/>
          </a:xfrm>
        </p:grpSpPr>
        <p:sp>
          <p:nvSpPr>
            <p:cNvPr id="179" name="TextBox 178"/>
            <p:cNvSpPr txBox="1"/>
            <p:nvPr/>
          </p:nvSpPr>
          <p:spPr>
            <a:xfrm>
              <a:off x="4570607" y="3044961"/>
              <a:ext cx="2775119" cy="616589"/>
            </a:xfrm>
            <a:prstGeom prst="rect">
              <a:avLst/>
            </a:prstGeom>
            <a:solidFill>
              <a:srgbClr val="FFFFFF"/>
            </a:solidFill>
            <a:ln w="38100" cmpd="sng">
              <a:solidFill>
                <a:srgbClr val="F37C20"/>
              </a:solidFill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>
                  <a:solidFill>
                    <a:srgbClr val="000000"/>
                  </a:solidFill>
                </a:rPr>
                <a:t>VRF for External Routing 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>
                  <a:solidFill>
                    <a:srgbClr val="000000"/>
                  </a:solidFill>
                </a:rPr>
                <a:t>need to exist on Border Leaf</a:t>
              </a:r>
            </a:p>
          </p:txBody>
        </p:sp>
        <p:cxnSp>
          <p:nvCxnSpPr>
            <p:cNvPr id="180" name="Straight Connector 179"/>
            <p:cNvCxnSpPr>
              <a:stCxn id="174" idx="2"/>
              <a:endCxn id="179" idx="3"/>
            </p:cNvCxnSpPr>
            <p:nvPr/>
          </p:nvCxnSpPr>
          <p:spPr bwMode="auto">
            <a:xfrm flipH="1" flipV="1">
              <a:off x="7345726" y="3353256"/>
              <a:ext cx="1275686" cy="286873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37C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84" name="Group 183"/>
          <p:cNvGrpSpPr/>
          <p:nvPr/>
        </p:nvGrpSpPr>
        <p:grpSpPr>
          <a:xfrm>
            <a:off x="1443526" y="3604630"/>
            <a:ext cx="4090336" cy="1244443"/>
            <a:chOff x="4570607" y="3044961"/>
            <a:chExt cx="4090335" cy="1244438"/>
          </a:xfrm>
        </p:grpSpPr>
        <p:sp>
          <p:nvSpPr>
            <p:cNvPr id="185" name="TextBox 184"/>
            <p:cNvSpPr txBox="1"/>
            <p:nvPr/>
          </p:nvSpPr>
          <p:spPr>
            <a:xfrm>
              <a:off x="4570607" y="3044961"/>
              <a:ext cx="3117990" cy="1244438"/>
            </a:xfrm>
            <a:prstGeom prst="rect">
              <a:avLst/>
            </a:prstGeom>
            <a:solidFill>
              <a:srgbClr val="FFFFFF"/>
            </a:solidFill>
            <a:ln w="38100" cmpd="sng">
              <a:solidFill>
                <a:srgbClr val="F37C20"/>
              </a:solidFill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>
                  <a:solidFill>
                    <a:srgbClr val="000000"/>
                  </a:solidFill>
                </a:rPr>
                <a:t>Interface-Type Options:</a:t>
              </a:r>
            </a:p>
            <a:p>
              <a:pPr marL="285498" indent="-285498">
                <a:lnSpc>
                  <a:spcPct val="90000"/>
                </a:lnSpc>
                <a:spcBef>
                  <a:spcPts val="6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</a:rPr>
                <a:t>Physical Routed Ports</a:t>
              </a:r>
            </a:p>
            <a:p>
              <a:pPr marL="285498" indent="-285498">
                <a:lnSpc>
                  <a:spcPct val="90000"/>
                </a:lnSpc>
                <a:spcBef>
                  <a:spcPts val="6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</a:rPr>
                <a:t>Sub-Interfaces </a:t>
              </a:r>
            </a:p>
            <a:p>
              <a:pPr marL="285498" indent="-285498">
                <a:lnSpc>
                  <a:spcPct val="90000"/>
                </a:lnSpc>
                <a:spcBef>
                  <a:spcPts val="600"/>
                </a:spcBef>
                <a:buFont typeface="Arial"/>
                <a:buChar char="•"/>
              </a:pPr>
              <a:r>
                <a:rPr lang="en-US" sz="1600" dirty="0">
                  <a:solidFill>
                    <a:srgbClr val="000000"/>
                  </a:solidFill>
                </a:rPr>
                <a:t>VLAN SVIs over Trunk Ports</a:t>
              </a:r>
            </a:p>
          </p:txBody>
        </p:sp>
        <p:cxnSp>
          <p:nvCxnSpPr>
            <p:cNvPr id="186" name="Straight Connector 185"/>
            <p:cNvCxnSpPr>
              <a:stCxn id="85" idx="2"/>
              <a:endCxn id="185" idx="3"/>
            </p:cNvCxnSpPr>
            <p:nvPr/>
          </p:nvCxnSpPr>
          <p:spPr bwMode="auto">
            <a:xfrm flipH="1">
              <a:off x="7688597" y="3450618"/>
              <a:ext cx="972345" cy="216562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37C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88" name="Group 187"/>
          <p:cNvGrpSpPr/>
          <p:nvPr/>
        </p:nvGrpSpPr>
        <p:grpSpPr>
          <a:xfrm>
            <a:off x="6745366" y="4454574"/>
            <a:ext cx="4697932" cy="616579"/>
            <a:chOff x="2528570" y="3044961"/>
            <a:chExt cx="4697931" cy="616589"/>
          </a:xfrm>
        </p:grpSpPr>
        <p:sp>
          <p:nvSpPr>
            <p:cNvPr id="189" name="TextBox 188"/>
            <p:cNvSpPr txBox="1"/>
            <p:nvPr/>
          </p:nvSpPr>
          <p:spPr>
            <a:xfrm>
              <a:off x="4570607" y="3044961"/>
              <a:ext cx="2655894" cy="616589"/>
            </a:xfrm>
            <a:prstGeom prst="rect">
              <a:avLst/>
            </a:prstGeom>
            <a:solidFill>
              <a:srgbClr val="FFFFFF"/>
            </a:solidFill>
            <a:ln w="38100" cmpd="sng">
              <a:solidFill>
                <a:srgbClr val="F37C20"/>
              </a:solidFill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>
                  <a:solidFill>
                    <a:srgbClr val="000000"/>
                  </a:solidFill>
                </a:rPr>
                <a:t>Peering Interface can</a:t>
              </a:r>
            </a:p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1600" dirty="0">
                  <a:solidFill>
                    <a:srgbClr val="000000"/>
                  </a:solidFill>
                </a:rPr>
                <a:t>be in Global or Tenant VRF</a:t>
              </a:r>
            </a:p>
          </p:txBody>
        </p:sp>
        <p:cxnSp>
          <p:nvCxnSpPr>
            <p:cNvPr id="190" name="Straight Connector 189"/>
            <p:cNvCxnSpPr>
              <a:stCxn id="119" idx="0"/>
              <a:endCxn id="189" idx="1"/>
            </p:cNvCxnSpPr>
            <p:nvPr/>
          </p:nvCxnSpPr>
          <p:spPr bwMode="auto">
            <a:xfrm flipV="1">
              <a:off x="2528570" y="3353256"/>
              <a:ext cx="2042037" cy="91821"/>
            </a:xfrm>
            <a:prstGeom prst="line">
              <a:avLst/>
            </a:prstGeom>
            <a:solidFill>
              <a:srgbClr val="0183B7"/>
            </a:solidFill>
            <a:ln w="38100" cap="flat" cmpd="sng" algn="ctr">
              <a:solidFill>
                <a:srgbClr val="F37C2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3246320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Title 29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connecting </a:t>
            </a:r>
            <a:r>
              <a:rPr lang="en-US" dirty="0" smtClean="0"/>
              <a:t>Classic Ethernet Networks (Layer-2)</a:t>
            </a:r>
            <a:endParaRPr lang="en-US" dirty="0"/>
          </a:p>
        </p:txBody>
      </p:sp>
      <p:sp>
        <p:nvSpPr>
          <p:cNvPr id="366" name="Text Placeholder 36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Inter-Pod Connectiv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43</a:t>
            </a:fld>
            <a:endParaRPr dirty="0">
              <a:solidFill>
                <a:srgbClr val="595959"/>
              </a:solidFill>
            </a:endParaRPr>
          </a:p>
        </p:txBody>
      </p:sp>
      <p:sp>
        <p:nvSpPr>
          <p:cNvPr id="343" name="Freeform 6"/>
          <p:cNvSpPr>
            <a:spLocks noChangeAspect="1"/>
          </p:cNvSpPr>
          <p:nvPr/>
        </p:nvSpPr>
        <p:spPr bwMode="auto">
          <a:xfrm>
            <a:off x="6994424" y="1629744"/>
            <a:ext cx="2636200" cy="1089527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Core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(Layer-3)</a:t>
            </a:r>
          </a:p>
        </p:txBody>
      </p:sp>
      <p:cxnSp>
        <p:nvCxnSpPr>
          <p:cNvPr id="277" name="Straight Connector 276"/>
          <p:cNvCxnSpPr>
            <a:stCxn id="255" idx="4"/>
            <a:endCxn id="237" idx="0"/>
          </p:cNvCxnSpPr>
          <p:nvPr/>
        </p:nvCxnSpPr>
        <p:spPr bwMode="auto">
          <a:xfrm>
            <a:off x="8543874" y="2839390"/>
            <a:ext cx="864408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279"/>
          <p:cNvCxnSpPr>
            <a:stCxn id="253" idx="4"/>
            <a:endCxn id="237" idx="0"/>
          </p:cNvCxnSpPr>
          <p:nvPr/>
        </p:nvCxnSpPr>
        <p:spPr bwMode="auto">
          <a:xfrm>
            <a:off x="9069189" y="2839390"/>
            <a:ext cx="339092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3" name="Straight Connector 282"/>
          <p:cNvCxnSpPr>
            <a:stCxn id="253" idx="4"/>
            <a:endCxn id="229" idx="0"/>
          </p:cNvCxnSpPr>
          <p:nvPr/>
        </p:nvCxnSpPr>
        <p:spPr bwMode="auto">
          <a:xfrm>
            <a:off x="9069188" y="2839391"/>
            <a:ext cx="80976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6" name="Straight Connector 285"/>
          <p:cNvCxnSpPr>
            <a:stCxn id="255" idx="4"/>
            <a:endCxn id="229" idx="0"/>
          </p:cNvCxnSpPr>
          <p:nvPr/>
        </p:nvCxnSpPr>
        <p:spPr bwMode="auto">
          <a:xfrm>
            <a:off x="8543871" y="2839391"/>
            <a:ext cx="1335082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1" name="Group 250"/>
          <p:cNvGrpSpPr>
            <a:grpSpLocks noChangeAspect="1"/>
          </p:cNvGrpSpPr>
          <p:nvPr/>
        </p:nvGrpSpPr>
        <p:grpSpPr>
          <a:xfrm>
            <a:off x="8421982" y="2595549"/>
            <a:ext cx="243779" cy="243840"/>
            <a:chOff x="6127203" y="3427839"/>
            <a:chExt cx="307164" cy="307160"/>
          </a:xfrm>
        </p:grpSpPr>
        <p:sp>
          <p:nvSpPr>
            <p:cNvPr id="255" name="Oval 25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252" name="Group 251"/>
          <p:cNvGrpSpPr>
            <a:grpSpLocks noChangeAspect="1"/>
          </p:cNvGrpSpPr>
          <p:nvPr/>
        </p:nvGrpSpPr>
        <p:grpSpPr>
          <a:xfrm>
            <a:off x="8947299" y="2595549"/>
            <a:ext cx="243779" cy="243840"/>
            <a:chOff x="6127203" y="3427839"/>
            <a:chExt cx="307164" cy="307160"/>
          </a:xfrm>
        </p:grpSpPr>
        <p:sp>
          <p:nvSpPr>
            <p:cNvPr id="253" name="Oval 252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4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4" name="Group 343"/>
          <p:cNvGrpSpPr>
            <a:grpSpLocks noChangeAspect="1"/>
          </p:cNvGrpSpPr>
          <p:nvPr/>
        </p:nvGrpSpPr>
        <p:grpSpPr>
          <a:xfrm>
            <a:off x="7371349" y="2595549"/>
            <a:ext cx="243779" cy="243840"/>
            <a:chOff x="6127203" y="3427839"/>
            <a:chExt cx="307164" cy="307160"/>
          </a:xfrm>
        </p:grpSpPr>
        <p:sp>
          <p:nvSpPr>
            <p:cNvPr id="345" name="Oval 34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7" name="Group 346"/>
          <p:cNvGrpSpPr>
            <a:grpSpLocks noChangeAspect="1"/>
          </p:cNvGrpSpPr>
          <p:nvPr/>
        </p:nvGrpSpPr>
        <p:grpSpPr>
          <a:xfrm>
            <a:off x="7896666" y="2595549"/>
            <a:ext cx="243779" cy="243840"/>
            <a:chOff x="6127203" y="3427839"/>
            <a:chExt cx="307164" cy="307160"/>
          </a:xfrm>
        </p:grpSpPr>
        <p:sp>
          <p:nvSpPr>
            <p:cNvPr id="348" name="Oval 347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9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cxnSp>
        <p:nvCxnSpPr>
          <p:cNvPr id="350" name="Straight Connector 349"/>
          <p:cNvCxnSpPr>
            <a:stCxn id="348" idx="4"/>
            <a:endCxn id="316" idx="0"/>
          </p:cNvCxnSpPr>
          <p:nvPr/>
        </p:nvCxnSpPr>
        <p:spPr bwMode="auto">
          <a:xfrm flipH="1">
            <a:off x="7026662" y="2839391"/>
            <a:ext cx="991894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3" name="Straight Connector 352"/>
          <p:cNvCxnSpPr>
            <a:stCxn id="345" idx="4"/>
            <a:endCxn id="316" idx="0"/>
          </p:cNvCxnSpPr>
          <p:nvPr/>
        </p:nvCxnSpPr>
        <p:spPr bwMode="auto">
          <a:xfrm flipH="1">
            <a:off x="7026665" y="2839391"/>
            <a:ext cx="46657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6" name="Straight Connector 355"/>
          <p:cNvCxnSpPr>
            <a:stCxn id="345" idx="4"/>
            <a:endCxn id="325" idx="0"/>
          </p:cNvCxnSpPr>
          <p:nvPr/>
        </p:nvCxnSpPr>
        <p:spPr bwMode="auto">
          <a:xfrm flipH="1">
            <a:off x="7488265" y="2839419"/>
            <a:ext cx="5003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Straight Connector 358"/>
          <p:cNvCxnSpPr>
            <a:stCxn id="348" idx="4"/>
            <a:endCxn id="325" idx="0"/>
          </p:cNvCxnSpPr>
          <p:nvPr/>
        </p:nvCxnSpPr>
        <p:spPr bwMode="auto">
          <a:xfrm flipH="1">
            <a:off x="7488236" y="2839419"/>
            <a:ext cx="530321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6" name="Freeform 6"/>
          <p:cNvSpPr>
            <a:spLocks noChangeAspect="1"/>
          </p:cNvSpPr>
          <p:nvPr/>
        </p:nvSpPr>
        <p:spPr bwMode="auto">
          <a:xfrm>
            <a:off x="8256389" y="3622243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Classic Ethernet</a:t>
            </a:r>
          </a:p>
        </p:txBody>
      </p:sp>
      <p:cxnSp>
        <p:nvCxnSpPr>
          <p:cNvPr id="207" name="Straight Connector 206"/>
          <p:cNvCxnSpPr>
            <a:endCxn id="237" idx="2"/>
          </p:cNvCxnSpPr>
          <p:nvPr/>
        </p:nvCxnSpPr>
        <p:spPr bwMode="auto">
          <a:xfrm flipH="1" flipV="1">
            <a:off x="9408279" y="4270555"/>
            <a:ext cx="2257852" cy="357492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Straight Connector 207"/>
          <p:cNvCxnSpPr>
            <a:stCxn id="237" idx="2"/>
          </p:cNvCxnSpPr>
          <p:nvPr/>
        </p:nvCxnSpPr>
        <p:spPr bwMode="auto">
          <a:xfrm>
            <a:off x="9408280" y="4270555"/>
            <a:ext cx="1531121" cy="816448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9" name="Straight Connector 208"/>
          <p:cNvCxnSpPr>
            <a:endCxn id="237" idx="2"/>
          </p:cNvCxnSpPr>
          <p:nvPr/>
        </p:nvCxnSpPr>
        <p:spPr bwMode="auto">
          <a:xfrm flipH="1" flipV="1">
            <a:off x="9408279" y="4270555"/>
            <a:ext cx="550454" cy="1332400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Straight Connector 209"/>
          <p:cNvCxnSpPr>
            <a:endCxn id="229" idx="2"/>
          </p:cNvCxnSpPr>
          <p:nvPr/>
        </p:nvCxnSpPr>
        <p:spPr bwMode="auto">
          <a:xfrm flipH="1" flipV="1">
            <a:off x="9878957" y="3990110"/>
            <a:ext cx="1787178" cy="637939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210"/>
          <p:cNvCxnSpPr>
            <a:endCxn id="229" idx="2"/>
          </p:cNvCxnSpPr>
          <p:nvPr/>
        </p:nvCxnSpPr>
        <p:spPr bwMode="auto">
          <a:xfrm flipH="1" flipV="1">
            <a:off x="9878957" y="3990139"/>
            <a:ext cx="1060450" cy="1096897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2" name="Straight Connector 211"/>
          <p:cNvCxnSpPr>
            <a:endCxn id="229" idx="2"/>
          </p:cNvCxnSpPr>
          <p:nvPr/>
        </p:nvCxnSpPr>
        <p:spPr bwMode="auto">
          <a:xfrm flipH="1" flipV="1">
            <a:off x="9878983" y="3990110"/>
            <a:ext cx="79781" cy="1612843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13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33711" y="5453873"/>
            <a:ext cx="485154" cy="476165"/>
          </a:xfrm>
          <a:prstGeom prst="rect">
            <a:avLst/>
          </a:prstGeom>
          <a:noFill/>
        </p:spPr>
      </p:pic>
      <p:pic>
        <p:nvPicPr>
          <p:cNvPr id="214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14379" y="4937925"/>
            <a:ext cx="485154" cy="476165"/>
          </a:xfrm>
          <a:prstGeom prst="rect">
            <a:avLst/>
          </a:prstGeom>
          <a:noFill/>
        </p:spPr>
      </p:pic>
      <p:pic>
        <p:nvPicPr>
          <p:cNvPr id="215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41108" y="4478965"/>
            <a:ext cx="485154" cy="476165"/>
          </a:xfrm>
          <a:prstGeom prst="rect">
            <a:avLst/>
          </a:prstGeom>
          <a:noFill/>
        </p:spPr>
      </p:pic>
      <p:sp>
        <p:nvSpPr>
          <p:cNvPr id="216" name="Oval 215"/>
          <p:cNvSpPr/>
          <p:nvPr/>
        </p:nvSpPr>
        <p:spPr bwMode="auto">
          <a:xfrm rot="17923573">
            <a:off x="11101319" y="4473188"/>
            <a:ext cx="190375" cy="60943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7" name="Oval 216"/>
          <p:cNvSpPr/>
          <p:nvPr/>
        </p:nvSpPr>
        <p:spPr bwMode="auto">
          <a:xfrm rot="17923573">
            <a:off x="10578232" y="4861758"/>
            <a:ext cx="190375" cy="60943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8" name="Oval 217"/>
          <p:cNvSpPr/>
          <p:nvPr/>
        </p:nvSpPr>
        <p:spPr bwMode="auto">
          <a:xfrm rot="20795744">
            <a:off x="9794729" y="5265352"/>
            <a:ext cx="190325" cy="60959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19" name="Rectangle 218"/>
          <p:cNvSpPr/>
          <p:nvPr/>
        </p:nvSpPr>
        <p:spPr>
          <a:xfrm>
            <a:off x="8944519" y="3706745"/>
            <a:ext cx="1278619" cy="816687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  <a:scene3d>
            <a:camera prst="isometricTopUp"/>
            <a:lightRig rig="threePt" dir="t"/>
          </a:scene3d>
        </p:spPr>
        <p:txBody>
          <a:bodyPr lIns="91344" tIns="45673" rIns="91344" bIns="45673" rtlCol="0" anchor="b"/>
          <a:lstStyle/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err="1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pc</a:t>
            </a: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220" name="Group 219"/>
          <p:cNvGrpSpPr/>
          <p:nvPr/>
        </p:nvGrpSpPr>
        <p:grpSpPr>
          <a:xfrm>
            <a:off x="9191455" y="3772082"/>
            <a:ext cx="485154" cy="613963"/>
            <a:chOff x="5197809" y="1470085"/>
            <a:chExt cx="615327" cy="778494"/>
          </a:xfrm>
        </p:grpSpPr>
        <p:grpSp>
          <p:nvGrpSpPr>
            <p:cNvPr id="230" name="Group 229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234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235" name="Group 234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236" name="Hexagon 235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237" name="TextBox 236"/>
                <p:cNvSpPr txBox="1"/>
                <p:nvPr/>
              </p:nvSpPr>
              <p:spPr>
                <a:xfrm>
                  <a:off x="324182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231" name="Group 230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32" name="Oval 231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221" name="Group 220"/>
          <p:cNvGrpSpPr/>
          <p:nvPr/>
        </p:nvGrpSpPr>
        <p:grpSpPr>
          <a:xfrm>
            <a:off x="9660794" y="3491638"/>
            <a:ext cx="485154" cy="613963"/>
            <a:chOff x="5197809" y="1470085"/>
            <a:chExt cx="615327" cy="778494"/>
          </a:xfrm>
        </p:grpSpPr>
        <p:grpSp>
          <p:nvGrpSpPr>
            <p:cNvPr id="222" name="Group 221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22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227" name="Group 226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228" name="Hexagon 227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229" name="TextBox 228"/>
                <p:cNvSpPr txBox="1"/>
                <p:nvPr/>
              </p:nvSpPr>
              <p:spPr>
                <a:xfrm>
                  <a:off x="3243514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223" name="Group 222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24" name="Oval 223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294" name="Freeform 6"/>
          <p:cNvSpPr>
            <a:spLocks noChangeAspect="1"/>
          </p:cNvSpPr>
          <p:nvPr/>
        </p:nvSpPr>
        <p:spPr bwMode="auto">
          <a:xfrm>
            <a:off x="4646120" y="3621138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BottomDown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Classic Ethernet</a:t>
            </a:r>
          </a:p>
        </p:txBody>
      </p:sp>
      <p:cxnSp>
        <p:nvCxnSpPr>
          <p:cNvPr id="295" name="Straight Connector 294"/>
          <p:cNvCxnSpPr>
            <a:endCxn id="316" idx="2"/>
          </p:cNvCxnSpPr>
          <p:nvPr/>
        </p:nvCxnSpPr>
        <p:spPr bwMode="auto">
          <a:xfrm flipV="1">
            <a:off x="5726278" y="3990110"/>
            <a:ext cx="1300384" cy="122569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6" name="Straight Connector 295"/>
          <p:cNvCxnSpPr>
            <a:stCxn id="316" idx="2"/>
          </p:cNvCxnSpPr>
          <p:nvPr/>
        </p:nvCxnSpPr>
        <p:spPr bwMode="auto">
          <a:xfrm flipH="1">
            <a:off x="6754720" y="3990110"/>
            <a:ext cx="271944" cy="1726443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7" name="Straight Connector 296"/>
          <p:cNvCxnSpPr>
            <a:endCxn id="316" idx="2"/>
          </p:cNvCxnSpPr>
          <p:nvPr/>
        </p:nvCxnSpPr>
        <p:spPr bwMode="auto">
          <a:xfrm flipV="1">
            <a:off x="4998178" y="3990139"/>
            <a:ext cx="2028485" cy="770465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8" name="Straight Connector 297"/>
          <p:cNvCxnSpPr>
            <a:endCxn id="325" idx="2"/>
          </p:cNvCxnSpPr>
          <p:nvPr/>
        </p:nvCxnSpPr>
        <p:spPr bwMode="auto">
          <a:xfrm flipV="1">
            <a:off x="6745644" y="4242138"/>
            <a:ext cx="742621" cy="150173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9" name="Straight Connector 298"/>
          <p:cNvCxnSpPr>
            <a:endCxn id="325" idx="2"/>
          </p:cNvCxnSpPr>
          <p:nvPr/>
        </p:nvCxnSpPr>
        <p:spPr bwMode="auto">
          <a:xfrm flipV="1">
            <a:off x="5717177" y="4242135"/>
            <a:ext cx="1771060" cy="991876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0" name="Straight Connector 299"/>
          <p:cNvCxnSpPr>
            <a:endCxn id="325" idx="2"/>
          </p:cNvCxnSpPr>
          <p:nvPr/>
        </p:nvCxnSpPr>
        <p:spPr bwMode="auto">
          <a:xfrm flipV="1">
            <a:off x="4989079" y="4242135"/>
            <a:ext cx="2499158" cy="536648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5" name="Oval 304"/>
          <p:cNvSpPr/>
          <p:nvPr/>
        </p:nvSpPr>
        <p:spPr bwMode="auto">
          <a:xfrm rot="4319597">
            <a:off x="5366968" y="4605612"/>
            <a:ext cx="190375" cy="60943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307" name="Rectangle 306"/>
          <p:cNvSpPr/>
          <p:nvPr/>
        </p:nvSpPr>
        <p:spPr>
          <a:xfrm>
            <a:off x="6617511" y="3705633"/>
            <a:ext cx="1278619" cy="816687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  <a:scene3d>
            <a:camera prst="isometricBottomDown"/>
            <a:lightRig rig="threePt" dir="t"/>
          </a:scene3d>
        </p:spPr>
        <p:txBody>
          <a:bodyPr lIns="91344" tIns="45673" rIns="91344" bIns="45673" rtlCol="0" anchor="b"/>
          <a:lstStyle/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err="1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pc</a:t>
            </a: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pic>
        <p:nvPicPr>
          <p:cNvPr id="301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40054" y="4477860"/>
            <a:ext cx="485154" cy="476165"/>
          </a:xfrm>
          <a:prstGeom prst="rect">
            <a:avLst/>
          </a:prstGeom>
          <a:noFill/>
        </p:spPr>
      </p:pic>
      <p:pic>
        <p:nvPicPr>
          <p:cNvPr id="302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03429" y="5449573"/>
            <a:ext cx="485154" cy="476165"/>
          </a:xfrm>
          <a:prstGeom prst="rect">
            <a:avLst/>
          </a:prstGeom>
          <a:noFill/>
        </p:spPr>
      </p:pic>
      <p:pic>
        <p:nvPicPr>
          <p:cNvPr id="303" name="Picture 30" descr="\\MV-FS\Projects\Cisco\References\Brand Assets\Kubrick Icons\Device Icons\Device_nexus7000_3035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73620" y="4935989"/>
            <a:ext cx="485154" cy="476165"/>
          </a:xfrm>
          <a:prstGeom prst="rect">
            <a:avLst/>
          </a:prstGeom>
          <a:noFill/>
        </p:spPr>
      </p:pic>
      <p:grpSp>
        <p:nvGrpSpPr>
          <p:cNvPr id="308" name="Group 307"/>
          <p:cNvGrpSpPr/>
          <p:nvPr/>
        </p:nvGrpSpPr>
        <p:grpSpPr>
          <a:xfrm>
            <a:off x="6809838" y="3491638"/>
            <a:ext cx="485154" cy="613963"/>
            <a:chOff x="5197809" y="1470085"/>
            <a:chExt cx="615327" cy="778494"/>
          </a:xfrm>
        </p:grpSpPr>
        <p:grpSp>
          <p:nvGrpSpPr>
            <p:cNvPr id="309" name="Group 308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313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314" name="Group 313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315" name="Hexagon 314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316" name="TextBox 315"/>
                <p:cNvSpPr txBox="1"/>
                <p:nvPr/>
              </p:nvSpPr>
              <p:spPr>
                <a:xfrm>
                  <a:off x="324182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310" name="Group 309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11" name="Oval 310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317" name="Group 316"/>
          <p:cNvGrpSpPr/>
          <p:nvPr/>
        </p:nvGrpSpPr>
        <p:grpSpPr>
          <a:xfrm>
            <a:off x="7270076" y="3743662"/>
            <a:ext cx="485154" cy="613963"/>
            <a:chOff x="5197809" y="1470085"/>
            <a:chExt cx="615327" cy="778494"/>
          </a:xfrm>
        </p:grpSpPr>
        <p:grpSp>
          <p:nvGrpSpPr>
            <p:cNvPr id="318" name="Group 317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322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323" name="Group 322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324" name="Hexagon 323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325" name="TextBox 324"/>
                <p:cNvSpPr txBox="1"/>
                <p:nvPr/>
              </p:nvSpPr>
              <p:spPr>
                <a:xfrm>
                  <a:off x="3243514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319" name="Group 318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20" name="Oval 319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332" name="Oval 331"/>
          <p:cNvSpPr/>
          <p:nvPr/>
        </p:nvSpPr>
        <p:spPr bwMode="auto">
          <a:xfrm rot="3518928">
            <a:off x="6021907" y="4917626"/>
            <a:ext cx="190375" cy="60943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333" name="Oval 332"/>
          <p:cNvSpPr/>
          <p:nvPr/>
        </p:nvSpPr>
        <p:spPr bwMode="auto">
          <a:xfrm rot="1722416">
            <a:off x="6785647" y="5340318"/>
            <a:ext cx="190325" cy="60959"/>
          </a:xfrm>
          <a:prstGeom prst="ellipse">
            <a:avLst/>
          </a:prstGeom>
          <a:noFill/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cxnSp>
        <p:nvCxnSpPr>
          <p:cNvPr id="389" name="Curved Connector 388"/>
          <p:cNvCxnSpPr/>
          <p:nvPr/>
        </p:nvCxnSpPr>
        <p:spPr bwMode="auto">
          <a:xfrm rot="16200000" flipV="1">
            <a:off x="8464764" y="2745453"/>
            <a:ext cx="12005" cy="2405645"/>
          </a:xfrm>
          <a:prstGeom prst="curvedConnector3">
            <a:avLst>
              <a:gd name="adj1" fmla="val 16365482"/>
            </a:avLst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oval" w="med" len="med"/>
            <a:tailEnd type="oval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399" name="TextBox 398"/>
          <p:cNvSpPr txBox="1"/>
          <p:nvPr/>
        </p:nvSpPr>
        <p:spPr>
          <a:xfrm>
            <a:off x="9354627" y="2464966"/>
            <a:ext cx="1271877" cy="40216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N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30000</a:t>
            </a:r>
            <a:endParaRPr lang="en-US" sz="1200" kern="0" dirty="0">
              <a:solidFill>
                <a:srgbClr val="000000"/>
              </a:solidFill>
              <a:latin typeface="Arial"/>
              <a:ea typeface="Apple LiGothic Medium"/>
              <a:cs typeface="Courier New"/>
            </a:endParaRPr>
          </a:p>
        </p:txBody>
      </p:sp>
      <p:grpSp>
        <p:nvGrpSpPr>
          <p:cNvPr id="415" name="Group 414"/>
          <p:cNvGrpSpPr/>
          <p:nvPr/>
        </p:nvGrpSpPr>
        <p:grpSpPr>
          <a:xfrm>
            <a:off x="7701231" y="3468387"/>
            <a:ext cx="1419793" cy="446521"/>
            <a:chOff x="5776236" y="2601331"/>
            <a:chExt cx="1065122" cy="334885"/>
          </a:xfrm>
        </p:grpSpPr>
        <p:sp>
          <p:nvSpPr>
            <p:cNvPr id="411" name="TextBox 410"/>
            <p:cNvSpPr txBox="1"/>
            <p:nvPr/>
          </p:nvSpPr>
          <p:spPr>
            <a:xfrm>
              <a:off x="6039063" y="2601331"/>
              <a:ext cx="539468" cy="18004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000000"/>
              </a:solidFill>
            </a:ln>
          </p:spPr>
          <p:txBody>
            <a:bodyPr wrap="square" lIns="91440" tIns="27432" rIns="91440" bIns="27432" rtlCol="0" anchor="ctr">
              <a:spAutoFit/>
            </a:bodyPr>
            <a:lstStyle/>
            <a:p>
              <a:pPr algn="ctr" defTabSz="1086106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ea typeface="Apple LiGothic Medium"/>
                  <a:cs typeface="Courier New"/>
                </a:rPr>
                <a:t>eBGP</a:t>
              </a:r>
            </a:p>
          </p:txBody>
        </p:sp>
        <p:sp>
          <p:nvSpPr>
            <p:cNvPr id="414" name="Left-Right Arrow 413"/>
            <p:cNvSpPr/>
            <p:nvPr/>
          </p:nvSpPr>
          <p:spPr bwMode="auto">
            <a:xfrm>
              <a:off x="5776236" y="2772335"/>
              <a:ext cx="1065122" cy="163881"/>
            </a:xfrm>
            <a:prstGeom prst="leftRightArrow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064" fontAlgn="auto">
                <a:spcBef>
                  <a:spcPts val="0"/>
                </a:spcBef>
                <a:spcAft>
                  <a:spcPts val="0"/>
                </a:spcAft>
              </a:pPr>
              <a:endParaRPr lang="en-US" sz="1900" dirty="0" err="1">
                <a:solidFill>
                  <a:srgbClr val="FFFFFF"/>
                </a:solidFill>
                <a:latin typeface="Arial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sp>
        <p:nvSpPr>
          <p:cNvPr id="367" name="Content Placeholder 366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2100" dirty="0"/>
              <a:t>Interconnecting Classic Ethernet Pods with VXLAN/EVPN is possible</a:t>
            </a:r>
          </a:p>
          <a:p>
            <a:pPr lvl="1"/>
            <a:r>
              <a:rPr lang="en-US" sz="1900" dirty="0"/>
              <a:t>EVPN Control-Plane provides ARP suppression and avoids </a:t>
            </a:r>
            <a:r>
              <a:rPr lang="en-US" sz="1900" dirty="0" err="1"/>
              <a:t>Flood&amp;Learn</a:t>
            </a:r>
            <a:r>
              <a:rPr lang="en-US" sz="1900" dirty="0"/>
              <a:t> </a:t>
            </a:r>
          </a:p>
          <a:p>
            <a:r>
              <a:rPr lang="en-US" sz="2100" dirty="0"/>
              <a:t>Ingress Replication to avoid Multicast requirement in Underlay</a:t>
            </a:r>
          </a:p>
          <a:p>
            <a:pPr lvl="1"/>
            <a:r>
              <a:rPr lang="en-US" sz="1900" dirty="0"/>
              <a:t>Depends on various communication requirement factors (traffic requirements, amount of Sites, </a:t>
            </a:r>
            <a:r>
              <a:rPr lang="en-US" sz="1900" dirty="0" err="1"/>
              <a:t>etc</a:t>
            </a:r>
            <a:r>
              <a:rPr lang="en-US" sz="1900" dirty="0"/>
              <a:t>)</a:t>
            </a:r>
          </a:p>
          <a:p>
            <a:r>
              <a:rPr lang="en-US" sz="2100" dirty="0"/>
              <a:t>Multi-Homing requires VPC(!)</a:t>
            </a:r>
          </a:p>
          <a:p>
            <a:r>
              <a:rPr lang="en-US" sz="2100" dirty="0"/>
              <a:t>Loop in one Classic Ethernet Pod can influence the other Pod(s)</a:t>
            </a:r>
          </a:p>
        </p:txBody>
      </p:sp>
    </p:spTree>
    <p:extLst>
      <p:ext uri="{BB962C8B-B14F-4D97-AF65-F5344CB8AC3E}">
        <p14:creationId xmlns:p14="http://schemas.microsoft.com/office/powerpoint/2010/main" val="195479402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Freeform 6"/>
          <p:cNvSpPr>
            <a:spLocks noChangeAspect="1"/>
          </p:cNvSpPr>
          <p:nvPr/>
        </p:nvSpPr>
        <p:spPr bwMode="auto">
          <a:xfrm>
            <a:off x="8256389" y="3622243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Layer-3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Underlay</a:t>
            </a:r>
          </a:p>
        </p:txBody>
      </p:sp>
      <p:sp>
        <p:nvSpPr>
          <p:cNvPr id="279" name="Freeform 6"/>
          <p:cNvSpPr>
            <a:spLocks noChangeAspect="1"/>
          </p:cNvSpPr>
          <p:nvPr/>
        </p:nvSpPr>
        <p:spPr bwMode="auto">
          <a:xfrm>
            <a:off x="4646120" y="3621138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BottomDown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Layer-3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Underlay</a:t>
            </a:r>
          </a:p>
        </p:txBody>
      </p:sp>
      <p:sp>
        <p:nvSpPr>
          <p:cNvPr id="293" name="Title 29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rconnecting VXLAN Networks (Layer-2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96127" y="1584731"/>
            <a:ext cx="4450418" cy="4440767"/>
          </a:xfrm>
        </p:spPr>
        <p:txBody>
          <a:bodyPr/>
          <a:lstStyle/>
          <a:p>
            <a:r>
              <a:rPr lang="en-US" sz="2100" dirty="0"/>
              <a:t>Interconnecting VXLAN/EVPN Pods with VXLAN/EVPN is possible</a:t>
            </a:r>
          </a:p>
          <a:p>
            <a:pPr lvl="1"/>
            <a:r>
              <a:rPr lang="en-US" sz="1900" dirty="0"/>
              <a:t>Control-Plane Domains (EVPN) can be separated (</a:t>
            </a:r>
            <a:r>
              <a:rPr lang="en-US" sz="1900" dirty="0" err="1"/>
              <a:t>iBGP</a:t>
            </a:r>
            <a:r>
              <a:rPr lang="en-US" sz="1900" dirty="0"/>
              <a:t>/eBGP)</a:t>
            </a:r>
          </a:p>
          <a:p>
            <a:r>
              <a:rPr lang="en-US" sz="2100" dirty="0"/>
              <a:t>Data-Plane Encapsulation is End-to-End!</a:t>
            </a:r>
          </a:p>
          <a:p>
            <a:pPr lvl="1"/>
            <a:r>
              <a:rPr lang="en-US" sz="1900" dirty="0"/>
              <a:t>Leaf/TOR knows about all VTEP across the two Data Centers</a:t>
            </a:r>
          </a:p>
          <a:p>
            <a:pPr lvl="1"/>
            <a:r>
              <a:rPr lang="en-US" sz="1900" dirty="0"/>
              <a:t>BUM Traffic is across Pods</a:t>
            </a:r>
          </a:p>
          <a:p>
            <a:r>
              <a:rPr lang="en-US" sz="2100" dirty="0"/>
              <a:t>Decision on Ingress Replication (Unicast) or Multicast is across              all Pods being interconnected</a:t>
            </a:r>
          </a:p>
          <a:p>
            <a:r>
              <a:rPr lang="en-US" sz="2100" dirty="0"/>
              <a:t>Use Shared Route-Target to ensure Route Exchange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Inter-Pod Connectiv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44</a:t>
            </a:fld>
            <a:endParaRPr dirty="0">
              <a:solidFill>
                <a:srgbClr val="595959"/>
              </a:solidFill>
            </a:endParaRPr>
          </a:p>
        </p:txBody>
      </p:sp>
      <p:sp>
        <p:nvSpPr>
          <p:cNvPr id="343" name="Freeform 6"/>
          <p:cNvSpPr>
            <a:spLocks noChangeAspect="1"/>
          </p:cNvSpPr>
          <p:nvPr/>
        </p:nvSpPr>
        <p:spPr bwMode="auto">
          <a:xfrm>
            <a:off x="6994424" y="1629744"/>
            <a:ext cx="2636200" cy="1089527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Core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(Layer-3)</a:t>
            </a:r>
          </a:p>
        </p:txBody>
      </p:sp>
      <p:cxnSp>
        <p:nvCxnSpPr>
          <p:cNvPr id="277" name="Straight Connector 276"/>
          <p:cNvCxnSpPr>
            <a:stCxn id="255" idx="4"/>
          </p:cNvCxnSpPr>
          <p:nvPr/>
        </p:nvCxnSpPr>
        <p:spPr bwMode="auto">
          <a:xfrm>
            <a:off x="8543874" y="2839390"/>
            <a:ext cx="864408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279"/>
          <p:cNvCxnSpPr>
            <a:stCxn id="253" idx="4"/>
          </p:cNvCxnSpPr>
          <p:nvPr/>
        </p:nvCxnSpPr>
        <p:spPr bwMode="auto">
          <a:xfrm>
            <a:off x="9069187" y="2839390"/>
            <a:ext cx="339093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3" name="Straight Connector 282"/>
          <p:cNvCxnSpPr>
            <a:stCxn id="253" idx="4"/>
          </p:cNvCxnSpPr>
          <p:nvPr/>
        </p:nvCxnSpPr>
        <p:spPr bwMode="auto">
          <a:xfrm>
            <a:off x="9069188" y="2839391"/>
            <a:ext cx="80976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6" name="Straight Connector 285"/>
          <p:cNvCxnSpPr>
            <a:stCxn id="255" idx="4"/>
          </p:cNvCxnSpPr>
          <p:nvPr/>
        </p:nvCxnSpPr>
        <p:spPr bwMode="auto">
          <a:xfrm>
            <a:off x="8543871" y="2839391"/>
            <a:ext cx="1335082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1" name="Group 250"/>
          <p:cNvGrpSpPr>
            <a:grpSpLocks noChangeAspect="1"/>
          </p:cNvGrpSpPr>
          <p:nvPr/>
        </p:nvGrpSpPr>
        <p:grpSpPr>
          <a:xfrm>
            <a:off x="8421982" y="2595549"/>
            <a:ext cx="243779" cy="243840"/>
            <a:chOff x="6127203" y="3427839"/>
            <a:chExt cx="307164" cy="307160"/>
          </a:xfrm>
        </p:grpSpPr>
        <p:sp>
          <p:nvSpPr>
            <p:cNvPr id="255" name="Oval 25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252" name="Group 251"/>
          <p:cNvGrpSpPr>
            <a:grpSpLocks noChangeAspect="1"/>
          </p:cNvGrpSpPr>
          <p:nvPr/>
        </p:nvGrpSpPr>
        <p:grpSpPr>
          <a:xfrm>
            <a:off x="8947299" y="2595549"/>
            <a:ext cx="243779" cy="243840"/>
            <a:chOff x="6127203" y="3427839"/>
            <a:chExt cx="307164" cy="307160"/>
          </a:xfrm>
        </p:grpSpPr>
        <p:sp>
          <p:nvSpPr>
            <p:cNvPr id="253" name="Oval 252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4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4" name="Group 343"/>
          <p:cNvGrpSpPr>
            <a:grpSpLocks noChangeAspect="1"/>
          </p:cNvGrpSpPr>
          <p:nvPr/>
        </p:nvGrpSpPr>
        <p:grpSpPr>
          <a:xfrm>
            <a:off x="7371349" y="2595549"/>
            <a:ext cx="243779" cy="243840"/>
            <a:chOff x="6127203" y="3427839"/>
            <a:chExt cx="307164" cy="307160"/>
          </a:xfrm>
        </p:grpSpPr>
        <p:sp>
          <p:nvSpPr>
            <p:cNvPr id="345" name="Oval 34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7" name="Group 346"/>
          <p:cNvGrpSpPr>
            <a:grpSpLocks noChangeAspect="1"/>
          </p:cNvGrpSpPr>
          <p:nvPr/>
        </p:nvGrpSpPr>
        <p:grpSpPr>
          <a:xfrm>
            <a:off x="7896666" y="2595549"/>
            <a:ext cx="243779" cy="243840"/>
            <a:chOff x="6127203" y="3427839"/>
            <a:chExt cx="307164" cy="307160"/>
          </a:xfrm>
        </p:grpSpPr>
        <p:sp>
          <p:nvSpPr>
            <p:cNvPr id="348" name="Oval 347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9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cxnSp>
        <p:nvCxnSpPr>
          <p:cNvPr id="350" name="Straight Connector 349"/>
          <p:cNvCxnSpPr>
            <a:stCxn id="348" idx="4"/>
          </p:cNvCxnSpPr>
          <p:nvPr/>
        </p:nvCxnSpPr>
        <p:spPr bwMode="auto">
          <a:xfrm flipH="1">
            <a:off x="7026664" y="2839391"/>
            <a:ext cx="991892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3" name="Straight Connector 352"/>
          <p:cNvCxnSpPr>
            <a:stCxn id="345" idx="4"/>
          </p:cNvCxnSpPr>
          <p:nvPr/>
        </p:nvCxnSpPr>
        <p:spPr bwMode="auto">
          <a:xfrm flipH="1">
            <a:off x="7026665" y="2839391"/>
            <a:ext cx="46657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6" name="Straight Connector 355"/>
          <p:cNvCxnSpPr>
            <a:stCxn id="345" idx="4"/>
          </p:cNvCxnSpPr>
          <p:nvPr/>
        </p:nvCxnSpPr>
        <p:spPr bwMode="auto">
          <a:xfrm flipH="1">
            <a:off x="7488234" y="2839420"/>
            <a:ext cx="5004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Straight Connector 358"/>
          <p:cNvCxnSpPr>
            <a:stCxn id="348" idx="4"/>
          </p:cNvCxnSpPr>
          <p:nvPr/>
        </p:nvCxnSpPr>
        <p:spPr bwMode="auto">
          <a:xfrm flipH="1">
            <a:off x="7488236" y="2839420"/>
            <a:ext cx="530321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20" name="Group 219"/>
          <p:cNvGrpSpPr/>
          <p:nvPr/>
        </p:nvGrpSpPr>
        <p:grpSpPr>
          <a:xfrm>
            <a:off x="9191455" y="3772082"/>
            <a:ext cx="485154" cy="613963"/>
            <a:chOff x="5197809" y="1470085"/>
            <a:chExt cx="615327" cy="778494"/>
          </a:xfrm>
        </p:grpSpPr>
        <p:pic>
          <p:nvPicPr>
            <p:cNvPr id="234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97809" y="1644810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231" name="Group 230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32" name="Oval 231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221" name="Group 220"/>
          <p:cNvGrpSpPr/>
          <p:nvPr/>
        </p:nvGrpSpPr>
        <p:grpSpPr>
          <a:xfrm>
            <a:off x="9660794" y="3491638"/>
            <a:ext cx="485154" cy="613963"/>
            <a:chOff x="5197809" y="1470085"/>
            <a:chExt cx="615327" cy="778494"/>
          </a:xfrm>
        </p:grpSpPr>
        <p:pic>
          <p:nvPicPr>
            <p:cNvPr id="22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97809" y="1644810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223" name="Group 222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24" name="Oval 223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5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308" name="Group 307"/>
          <p:cNvGrpSpPr/>
          <p:nvPr/>
        </p:nvGrpSpPr>
        <p:grpSpPr>
          <a:xfrm>
            <a:off x="6809838" y="3491638"/>
            <a:ext cx="485154" cy="613963"/>
            <a:chOff x="5197809" y="1470085"/>
            <a:chExt cx="615327" cy="778494"/>
          </a:xfrm>
        </p:grpSpPr>
        <p:pic>
          <p:nvPicPr>
            <p:cNvPr id="313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97809" y="1644810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310" name="Group 309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11" name="Oval 310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2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195" name="Group 194"/>
          <p:cNvGrpSpPr/>
          <p:nvPr/>
        </p:nvGrpSpPr>
        <p:grpSpPr>
          <a:xfrm>
            <a:off x="9733711" y="5316074"/>
            <a:ext cx="485154" cy="613963"/>
            <a:chOff x="5197809" y="1470085"/>
            <a:chExt cx="615327" cy="778494"/>
          </a:xfrm>
        </p:grpSpPr>
        <p:grpSp>
          <p:nvGrpSpPr>
            <p:cNvPr id="196" name="Group 195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20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201" name="Group 200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202" name="Hexagon 20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203" name="TextBox 202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97" name="Group 196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98" name="Oval 197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9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269" name="Group 268"/>
          <p:cNvGrpSpPr/>
          <p:nvPr/>
        </p:nvGrpSpPr>
        <p:grpSpPr>
          <a:xfrm>
            <a:off x="11441108" y="4341170"/>
            <a:ext cx="485154" cy="613963"/>
            <a:chOff x="5197809" y="1470085"/>
            <a:chExt cx="615327" cy="778494"/>
          </a:xfrm>
        </p:grpSpPr>
        <p:grpSp>
          <p:nvGrpSpPr>
            <p:cNvPr id="270" name="Group 269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274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275" name="Group 274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276" name="Hexagon 275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278" name="TextBox 277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271" name="Group 270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72" name="Oval 271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3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10" name="Freeform 9"/>
          <p:cNvSpPr/>
          <p:nvPr/>
        </p:nvSpPr>
        <p:spPr>
          <a:xfrm>
            <a:off x="5630412" y="2130491"/>
            <a:ext cx="5347263" cy="3022713"/>
          </a:xfrm>
          <a:custGeom>
            <a:avLst/>
            <a:gdLst>
              <a:gd name="connsiteX0" fmla="*/ 65080 w 4062016"/>
              <a:gd name="connsiteY0" fmla="*/ 2267035 h 2267035"/>
              <a:gd name="connsiteX1" fmla="*/ 71908 w 4062016"/>
              <a:gd name="connsiteY1" fmla="*/ 1891473 h 2267035"/>
              <a:gd name="connsiteX2" fmla="*/ 795644 w 4062016"/>
              <a:gd name="connsiteY2" fmla="*/ 1638821 h 2267035"/>
              <a:gd name="connsiteX3" fmla="*/ 1184823 w 4062016"/>
              <a:gd name="connsiteY3" fmla="*/ 1154004 h 2267035"/>
              <a:gd name="connsiteX4" fmla="*/ 1546691 w 4062016"/>
              <a:gd name="connsiteY4" fmla="*/ 505305 h 2267035"/>
              <a:gd name="connsiteX5" fmla="*/ 1710556 w 4062016"/>
              <a:gd name="connsiteY5" fmla="*/ 54630 h 2267035"/>
              <a:gd name="connsiteX6" fmla="*/ 2168012 w 4062016"/>
              <a:gd name="connsiteY6" fmla="*/ 47802 h 2267035"/>
              <a:gd name="connsiteX7" fmla="*/ 2379671 w 4062016"/>
              <a:gd name="connsiteY7" fmla="*/ 416536 h 2267035"/>
              <a:gd name="connsiteX8" fmla="*/ 2864438 w 4062016"/>
              <a:gd name="connsiteY8" fmla="*/ 1085720 h 2267035"/>
              <a:gd name="connsiteX9" fmla="*/ 3158029 w 4062016"/>
              <a:gd name="connsiteY9" fmla="*/ 1488596 h 2267035"/>
              <a:gd name="connsiteX10" fmla="*/ 3752039 w 4062016"/>
              <a:gd name="connsiteY10" fmla="*/ 1638821 h 2267035"/>
              <a:gd name="connsiteX11" fmla="*/ 4025147 w 4062016"/>
              <a:gd name="connsiteY11" fmla="*/ 1789046 h 2267035"/>
              <a:gd name="connsiteX12" fmla="*/ 4059286 w 4062016"/>
              <a:gd name="connsiteY12" fmla="*/ 2137295 h 2267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2016" h="2267035">
                <a:moveTo>
                  <a:pt x="65080" y="2267035"/>
                </a:moveTo>
                <a:cubicBezTo>
                  <a:pt x="7613" y="2131605"/>
                  <a:pt x="-49853" y="1996175"/>
                  <a:pt x="71908" y="1891473"/>
                </a:cubicBezTo>
                <a:cubicBezTo>
                  <a:pt x="193669" y="1786771"/>
                  <a:pt x="610158" y="1761732"/>
                  <a:pt x="795644" y="1638821"/>
                </a:cubicBezTo>
                <a:cubicBezTo>
                  <a:pt x="981130" y="1515910"/>
                  <a:pt x="1059649" y="1342923"/>
                  <a:pt x="1184823" y="1154004"/>
                </a:cubicBezTo>
                <a:cubicBezTo>
                  <a:pt x="1309997" y="965085"/>
                  <a:pt x="1459069" y="688534"/>
                  <a:pt x="1546691" y="505305"/>
                </a:cubicBezTo>
                <a:cubicBezTo>
                  <a:pt x="1634313" y="322076"/>
                  <a:pt x="1607003" y="130880"/>
                  <a:pt x="1710556" y="54630"/>
                </a:cubicBezTo>
                <a:cubicBezTo>
                  <a:pt x="1814109" y="-21620"/>
                  <a:pt x="2056493" y="-12516"/>
                  <a:pt x="2168012" y="47802"/>
                </a:cubicBezTo>
                <a:cubicBezTo>
                  <a:pt x="2279531" y="108120"/>
                  <a:pt x="2263600" y="243550"/>
                  <a:pt x="2379671" y="416536"/>
                </a:cubicBezTo>
                <a:cubicBezTo>
                  <a:pt x="2495742" y="589522"/>
                  <a:pt x="2864438" y="1085720"/>
                  <a:pt x="2864438" y="1085720"/>
                </a:cubicBezTo>
                <a:cubicBezTo>
                  <a:pt x="2994164" y="1264397"/>
                  <a:pt x="3010095" y="1396412"/>
                  <a:pt x="3158029" y="1488596"/>
                </a:cubicBezTo>
                <a:cubicBezTo>
                  <a:pt x="3305963" y="1580780"/>
                  <a:pt x="3607519" y="1588746"/>
                  <a:pt x="3752039" y="1638821"/>
                </a:cubicBezTo>
                <a:cubicBezTo>
                  <a:pt x="3896559" y="1688896"/>
                  <a:pt x="3973939" y="1705967"/>
                  <a:pt x="4025147" y="1789046"/>
                </a:cubicBezTo>
                <a:cubicBezTo>
                  <a:pt x="4076355" y="1872125"/>
                  <a:pt x="4059286" y="2137295"/>
                  <a:pt x="4059286" y="2137295"/>
                </a:cubicBezTo>
              </a:path>
            </a:pathLst>
          </a:custGeom>
          <a:noFill/>
          <a:ln w="38100" cap="rnd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lIns="121781" tIns="60891" rIns="121781" bIns="60891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245" name="Group 244"/>
          <p:cNvGrpSpPr/>
          <p:nvPr/>
        </p:nvGrpSpPr>
        <p:grpSpPr>
          <a:xfrm>
            <a:off x="10714379" y="4800126"/>
            <a:ext cx="485154" cy="613963"/>
            <a:chOff x="5197809" y="1470085"/>
            <a:chExt cx="615327" cy="778494"/>
          </a:xfrm>
        </p:grpSpPr>
        <p:grpSp>
          <p:nvGrpSpPr>
            <p:cNvPr id="246" name="Group 245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25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257" name="Group 256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258" name="Hexagon 257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259" name="TextBox 258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247" name="Group 246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248" name="Oval 247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9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289" name="TextBox 288"/>
          <p:cNvSpPr txBox="1"/>
          <p:nvPr/>
        </p:nvSpPr>
        <p:spPr>
          <a:xfrm>
            <a:off x="10176691" y="4088475"/>
            <a:ext cx="1279825" cy="40216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N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30000</a:t>
            </a:r>
            <a:endParaRPr lang="en-US" sz="1200" kern="0" dirty="0">
              <a:solidFill>
                <a:srgbClr val="000000"/>
              </a:solidFill>
              <a:latin typeface="Arial"/>
              <a:ea typeface="Apple LiGothic Medium"/>
              <a:cs typeface="Courier New"/>
            </a:endParaRPr>
          </a:p>
        </p:txBody>
      </p:sp>
      <p:sp>
        <p:nvSpPr>
          <p:cNvPr id="291" name="TextBox 290"/>
          <p:cNvSpPr txBox="1"/>
          <p:nvPr/>
        </p:nvSpPr>
        <p:spPr>
          <a:xfrm>
            <a:off x="5401465" y="4073166"/>
            <a:ext cx="1279825" cy="40216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N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30000</a:t>
            </a:r>
            <a:endParaRPr lang="en-US" sz="1200" kern="0" dirty="0">
              <a:solidFill>
                <a:srgbClr val="000000"/>
              </a:solidFill>
              <a:latin typeface="Arial"/>
              <a:ea typeface="Apple LiGothic Medium"/>
              <a:cs typeface="Courier New"/>
            </a:endParaRPr>
          </a:p>
        </p:txBody>
      </p:sp>
      <p:grpSp>
        <p:nvGrpSpPr>
          <p:cNvPr id="177" name="Group 176"/>
          <p:cNvGrpSpPr/>
          <p:nvPr/>
        </p:nvGrpSpPr>
        <p:grpSpPr>
          <a:xfrm>
            <a:off x="4740054" y="4340062"/>
            <a:ext cx="485154" cy="613963"/>
            <a:chOff x="5197809" y="1470085"/>
            <a:chExt cx="615327" cy="778494"/>
          </a:xfrm>
        </p:grpSpPr>
        <p:grpSp>
          <p:nvGrpSpPr>
            <p:cNvPr id="178" name="Group 177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82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83" name="Group 182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84" name="Hexagon 183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85" name="TextBox 184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79" name="Group 178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80" name="Oval 179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317" name="Group 316"/>
          <p:cNvGrpSpPr/>
          <p:nvPr/>
        </p:nvGrpSpPr>
        <p:grpSpPr>
          <a:xfrm>
            <a:off x="7270076" y="3743662"/>
            <a:ext cx="485154" cy="613963"/>
            <a:chOff x="5197809" y="1470085"/>
            <a:chExt cx="615327" cy="778494"/>
          </a:xfrm>
        </p:grpSpPr>
        <p:pic>
          <p:nvPicPr>
            <p:cNvPr id="32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197809" y="1644810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319" name="Group 318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320" name="Oval 319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1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141" name="Group 140"/>
          <p:cNvGrpSpPr/>
          <p:nvPr/>
        </p:nvGrpSpPr>
        <p:grpSpPr>
          <a:xfrm>
            <a:off x="6503429" y="5311774"/>
            <a:ext cx="485154" cy="613963"/>
            <a:chOff x="5197809" y="1470085"/>
            <a:chExt cx="615327" cy="778494"/>
          </a:xfrm>
        </p:grpSpPr>
        <p:grpSp>
          <p:nvGrpSpPr>
            <p:cNvPr id="142" name="Group 141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4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47" name="Group 146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48" name="Hexagon 147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49" name="TextBox 148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43" name="Group 142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44" name="Oval 143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5473620" y="4798189"/>
            <a:ext cx="485154" cy="613963"/>
            <a:chOff x="5197809" y="1470085"/>
            <a:chExt cx="615327" cy="778494"/>
          </a:xfrm>
        </p:grpSpPr>
        <p:grpSp>
          <p:nvGrpSpPr>
            <p:cNvPr id="160" name="Group 159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64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65" name="Group 164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66" name="Hexagon 165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67" name="TextBox 166"/>
                <p:cNvSpPr txBox="1"/>
                <p:nvPr/>
              </p:nvSpPr>
              <p:spPr>
                <a:xfrm>
                  <a:off x="327494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61" name="Group 160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62" name="Oval 161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3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330" name="Group 329"/>
          <p:cNvGrpSpPr/>
          <p:nvPr/>
        </p:nvGrpSpPr>
        <p:grpSpPr>
          <a:xfrm>
            <a:off x="7701231" y="3468387"/>
            <a:ext cx="1419793" cy="446521"/>
            <a:chOff x="5776236" y="2601331"/>
            <a:chExt cx="1065122" cy="334885"/>
          </a:xfrm>
        </p:grpSpPr>
        <p:sp>
          <p:nvSpPr>
            <p:cNvPr id="331" name="TextBox 330"/>
            <p:cNvSpPr txBox="1"/>
            <p:nvPr/>
          </p:nvSpPr>
          <p:spPr>
            <a:xfrm>
              <a:off x="6039063" y="2601331"/>
              <a:ext cx="539468" cy="180046"/>
            </a:xfrm>
            <a:prstGeom prst="rect">
              <a:avLst/>
            </a:prstGeom>
            <a:solidFill>
              <a:srgbClr val="FFFFFF"/>
            </a:solidFill>
            <a:ln>
              <a:solidFill>
                <a:srgbClr val="000000"/>
              </a:solidFill>
            </a:ln>
          </p:spPr>
          <p:txBody>
            <a:bodyPr wrap="square" lIns="91440" tIns="27432" rIns="91440" bIns="27432" rtlCol="0" anchor="ctr">
              <a:spAutoFit/>
            </a:bodyPr>
            <a:lstStyle/>
            <a:p>
              <a:pPr algn="ctr" defTabSz="1086106">
                <a:defRPr/>
              </a:pPr>
              <a:r>
                <a:rPr lang="en-US" sz="1200" kern="0" dirty="0">
                  <a:solidFill>
                    <a:srgbClr val="000000"/>
                  </a:solidFill>
                  <a:latin typeface="Arial"/>
                  <a:ea typeface="Apple LiGothic Medium"/>
                  <a:cs typeface="Courier New"/>
                </a:rPr>
                <a:t>eBGP</a:t>
              </a:r>
            </a:p>
          </p:txBody>
        </p:sp>
        <p:sp>
          <p:nvSpPr>
            <p:cNvPr id="334" name="Left-Right Arrow 333"/>
            <p:cNvSpPr/>
            <p:nvPr/>
          </p:nvSpPr>
          <p:spPr bwMode="auto">
            <a:xfrm>
              <a:off x="5776236" y="2772335"/>
              <a:ext cx="1065122" cy="163881"/>
            </a:xfrm>
            <a:prstGeom prst="leftRightArrow">
              <a:avLst/>
            </a:prstGeom>
            <a:solidFill>
              <a:schemeClr val="accent1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685064" fontAlgn="auto">
                <a:spcBef>
                  <a:spcPts val="0"/>
                </a:spcBef>
                <a:spcAft>
                  <a:spcPts val="0"/>
                </a:spcAft>
              </a:pPr>
              <a:endParaRPr lang="en-US" sz="1900" dirty="0" err="1">
                <a:solidFill>
                  <a:srgbClr val="FFFFFF"/>
                </a:solidFill>
                <a:latin typeface="Arial"/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sp>
        <p:nvSpPr>
          <p:cNvPr id="337" name="Left-Right Arrow 336"/>
          <p:cNvSpPr/>
          <p:nvPr/>
        </p:nvSpPr>
        <p:spPr bwMode="auto">
          <a:xfrm rot="16200000">
            <a:off x="7206508" y="4889024"/>
            <a:ext cx="1098677" cy="176199"/>
          </a:xfrm>
          <a:prstGeom prst="leftRightArrow">
            <a:avLst/>
          </a:pr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338" name="TextBox 337"/>
          <p:cNvSpPr txBox="1"/>
          <p:nvPr/>
        </p:nvSpPr>
        <p:spPr>
          <a:xfrm>
            <a:off x="8110565" y="5008599"/>
            <a:ext cx="719103" cy="258532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iBGP</a:t>
            </a:r>
          </a:p>
        </p:txBody>
      </p:sp>
      <p:sp>
        <p:nvSpPr>
          <p:cNvPr id="339" name="Left-Right Arrow 338"/>
          <p:cNvSpPr/>
          <p:nvPr/>
        </p:nvSpPr>
        <p:spPr bwMode="auto">
          <a:xfrm rot="16200000">
            <a:off x="8592800" y="4889024"/>
            <a:ext cx="1098677" cy="176199"/>
          </a:xfrm>
          <a:prstGeom prst="leftRightArrow">
            <a:avLst/>
          </a:pr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685064" fontAlgn="auto">
              <a:spcBef>
                <a:spcPts val="0"/>
              </a:spcBef>
              <a:spcAft>
                <a:spcPts val="0"/>
              </a:spcAft>
            </a:pPr>
            <a:endParaRPr lang="en-US" sz="1900" dirty="0" err="1">
              <a:solidFill>
                <a:srgbClr val="FFFFFF"/>
              </a:solidFill>
              <a:latin typeface="Arial"/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279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89" grpId="0" animBg="1"/>
      <p:bldP spid="291" grpId="0" animBg="1"/>
      <p:bldP spid="337" grpId="0" animBg="1"/>
      <p:bldP spid="338" grpId="0" animBg="1"/>
      <p:bldP spid="339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Freeform 6"/>
          <p:cNvSpPr>
            <a:spLocks noChangeAspect="1"/>
          </p:cNvSpPr>
          <p:nvPr/>
        </p:nvSpPr>
        <p:spPr bwMode="auto">
          <a:xfrm>
            <a:off x="8256389" y="3622243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TopUp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Layer-3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Underlay</a:t>
            </a:r>
          </a:p>
        </p:txBody>
      </p:sp>
      <p:sp>
        <p:nvSpPr>
          <p:cNvPr id="279" name="Freeform 6"/>
          <p:cNvSpPr>
            <a:spLocks noChangeAspect="1"/>
          </p:cNvSpPr>
          <p:nvPr/>
        </p:nvSpPr>
        <p:spPr bwMode="auto">
          <a:xfrm>
            <a:off x="4646120" y="3621138"/>
            <a:ext cx="3722538" cy="2163436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  <a:scene3d>
            <a:camera prst="isometricBottomDown"/>
            <a:lightRig rig="threePt" dir="t"/>
          </a:scene3d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Layer-3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21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Underlay</a:t>
            </a:r>
          </a:p>
        </p:txBody>
      </p:sp>
      <p:sp>
        <p:nvSpPr>
          <p:cNvPr id="293" name="Title 29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connecting VXLAN Networks (Layer</a:t>
            </a:r>
            <a:r>
              <a:rPr lang="en-US" dirty="0" smtClean="0"/>
              <a:t>-3)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sz="2100" dirty="0"/>
              <a:t>Interconnecting VXLAN/EVPN Pods with VXLAN/EVPN is possible</a:t>
            </a:r>
          </a:p>
          <a:p>
            <a:pPr lvl="1"/>
            <a:r>
              <a:rPr lang="en-US" sz="1900" dirty="0"/>
              <a:t>Control-Plane Domains (EVPN) can be separated (</a:t>
            </a:r>
            <a:r>
              <a:rPr lang="en-US" sz="1900" dirty="0" err="1"/>
              <a:t>iBGP</a:t>
            </a:r>
            <a:r>
              <a:rPr lang="en-US" sz="1900" dirty="0"/>
              <a:t>/eBGP)</a:t>
            </a:r>
          </a:p>
          <a:p>
            <a:r>
              <a:rPr lang="en-US" sz="2100" dirty="0"/>
              <a:t>With Layer-3 interconnect, Data-Plane Encapsulation is separated</a:t>
            </a:r>
          </a:p>
          <a:p>
            <a:pPr lvl="1"/>
            <a:r>
              <a:rPr lang="en-US" sz="1900" dirty="0"/>
              <a:t>Routing decision at DC-Edge results in </a:t>
            </a:r>
            <a:r>
              <a:rPr lang="en-US" sz="1900" dirty="0" err="1"/>
              <a:t>Decapsulation</a:t>
            </a:r>
            <a:endParaRPr lang="en-US" sz="1900" dirty="0"/>
          </a:p>
          <a:p>
            <a:pPr lvl="1"/>
            <a:r>
              <a:rPr lang="en-US" sz="1900" dirty="0"/>
              <a:t>Requires a Transit VNI between Sites</a:t>
            </a:r>
          </a:p>
          <a:p>
            <a:r>
              <a:rPr lang="en-US" sz="2100" dirty="0"/>
              <a:t>No Layer-2 Interconnect!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Inter-Pod Connectivit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945D0FD-48F1-4D72-80C5-FFB60B92A834}" type="slidenum">
              <a:rPr>
                <a:solidFill>
                  <a:srgbClr val="595959"/>
                </a:solidFill>
              </a:rPr>
              <a:pPr/>
              <a:t>45</a:t>
            </a:fld>
            <a:endParaRPr dirty="0">
              <a:solidFill>
                <a:srgbClr val="595959"/>
              </a:solidFill>
            </a:endParaRPr>
          </a:p>
        </p:txBody>
      </p:sp>
      <p:sp>
        <p:nvSpPr>
          <p:cNvPr id="343" name="Freeform 6"/>
          <p:cNvSpPr>
            <a:spLocks noChangeAspect="1"/>
          </p:cNvSpPr>
          <p:nvPr/>
        </p:nvSpPr>
        <p:spPr bwMode="auto">
          <a:xfrm>
            <a:off x="6994424" y="1629744"/>
            <a:ext cx="2636200" cy="1089527"/>
          </a:xfrm>
          <a:custGeom>
            <a:avLst/>
            <a:gdLst>
              <a:gd name="T0" fmla="*/ 2096 w 2396"/>
              <a:gd name="T1" fmla="*/ 792 h 1392"/>
              <a:gd name="T2" fmla="*/ 2093 w 2396"/>
              <a:gd name="T3" fmla="*/ 792 h 1392"/>
              <a:gd name="T4" fmla="*/ 2096 w 2396"/>
              <a:gd name="T5" fmla="*/ 759 h 1392"/>
              <a:gd name="T6" fmla="*/ 1904 w 2396"/>
              <a:gd name="T7" fmla="*/ 570 h 1392"/>
              <a:gd name="T8" fmla="*/ 1868 w 2396"/>
              <a:gd name="T9" fmla="*/ 573 h 1392"/>
              <a:gd name="T10" fmla="*/ 1886 w 2396"/>
              <a:gd name="T11" fmla="*/ 459 h 1392"/>
              <a:gd name="T12" fmla="*/ 1370 w 2396"/>
              <a:gd name="T13" fmla="*/ 0 h 1392"/>
              <a:gd name="T14" fmla="*/ 864 w 2396"/>
              <a:gd name="T15" fmla="*/ 372 h 1392"/>
              <a:gd name="T16" fmla="*/ 687 w 2396"/>
              <a:gd name="T17" fmla="*/ 306 h 1392"/>
              <a:gd name="T18" fmla="*/ 414 w 2396"/>
              <a:gd name="T19" fmla="*/ 582 h 1392"/>
              <a:gd name="T20" fmla="*/ 414 w 2396"/>
              <a:gd name="T21" fmla="*/ 597 h 1392"/>
              <a:gd name="T22" fmla="*/ 399 w 2396"/>
              <a:gd name="T23" fmla="*/ 594 h 1392"/>
              <a:gd name="T24" fmla="*/ 0 w 2396"/>
              <a:gd name="T25" fmla="*/ 993 h 1392"/>
              <a:gd name="T26" fmla="*/ 399 w 2396"/>
              <a:gd name="T27" fmla="*/ 1392 h 1392"/>
              <a:gd name="T28" fmla="*/ 2096 w 2396"/>
              <a:gd name="T29" fmla="*/ 1392 h 1392"/>
              <a:gd name="T30" fmla="*/ 2396 w 2396"/>
              <a:gd name="T31" fmla="*/ 1092 h 1392"/>
              <a:gd name="T32" fmla="*/ 2096 w 2396"/>
              <a:gd name="T33" fmla="*/ 792 h 1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396" h="1392">
                <a:moveTo>
                  <a:pt x="2096" y="792"/>
                </a:moveTo>
                <a:cubicBezTo>
                  <a:pt x="2093" y="792"/>
                  <a:pt x="2093" y="792"/>
                  <a:pt x="2093" y="792"/>
                </a:cubicBezTo>
                <a:cubicBezTo>
                  <a:pt x="2093" y="780"/>
                  <a:pt x="2096" y="771"/>
                  <a:pt x="2096" y="759"/>
                </a:cubicBezTo>
                <a:cubicBezTo>
                  <a:pt x="2096" y="654"/>
                  <a:pt x="2009" y="570"/>
                  <a:pt x="1904" y="570"/>
                </a:cubicBezTo>
                <a:cubicBezTo>
                  <a:pt x="1892" y="570"/>
                  <a:pt x="1880" y="570"/>
                  <a:pt x="1868" y="573"/>
                </a:cubicBezTo>
                <a:cubicBezTo>
                  <a:pt x="1880" y="537"/>
                  <a:pt x="1886" y="498"/>
                  <a:pt x="1886" y="459"/>
                </a:cubicBezTo>
                <a:cubicBezTo>
                  <a:pt x="1886" y="207"/>
                  <a:pt x="1655" y="0"/>
                  <a:pt x="1370" y="0"/>
                </a:cubicBezTo>
                <a:cubicBezTo>
                  <a:pt x="1118" y="0"/>
                  <a:pt x="912" y="159"/>
                  <a:pt x="864" y="372"/>
                </a:cubicBezTo>
                <a:cubicBezTo>
                  <a:pt x="816" y="330"/>
                  <a:pt x="756" y="306"/>
                  <a:pt x="687" y="306"/>
                </a:cubicBezTo>
                <a:cubicBezTo>
                  <a:pt x="537" y="306"/>
                  <a:pt x="414" y="429"/>
                  <a:pt x="414" y="582"/>
                </a:cubicBezTo>
                <a:cubicBezTo>
                  <a:pt x="414" y="585"/>
                  <a:pt x="414" y="591"/>
                  <a:pt x="414" y="597"/>
                </a:cubicBezTo>
                <a:cubicBezTo>
                  <a:pt x="399" y="594"/>
                  <a:pt x="399" y="594"/>
                  <a:pt x="399" y="594"/>
                </a:cubicBezTo>
                <a:cubicBezTo>
                  <a:pt x="177" y="594"/>
                  <a:pt x="0" y="771"/>
                  <a:pt x="0" y="993"/>
                </a:cubicBezTo>
                <a:cubicBezTo>
                  <a:pt x="0" y="1212"/>
                  <a:pt x="177" y="1392"/>
                  <a:pt x="399" y="1392"/>
                </a:cubicBezTo>
                <a:cubicBezTo>
                  <a:pt x="2096" y="1392"/>
                  <a:pt x="2096" y="1392"/>
                  <a:pt x="2096" y="1392"/>
                </a:cubicBezTo>
                <a:cubicBezTo>
                  <a:pt x="2261" y="1392"/>
                  <a:pt x="2396" y="1257"/>
                  <a:pt x="2396" y="1092"/>
                </a:cubicBezTo>
                <a:cubicBezTo>
                  <a:pt x="2396" y="927"/>
                  <a:pt x="2261" y="792"/>
                  <a:pt x="2096" y="792"/>
                </a:cubicBezTo>
                <a:close/>
              </a:path>
            </a:pathLst>
          </a:custGeom>
          <a:solidFill>
            <a:schemeClr val="bg1">
              <a:lumMod val="85000"/>
              <a:alpha val="70000"/>
            </a:schemeClr>
          </a:solidFill>
          <a:ln w="3175" cmpd="sng">
            <a:solidFill>
              <a:schemeClr val="tx1"/>
            </a:solidFill>
          </a:ln>
        </p:spPr>
        <p:txBody>
          <a:bodyPr vert="horz" wrap="square" lIns="121781" tIns="60891" rIns="121781" bIns="60891" numCol="1" anchor="ctr" anchorCtr="0" compatLnSpc="1">
            <a:prstTxWarp prst="textNoShape">
              <a:avLst/>
            </a:prstTxWarp>
          </a:bodyPr>
          <a:lstStyle/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Core</a:t>
            </a:r>
          </a:p>
          <a:p>
            <a:pPr algn="ctr" defTabSz="1217618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latin typeface="Arial"/>
                <a:ea typeface="Apple LiGothic Medium"/>
                <a:cs typeface="Cambria"/>
              </a:rPr>
              <a:t>(Layer-3)</a:t>
            </a:r>
          </a:p>
        </p:txBody>
      </p:sp>
      <p:cxnSp>
        <p:nvCxnSpPr>
          <p:cNvPr id="277" name="Straight Connector 276"/>
          <p:cNvCxnSpPr>
            <a:stCxn id="255" idx="4"/>
          </p:cNvCxnSpPr>
          <p:nvPr/>
        </p:nvCxnSpPr>
        <p:spPr bwMode="auto">
          <a:xfrm>
            <a:off x="8543874" y="2839390"/>
            <a:ext cx="864408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0" name="Straight Connector 279"/>
          <p:cNvCxnSpPr>
            <a:stCxn id="253" idx="4"/>
          </p:cNvCxnSpPr>
          <p:nvPr/>
        </p:nvCxnSpPr>
        <p:spPr bwMode="auto">
          <a:xfrm>
            <a:off x="9069187" y="2839390"/>
            <a:ext cx="339093" cy="121957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3" name="Straight Connector 282"/>
          <p:cNvCxnSpPr>
            <a:stCxn id="253" idx="4"/>
          </p:cNvCxnSpPr>
          <p:nvPr/>
        </p:nvCxnSpPr>
        <p:spPr bwMode="auto">
          <a:xfrm>
            <a:off x="9069188" y="2839391"/>
            <a:ext cx="80976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6" name="Straight Connector 285"/>
          <p:cNvCxnSpPr>
            <a:stCxn id="255" idx="4"/>
          </p:cNvCxnSpPr>
          <p:nvPr/>
        </p:nvCxnSpPr>
        <p:spPr bwMode="auto">
          <a:xfrm>
            <a:off x="8543871" y="2839391"/>
            <a:ext cx="1335082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51" name="Group 250"/>
          <p:cNvGrpSpPr>
            <a:grpSpLocks noChangeAspect="1"/>
          </p:cNvGrpSpPr>
          <p:nvPr/>
        </p:nvGrpSpPr>
        <p:grpSpPr>
          <a:xfrm>
            <a:off x="8421982" y="2595549"/>
            <a:ext cx="243779" cy="243840"/>
            <a:chOff x="6127203" y="3427839"/>
            <a:chExt cx="307164" cy="307160"/>
          </a:xfrm>
        </p:grpSpPr>
        <p:sp>
          <p:nvSpPr>
            <p:cNvPr id="255" name="Oval 25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252" name="Group 251"/>
          <p:cNvGrpSpPr>
            <a:grpSpLocks noChangeAspect="1"/>
          </p:cNvGrpSpPr>
          <p:nvPr/>
        </p:nvGrpSpPr>
        <p:grpSpPr>
          <a:xfrm>
            <a:off x="8947299" y="2595549"/>
            <a:ext cx="243779" cy="243840"/>
            <a:chOff x="6127203" y="3427839"/>
            <a:chExt cx="307164" cy="307160"/>
          </a:xfrm>
        </p:grpSpPr>
        <p:sp>
          <p:nvSpPr>
            <p:cNvPr id="253" name="Oval 252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54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4" name="Group 343"/>
          <p:cNvGrpSpPr>
            <a:grpSpLocks noChangeAspect="1"/>
          </p:cNvGrpSpPr>
          <p:nvPr/>
        </p:nvGrpSpPr>
        <p:grpSpPr>
          <a:xfrm>
            <a:off x="7371349" y="2595549"/>
            <a:ext cx="243779" cy="243840"/>
            <a:chOff x="6127203" y="3427839"/>
            <a:chExt cx="307164" cy="307160"/>
          </a:xfrm>
        </p:grpSpPr>
        <p:sp>
          <p:nvSpPr>
            <p:cNvPr id="345" name="Oval 344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6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grpSp>
        <p:nvGrpSpPr>
          <p:cNvPr id="347" name="Group 346"/>
          <p:cNvGrpSpPr>
            <a:grpSpLocks noChangeAspect="1"/>
          </p:cNvGrpSpPr>
          <p:nvPr/>
        </p:nvGrpSpPr>
        <p:grpSpPr>
          <a:xfrm>
            <a:off x="7896666" y="2595549"/>
            <a:ext cx="243779" cy="243840"/>
            <a:chOff x="6127203" y="3427839"/>
            <a:chExt cx="307164" cy="307160"/>
          </a:xfrm>
        </p:grpSpPr>
        <p:sp>
          <p:nvSpPr>
            <p:cNvPr id="348" name="Oval 347"/>
            <p:cNvSpPr/>
            <p:nvPr/>
          </p:nvSpPr>
          <p:spPr>
            <a:xfrm>
              <a:off x="6127203" y="3427839"/>
              <a:ext cx="307164" cy="307160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12700">
              <a:solidFill>
                <a:schemeClr val="accent1">
                  <a:lumMod val="60000"/>
                  <a:lumOff val="4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349" name="Freeform 129"/>
            <p:cNvSpPr>
              <a:spLocks noEditPoints="1"/>
            </p:cNvSpPr>
            <p:nvPr/>
          </p:nvSpPr>
          <p:spPr bwMode="auto">
            <a:xfrm>
              <a:off x="6194703" y="3496695"/>
              <a:ext cx="172165" cy="169448"/>
            </a:xfrm>
            <a:custGeom>
              <a:avLst/>
              <a:gdLst/>
              <a:ahLst/>
              <a:cxnLst>
                <a:cxn ang="0">
                  <a:pos x="196" y="90"/>
                </a:cxn>
                <a:cxn ang="0">
                  <a:pos x="193" y="70"/>
                </a:cxn>
                <a:cxn ang="0">
                  <a:pos x="189" y="67"/>
                </a:cxn>
                <a:cxn ang="0">
                  <a:pos x="175" y="66"/>
                </a:cxn>
                <a:cxn ang="0">
                  <a:pos x="164" y="47"/>
                </a:cxn>
                <a:cxn ang="0">
                  <a:pos x="170" y="33"/>
                </a:cxn>
                <a:cxn ang="0">
                  <a:pos x="169" y="29"/>
                </a:cxn>
                <a:cxn ang="0">
                  <a:pos x="153" y="16"/>
                </a:cxn>
                <a:cxn ang="0">
                  <a:pos x="149" y="16"/>
                </a:cxn>
                <a:cxn ang="0">
                  <a:pos x="137" y="24"/>
                </a:cxn>
                <a:cxn ang="0">
                  <a:pos x="116" y="16"/>
                </a:cxn>
                <a:cxn ang="0">
                  <a:pos x="112" y="2"/>
                </a:cxn>
                <a:cxn ang="0">
                  <a:pos x="108" y="0"/>
                </a:cxn>
                <a:cxn ang="0">
                  <a:pos x="88" y="0"/>
                </a:cxn>
                <a:cxn ang="0">
                  <a:pos x="85" y="2"/>
                </a:cxn>
                <a:cxn ang="0">
                  <a:pos x="81" y="16"/>
                </a:cxn>
                <a:cxn ang="0">
                  <a:pos x="60" y="24"/>
                </a:cxn>
                <a:cxn ang="0">
                  <a:pos x="48" y="16"/>
                </a:cxn>
                <a:cxn ang="0">
                  <a:pos x="43" y="16"/>
                </a:cxn>
                <a:cxn ang="0">
                  <a:pos x="28" y="29"/>
                </a:cxn>
                <a:cxn ang="0">
                  <a:pos x="27" y="33"/>
                </a:cxn>
                <a:cxn ang="0">
                  <a:pos x="33" y="47"/>
                </a:cxn>
                <a:cxn ang="0">
                  <a:pos x="21" y="66"/>
                </a:cxn>
                <a:cxn ang="0">
                  <a:pos x="7" y="67"/>
                </a:cxn>
                <a:cxn ang="0">
                  <a:pos x="4" y="70"/>
                </a:cxn>
                <a:cxn ang="0">
                  <a:pos x="0" y="90"/>
                </a:cxn>
                <a:cxn ang="0">
                  <a:pos x="2" y="94"/>
                </a:cxn>
                <a:cxn ang="0">
                  <a:pos x="15" y="101"/>
                </a:cxn>
                <a:cxn ang="0">
                  <a:pos x="19" y="123"/>
                </a:cxn>
                <a:cxn ang="0">
                  <a:pos x="9" y="133"/>
                </a:cxn>
                <a:cxn ang="0">
                  <a:pos x="9" y="137"/>
                </a:cxn>
                <a:cxn ang="0">
                  <a:pos x="19" y="155"/>
                </a:cxn>
                <a:cxn ang="0">
                  <a:pos x="23" y="157"/>
                </a:cxn>
                <a:cxn ang="0">
                  <a:pos x="37" y="153"/>
                </a:cxn>
                <a:cxn ang="0">
                  <a:pos x="54" y="167"/>
                </a:cxn>
                <a:cxn ang="0">
                  <a:pos x="53" y="182"/>
                </a:cxn>
                <a:cxn ang="0">
                  <a:pos x="55" y="186"/>
                </a:cxn>
                <a:cxn ang="0">
                  <a:pos x="74" y="193"/>
                </a:cxn>
                <a:cxn ang="0">
                  <a:pos x="78" y="191"/>
                </a:cxn>
                <a:cxn ang="0">
                  <a:pos x="87" y="179"/>
                </a:cxn>
                <a:cxn ang="0">
                  <a:pos x="98" y="180"/>
                </a:cxn>
                <a:cxn ang="0">
                  <a:pos x="109" y="179"/>
                </a:cxn>
                <a:cxn ang="0">
                  <a:pos x="118" y="191"/>
                </a:cxn>
                <a:cxn ang="0">
                  <a:pos x="122" y="193"/>
                </a:cxn>
                <a:cxn ang="0">
                  <a:pos x="141" y="186"/>
                </a:cxn>
                <a:cxn ang="0">
                  <a:pos x="144" y="182"/>
                </a:cxn>
                <a:cxn ang="0">
                  <a:pos x="142" y="167"/>
                </a:cxn>
                <a:cxn ang="0">
                  <a:pos x="160" y="153"/>
                </a:cxn>
                <a:cxn ang="0">
                  <a:pos x="174" y="157"/>
                </a:cxn>
                <a:cxn ang="0">
                  <a:pos x="178" y="155"/>
                </a:cxn>
                <a:cxn ang="0">
                  <a:pos x="188" y="137"/>
                </a:cxn>
                <a:cxn ang="0">
                  <a:pos x="187" y="133"/>
                </a:cxn>
                <a:cxn ang="0">
                  <a:pos x="177" y="123"/>
                </a:cxn>
                <a:cxn ang="0">
                  <a:pos x="181" y="101"/>
                </a:cxn>
                <a:cxn ang="0">
                  <a:pos x="194" y="94"/>
                </a:cxn>
                <a:cxn ang="0">
                  <a:pos x="196" y="90"/>
                </a:cxn>
                <a:cxn ang="0">
                  <a:pos x="98" y="127"/>
                </a:cxn>
                <a:cxn ang="0">
                  <a:pos x="69" y="97"/>
                </a:cxn>
                <a:cxn ang="0">
                  <a:pos x="98" y="68"/>
                </a:cxn>
                <a:cxn ang="0">
                  <a:pos x="128" y="97"/>
                </a:cxn>
                <a:cxn ang="0">
                  <a:pos x="98" y="127"/>
                </a:cxn>
              </a:cxnLst>
              <a:rect l="0" t="0" r="r" b="b"/>
              <a:pathLst>
                <a:path w="196" h="193">
                  <a:moveTo>
                    <a:pt x="196" y="90"/>
                  </a:moveTo>
                  <a:cubicBezTo>
                    <a:pt x="196" y="90"/>
                    <a:pt x="193" y="71"/>
                    <a:pt x="193" y="70"/>
                  </a:cubicBezTo>
                  <a:cubicBezTo>
                    <a:pt x="192" y="69"/>
                    <a:pt x="191" y="68"/>
                    <a:pt x="189" y="67"/>
                  </a:cubicBezTo>
                  <a:cubicBezTo>
                    <a:pt x="187" y="67"/>
                    <a:pt x="177" y="66"/>
                    <a:pt x="175" y="66"/>
                  </a:cubicBezTo>
                  <a:cubicBezTo>
                    <a:pt x="172" y="59"/>
                    <a:pt x="168" y="53"/>
                    <a:pt x="164" y="47"/>
                  </a:cubicBezTo>
                  <a:cubicBezTo>
                    <a:pt x="164" y="45"/>
                    <a:pt x="169" y="35"/>
                    <a:pt x="170" y="33"/>
                  </a:cubicBezTo>
                  <a:cubicBezTo>
                    <a:pt x="170" y="32"/>
                    <a:pt x="170" y="30"/>
                    <a:pt x="169" y="29"/>
                  </a:cubicBezTo>
                  <a:cubicBezTo>
                    <a:pt x="168" y="29"/>
                    <a:pt x="154" y="17"/>
                    <a:pt x="153" y="16"/>
                  </a:cubicBezTo>
                  <a:cubicBezTo>
                    <a:pt x="152" y="15"/>
                    <a:pt x="150" y="15"/>
                    <a:pt x="149" y="16"/>
                  </a:cubicBezTo>
                  <a:cubicBezTo>
                    <a:pt x="147" y="17"/>
                    <a:pt x="138" y="23"/>
                    <a:pt x="137" y="24"/>
                  </a:cubicBezTo>
                  <a:cubicBezTo>
                    <a:pt x="130" y="21"/>
                    <a:pt x="123" y="18"/>
                    <a:pt x="116" y="16"/>
                  </a:cubicBezTo>
                  <a:cubicBezTo>
                    <a:pt x="115" y="15"/>
                    <a:pt x="112" y="5"/>
                    <a:pt x="112" y="2"/>
                  </a:cubicBezTo>
                  <a:cubicBezTo>
                    <a:pt x="111" y="1"/>
                    <a:pt x="110" y="0"/>
                    <a:pt x="108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6" y="0"/>
                    <a:pt x="85" y="1"/>
                    <a:pt x="85" y="2"/>
                  </a:cubicBezTo>
                  <a:cubicBezTo>
                    <a:pt x="84" y="5"/>
                    <a:pt x="81" y="15"/>
                    <a:pt x="81" y="16"/>
                  </a:cubicBezTo>
                  <a:cubicBezTo>
                    <a:pt x="73" y="18"/>
                    <a:pt x="66" y="21"/>
                    <a:pt x="60" y="24"/>
                  </a:cubicBezTo>
                  <a:cubicBezTo>
                    <a:pt x="58" y="23"/>
                    <a:pt x="49" y="17"/>
                    <a:pt x="48" y="16"/>
                  </a:cubicBezTo>
                  <a:cubicBezTo>
                    <a:pt x="46" y="15"/>
                    <a:pt x="45" y="15"/>
                    <a:pt x="43" y="16"/>
                  </a:cubicBezTo>
                  <a:cubicBezTo>
                    <a:pt x="43" y="17"/>
                    <a:pt x="28" y="29"/>
                    <a:pt x="28" y="29"/>
                  </a:cubicBezTo>
                  <a:cubicBezTo>
                    <a:pt x="26" y="30"/>
                    <a:pt x="26" y="32"/>
                    <a:pt x="27" y="33"/>
                  </a:cubicBezTo>
                  <a:cubicBezTo>
                    <a:pt x="28" y="36"/>
                    <a:pt x="32" y="45"/>
                    <a:pt x="33" y="47"/>
                  </a:cubicBezTo>
                  <a:cubicBezTo>
                    <a:pt x="28" y="53"/>
                    <a:pt x="24" y="59"/>
                    <a:pt x="21" y="66"/>
                  </a:cubicBezTo>
                  <a:cubicBezTo>
                    <a:pt x="20" y="66"/>
                    <a:pt x="9" y="67"/>
                    <a:pt x="7" y="67"/>
                  </a:cubicBezTo>
                  <a:cubicBezTo>
                    <a:pt x="6" y="68"/>
                    <a:pt x="4" y="69"/>
                    <a:pt x="4" y="70"/>
                  </a:cubicBezTo>
                  <a:cubicBezTo>
                    <a:pt x="4" y="71"/>
                    <a:pt x="0" y="90"/>
                    <a:pt x="0" y="90"/>
                  </a:cubicBezTo>
                  <a:cubicBezTo>
                    <a:pt x="0" y="92"/>
                    <a:pt x="1" y="94"/>
                    <a:pt x="2" y="94"/>
                  </a:cubicBezTo>
                  <a:cubicBezTo>
                    <a:pt x="4" y="95"/>
                    <a:pt x="14" y="100"/>
                    <a:pt x="15" y="101"/>
                  </a:cubicBezTo>
                  <a:cubicBezTo>
                    <a:pt x="16" y="108"/>
                    <a:pt x="17" y="116"/>
                    <a:pt x="19" y="123"/>
                  </a:cubicBezTo>
                  <a:cubicBezTo>
                    <a:pt x="18" y="124"/>
                    <a:pt x="11" y="131"/>
                    <a:pt x="9" y="133"/>
                  </a:cubicBezTo>
                  <a:cubicBezTo>
                    <a:pt x="8" y="134"/>
                    <a:pt x="8" y="136"/>
                    <a:pt x="9" y="137"/>
                  </a:cubicBezTo>
                  <a:cubicBezTo>
                    <a:pt x="9" y="138"/>
                    <a:pt x="18" y="154"/>
                    <a:pt x="19" y="155"/>
                  </a:cubicBezTo>
                  <a:cubicBezTo>
                    <a:pt x="20" y="157"/>
                    <a:pt x="21" y="157"/>
                    <a:pt x="23" y="157"/>
                  </a:cubicBezTo>
                  <a:cubicBezTo>
                    <a:pt x="25" y="156"/>
                    <a:pt x="35" y="154"/>
                    <a:pt x="37" y="153"/>
                  </a:cubicBezTo>
                  <a:cubicBezTo>
                    <a:pt x="42" y="159"/>
                    <a:pt x="48" y="163"/>
                    <a:pt x="54" y="167"/>
                  </a:cubicBezTo>
                  <a:cubicBezTo>
                    <a:pt x="54" y="169"/>
                    <a:pt x="53" y="180"/>
                    <a:pt x="53" y="182"/>
                  </a:cubicBezTo>
                  <a:cubicBezTo>
                    <a:pt x="53" y="183"/>
                    <a:pt x="53" y="185"/>
                    <a:pt x="55" y="186"/>
                  </a:cubicBezTo>
                  <a:cubicBezTo>
                    <a:pt x="56" y="186"/>
                    <a:pt x="74" y="192"/>
                    <a:pt x="74" y="193"/>
                  </a:cubicBezTo>
                  <a:cubicBezTo>
                    <a:pt x="76" y="193"/>
                    <a:pt x="78" y="193"/>
                    <a:pt x="78" y="191"/>
                  </a:cubicBezTo>
                  <a:cubicBezTo>
                    <a:pt x="80" y="189"/>
                    <a:pt x="86" y="181"/>
                    <a:pt x="87" y="179"/>
                  </a:cubicBezTo>
                  <a:cubicBezTo>
                    <a:pt x="91" y="180"/>
                    <a:pt x="94" y="180"/>
                    <a:pt x="98" y="180"/>
                  </a:cubicBezTo>
                  <a:cubicBezTo>
                    <a:pt x="102" y="180"/>
                    <a:pt x="106" y="180"/>
                    <a:pt x="109" y="179"/>
                  </a:cubicBezTo>
                  <a:cubicBezTo>
                    <a:pt x="110" y="181"/>
                    <a:pt x="117" y="189"/>
                    <a:pt x="118" y="191"/>
                  </a:cubicBezTo>
                  <a:cubicBezTo>
                    <a:pt x="119" y="192"/>
                    <a:pt x="120" y="193"/>
                    <a:pt x="122" y="193"/>
                  </a:cubicBezTo>
                  <a:cubicBezTo>
                    <a:pt x="123" y="192"/>
                    <a:pt x="140" y="186"/>
                    <a:pt x="141" y="186"/>
                  </a:cubicBezTo>
                  <a:cubicBezTo>
                    <a:pt x="143" y="185"/>
                    <a:pt x="144" y="183"/>
                    <a:pt x="144" y="182"/>
                  </a:cubicBezTo>
                  <a:cubicBezTo>
                    <a:pt x="143" y="180"/>
                    <a:pt x="143" y="169"/>
                    <a:pt x="142" y="167"/>
                  </a:cubicBezTo>
                  <a:cubicBezTo>
                    <a:pt x="149" y="163"/>
                    <a:pt x="155" y="159"/>
                    <a:pt x="160" y="153"/>
                  </a:cubicBezTo>
                  <a:cubicBezTo>
                    <a:pt x="161" y="154"/>
                    <a:pt x="171" y="156"/>
                    <a:pt x="174" y="157"/>
                  </a:cubicBezTo>
                  <a:cubicBezTo>
                    <a:pt x="175" y="157"/>
                    <a:pt x="177" y="157"/>
                    <a:pt x="178" y="155"/>
                  </a:cubicBezTo>
                  <a:cubicBezTo>
                    <a:pt x="178" y="154"/>
                    <a:pt x="187" y="138"/>
                    <a:pt x="188" y="137"/>
                  </a:cubicBezTo>
                  <a:cubicBezTo>
                    <a:pt x="189" y="136"/>
                    <a:pt x="188" y="134"/>
                    <a:pt x="187" y="133"/>
                  </a:cubicBezTo>
                  <a:cubicBezTo>
                    <a:pt x="186" y="131"/>
                    <a:pt x="178" y="124"/>
                    <a:pt x="177" y="123"/>
                  </a:cubicBezTo>
                  <a:cubicBezTo>
                    <a:pt x="179" y="116"/>
                    <a:pt x="181" y="108"/>
                    <a:pt x="181" y="101"/>
                  </a:cubicBezTo>
                  <a:cubicBezTo>
                    <a:pt x="183" y="100"/>
                    <a:pt x="192" y="95"/>
                    <a:pt x="194" y="94"/>
                  </a:cubicBezTo>
                  <a:cubicBezTo>
                    <a:pt x="195" y="94"/>
                    <a:pt x="196" y="92"/>
                    <a:pt x="196" y="90"/>
                  </a:cubicBezTo>
                  <a:close/>
                  <a:moveTo>
                    <a:pt x="98" y="127"/>
                  </a:moveTo>
                  <a:cubicBezTo>
                    <a:pt x="82" y="127"/>
                    <a:pt x="69" y="114"/>
                    <a:pt x="69" y="97"/>
                  </a:cubicBezTo>
                  <a:cubicBezTo>
                    <a:pt x="69" y="81"/>
                    <a:pt x="82" y="68"/>
                    <a:pt x="98" y="68"/>
                  </a:cubicBezTo>
                  <a:cubicBezTo>
                    <a:pt x="115" y="68"/>
                    <a:pt x="128" y="81"/>
                    <a:pt x="128" y="97"/>
                  </a:cubicBezTo>
                  <a:cubicBezTo>
                    <a:pt x="128" y="114"/>
                    <a:pt x="115" y="127"/>
                    <a:pt x="98" y="12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08404" fontAlgn="auto">
                <a:spcBef>
                  <a:spcPts val="0"/>
                </a:spcBef>
                <a:spcAft>
                  <a:spcPts val="0"/>
                </a:spcAft>
              </a:pPr>
              <a:endParaRPr lang="en-US" sz="2400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endParaRPr>
            </a:p>
          </p:txBody>
        </p:sp>
      </p:grpSp>
      <p:cxnSp>
        <p:nvCxnSpPr>
          <p:cNvPr id="350" name="Straight Connector 349"/>
          <p:cNvCxnSpPr>
            <a:stCxn id="348" idx="4"/>
          </p:cNvCxnSpPr>
          <p:nvPr/>
        </p:nvCxnSpPr>
        <p:spPr bwMode="auto">
          <a:xfrm flipH="1">
            <a:off x="7026664" y="2839391"/>
            <a:ext cx="991892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3" name="Straight Connector 352"/>
          <p:cNvCxnSpPr>
            <a:stCxn id="345" idx="4"/>
          </p:cNvCxnSpPr>
          <p:nvPr/>
        </p:nvCxnSpPr>
        <p:spPr bwMode="auto">
          <a:xfrm flipH="1">
            <a:off x="7026665" y="2839391"/>
            <a:ext cx="466576" cy="939124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6" name="Straight Connector 355"/>
          <p:cNvCxnSpPr>
            <a:stCxn id="345" idx="4"/>
          </p:cNvCxnSpPr>
          <p:nvPr/>
        </p:nvCxnSpPr>
        <p:spPr bwMode="auto">
          <a:xfrm flipH="1">
            <a:off x="7488234" y="2839420"/>
            <a:ext cx="5004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9" name="Straight Connector 358"/>
          <p:cNvCxnSpPr>
            <a:stCxn id="348" idx="4"/>
          </p:cNvCxnSpPr>
          <p:nvPr/>
        </p:nvCxnSpPr>
        <p:spPr bwMode="auto">
          <a:xfrm flipH="1">
            <a:off x="7488236" y="2839420"/>
            <a:ext cx="530321" cy="1191151"/>
          </a:xfrm>
          <a:prstGeom prst="line">
            <a:avLst/>
          </a:prstGeom>
          <a:solidFill>
            <a:srgbClr val="0183B7"/>
          </a:solidFill>
          <a:ln w="3175" cap="flat" cmpd="sng" algn="ctr">
            <a:solidFill>
              <a:srgbClr val="9A9B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42" name="Group 141"/>
          <p:cNvGrpSpPr/>
          <p:nvPr/>
        </p:nvGrpSpPr>
        <p:grpSpPr>
          <a:xfrm>
            <a:off x="6503429" y="5449573"/>
            <a:ext cx="485154" cy="476165"/>
            <a:chOff x="4517870" y="2651692"/>
            <a:chExt cx="615327" cy="603769"/>
          </a:xfrm>
        </p:grpSpPr>
        <p:pic>
          <p:nvPicPr>
            <p:cNvPr id="146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47" name="Group 146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48" name="Hexagon 147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149" name="TextBox 148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grpSp>
        <p:nvGrpSpPr>
          <p:cNvPr id="178" name="Group 177"/>
          <p:cNvGrpSpPr/>
          <p:nvPr/>
        </p:nvGrpSpPr>
        <p:grpSpPr>
          <a:xfrm>
            <a:off x="4740054" y="4477861"/>
            <a:ext cx="485154" cy="476165"/>
            <a:chOff x="4517870" y="2651692"/>
            <a:chExt cx="615327" cy="603769"/>
          </a:xfrm>
        </p:grpSpPr>
        <p:pic>
          <p:nvPicPr>
            <p:cNvPr id="182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83" name="Group 182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84" name="Hexagon 183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185" name="TextBox 184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grpSp>
        <p:nvGrpSpPr>
          <p:cNvPr id="196" name="Group 195"/>
          <p:cNvGrpSpPr/>
          <p:nvPr/>
        </p:nvGrpSpPr>
        <p:grpSpPr>
          <a:xfrm>
            <a:off x="9733711" y="5453873"/>
            <a:ext cx="485154" cy="476165"/>
            <a:chOff x="4517870" y="2651692"/>
            <a:chExt cx="615327" cy="603769"/>
          </a:xfrm>
        </p:grpSpPr>
        <p:pic>
          <p:nvPicPr>
            <p:cNvPr id="20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201" name="Group 200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202" name="Hexagon 201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203" name="TextBox 202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grpSp>
        <p:nvGrpSpPr>
          <p:cNvPr id="270" name="Group 269"/>
          <p:cNvGrpSpPr/>
          <p:nvPr/>
        </p:nvGrpSpPr>
        <p:grpSpPr>
          <a:xfrm>
            <a:off x="11441108" y="4478969"/>
            <a:ext cx="485154" cy="476165"/>
            <a:chOff x="4517870" y="2651692"/>
            <a:chExt cx="615327" cy="603769"/>
          </a:xfrm>
        </p:grpSpPr>
        <p:pic>
          <p:nvPicPr>
            <p:cNvPr id="274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275" name="Group 274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276" name="Hexagon 275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278" name="TextBox 277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cxnSp>
        <p:nvCxnSpPr>
          <p:cNvPr id="104" name="Curved Connector 103"/>
          <p:cNvCxnSpPr/>
          <p:nvPr/>
        </p:nvCxnSpPr>
        <p:spPr bwMode="auto">
          <a:xfrm rot="16200000" flipV="1">
            <a:off x="8464764" y="2745453"/>
            <a:ext cx="12005" cy="2405645"/>
          </a:xfrm>
          <a:prstGeom prst="curvedConnector3">
            <a:avLst>
              <a:gd name="adj1" fmla="val 16365482"/>
            </a:avLst>
          </a:prstGeom>
          <a:noFill/>
          <a:ln w="38100" cap="rnd" cmpd="sng" algn="ctr">
            <a:solidFill>
              <a:schemeClr val="accent4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</p:cxnSp>
      <p:sp>
        <p:nvSpPr>
          <p:cNvPr id="124" name="Rectangle 123"/>
          <p:cNvSpPr/>
          <p:nvPr/>
        </p:nvSpPr>
        <p:spPr>
          <a:xfrm>
            <a:off x="6617511" y="3705633"/>
            <a:ext cx="1278619" cy="816687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  <a:scene3d>
            <a:camera prst="isometricBottomDown"/>
            <a:lightRig rig="threePt" dir="t"/>
          </a:scene3d>
        </p:spPr>
        <p:txBody>
          <a:bodyPr lIns="91344" tIns="45673" rIns="91344" bIns="45673" rtlCol="0" anchor="b"/>
          <a:lstStyle/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err="1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pc</a:t>
            </a: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125" name="Group 124"/>
          <p:cNvGrpSpPr/>
          <p:nvPr/>
        </p:nvGrpSpPr>
        <p:grpSpPr>
          <a:xfrm>
            <a:off x="6809838" y="3491638"/>
            <a:ext cx="485154" cy="613963"/>
            <a:chOff x="5197809" y="1470085"/>
            <a:chExt cx="615327" cy="778494"/>
          </a:xfrm>
        </p:grpSpPr>
        <p:grpSp>
          <p:nvGrpSpPr>
            <p:cNvPr id="126" name="Group 125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30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31" name="Group 130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32" name="Hexagon 131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33" name="TextBox 132"/>
                <p:cNvSpPr txBox="1"/>
                <p:nvPr/>
              </p:nvSpPr>
              <p:spPr>
                <a:xfrm>
                  <a:off x="324182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27" name="Group 126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28" name="Oval 127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9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134" name="Group 133"/>
          <p:cNvGrpSpPr/>
          <p:nvPr/>
        </p:nvGrpSpPr>
        <p:grpSpPr>
          <a:xfrm>
            <a:off x="7270076" y="3743662"/>
            <a:ext cx="485154" cy="613963"/>
            <a:chOff x="5197809" y="1470085"/>
            <a:chExt cx="615327" cy="778494"/>
          </a:xfrm>
        </p:grpSpPr>
        <p:grpSp>
          <p:nvGrpSpPr>
            <p:cNvPr id="135" name="Group 134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39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40" name="Group 139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50" name="Hexagon 149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51" name="TextBox 150"/>
                <p:cNvSpPr txBox="1"/>
                <p:nvPr/>
              </p:nvSpPr>
              <p:spPr>
                <a:xfrm>
                  <a:off x="3243514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36" name="Group 135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37" name="Oval 136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152" name="Rectangle 151"/>
          <p:cNvSpPr/>
          <p:nvPr/>
        </p:nvSpPr>
        <p:spPr>
          <a:xfrm>
            <a:off x="8944519" y="3706745"/>
            <a:ext cx="1278619" cy="816687"/>
          </a:xfrm>
          <a:prstGeom prst="rect">
            <a:avLst/>
          </a:prstGeom>
          <a:noFill/>
          <a:ln w="317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  <a:scene3d>
            <a:camera prst="isometricTopUp"/>
            <a:lightRig rig="threePt" dir="t"/>
          </a:scene3d>
        </p:spPr>
        <p:txBody>
          <a:bodyPr lIns="91344" tIns="45673" rIns="91344" bIns="45673" rtlCol="0" anchor="b"/>
          <a:lstStyle/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r>
              <a:rPr lang="en-US" sz="1300" dirty="0" err="1">
                <a:solidFill>
                  <a:srgbClr val="000000"/>
                </a:solidFill>
                <a:latin typeface="Arial"/>
                <a:ea typeface="Apple LiGothic Medium"/>
                <a:cs typeface="Apple LiGothic Medium"/>
              </a:rPr>
              <a:t>vpc</a:t>
            </a: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  <a:p>
            <a:pPr defTabSz="1623196" fontAlgn="auto">
              <a:spcBef>
                <a:spcPts val="0"/>
              </a:spcBef>
              <a:spcAft>
                <a:spcPts val="0"/>
              </a:spcAft>
            </a:pPr>
            <a:endParaRPr lang="en-US" sz="1300" dirty="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153" name="Group 152"/>
          <p:cNvGrpSpPr/>
          <p:nvPr/>
        </p:nvGrpSpPr>
        <p:grpSpPr>
          <a:xfrm>
            <a:off x="9191455" y="3772082"/>
            <a:ext cx="485154" cy="613963"/>
            <a:chOff x="5197809" y="1470085"/>
            <a:chExt cx="615327" cy="778494"/>
          </a:xfrm>
        </p:grpSpPr>
        <p:grpSp>
          <p:nvGrpSpPr>
            <p:cNvPr id="154" name="Group 153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58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68" name="Group 167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69" name="Hexagon 168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70" name="TextBox 169"/>
                <p:cNvSpPr txBox="1"/>
                <p:nvPr/>
              </p:nvSpPr>
              <p:spPr>
                <a:xfrm>
                  <a:off x="3241821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55" name="Group 154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56" name="Oval 155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7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grpSp>
        <p:nvGrpSpPr>
          <p:cNvPr id="171" name="Group 170"/>
          <p:cNvGrpSpPr/>
          <p:nvPr/>
        </p:nvGrpSpPr>
        <p:grpSpPr>
          <a:xfrm>
            <a:off x="9660794" y="3491638"/>
            <a:ext cx="485154" cy="613963"/>
            <a:chOff x="5197809" y="1470085"/>
            <a:chExt cx="615327" cy="778494"/>
          </a:xfrm>
        </p:grpSpPr>
        <p:grpSp>
          <p:nvGrpSpPr>
            <p:cNvPr id="172" name="Group 171"/>
            <p:cNvGrpSpPr/>
            <p:nvPr/>
          </p:nvGrpSpPr>
          <p:grpSpPr>
            <a:xfrm>
              <a:off x="5197809" y="1644810"/>
              <a:ext cx="615327" cy="603769"/>
              <a:chOff x="4517870" y="2651692"/>
              <a:chExt cx="615327" cy="603769"/>
            </a:xfrm>
          </p:grpSpPr>
          <p:pic>
            <p:nvPicPr>
              <p:cNvPr id="176" name="Picture 30" descr="\\MV-FS\Projects\Cisco\References\Brand Assets\Kubrick Icons\Device Icons\Device_nexus7000_3035_default_256.png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4517870" y="2651692"/>
                <a:ext cx="615327" cy="603769"/>
              </a:xfrm>
              <a:prstGeom prst="rect">
                <a:avLst/>
              </a:prstGeom>
              <a:noFill/>
            </p:spPr>
          </p:pic>
          <p:grpSp>
            <p:nvGrpSpPr>
              <p:cNvPr id="186" name="Group 185"/>
              <p:cNvGrpSpPr/>
              <p:nvPr/>
            </p:nvGrpSpPr>
            <p:grpSpPr>
              <a:xfrm>
                <a:off x="4670085" y="2798128"/>
                <a:ext cx="310896" cy="310896"/>
                <a:chOff x="3200400" y="3562350"/>
                <a:chExt cx="310896" cy="310896"/>
              </a:xfrm>
            </p:grpSpPr>
            <p:sp>
              <p:nvSpPr>
                <p:cNvPr id="187" name="Hexagon 186"/>
                <p:cNvSpPr/>
                <p:nvPr/>
              </p:nvSpPr>
              <p:spPr bwMode="auto">
                <a:xfrm>
                  <a:off x="3200400" y="3562350"/>
                  <a:ext cx="310896" cy="310896"/>
                </a:xfrm>
                <a:prstGeom prst="hexagon">
                  <a:avLst/>
                </a:prstGeom>
                <a:solidFill>
                  <a:schemeClr val="accent3">
                    <a:lumMod val="40000"/>
                    <a:lumOff val="60000"/>
                  </a:schemeClr>
                </a:solidFill>
                <a:ln w="12700">
                  <a:solidFill>
                    <a:schemeClr val="accent3">
                      <a:lumMod val="75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608404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600" b="1" dirty="0" err="1">
                    <a:solidFill>
                      <a:srgbClr val="FFFFFF"/>
                    </a:solidFill>
                    <a:sym typeface="Arial" pitchFamily="-107" charset="0"/>
                  </a:endParaRPr>
                </a:p>
              </p:txBody>
            </p:sp>
            <p:sp>
              <p:nvSpPr>
                <p:cNvPr id="188" name="TextBox 187"/>
                <p:cNvSpPr txBox="1"/>
                <p:nvPr/>
              </p:nvSpPr>
              <p:spPr>
                <a:xfrm>
                  <a:off x="3243514" y="3604945"/>
                  <a:ext cx="162728" cy="26830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algn="ctr" defTabSz="608404" fontAlgn="auto">
                    <a:lnSpc>
                      <a:spcPct val="90000"/>
                    </a:lnSpc>
                    <a:spcBef>
                      <a:spcPts val="800"/>
                    </a:spcBef>
                    <a:spcAft>
                      <a:spcPts val="0"/>
                    </a:spcAft>
                  </a:pPr>
                  <a:r>
                    <a:rPr lang="en-US" sz="1500" b="1" dirty="0">
                      <a:solidFill>
                        <a:srgbClr val="FFFFFF"/>
                      </a:solidFill>
                      <a:latin typeface="Arial"/>
                      <a:ea typeface="Apple LiGothic Medium"/>
                      <a:cs typeface="Arial"/>
                    </a:rPr>
                    <a:t>V</a:t>
                  </a:r>
                  <a:endParaRPr lang="en-US" sz="1500" b="1" baseline="30000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endParaRPr>
                </a:p>
              </p:txBody>
            </p:sp>
          </p:grpSp>
        </p:grpSp>
        <p:grpSp>
          <p:nvGrpSpPr>
            <p:cNvPr id="173" name="Group 172"/>
            <p:cNvGrpSpPr/>
            <p:nvPr/>
          </p:nvGrpSpPr>
          <p:grpSpPr>
            <a:xfrm>
              <a:off x="5354783" y="1470085"/>
              <a:ext cx="307164" cy="307160"/>
              <a:chOff x="3352800" y="3943350"/>
              <a:chExt cx="307164" cy="307160"/>
            </a:xfrm>
          </p:grpSpPr>
          <p:sp>
            <p:nvSpPr>
              <p:cNvPr id="174" name="Oval 173"/>
              <p:cNvSpPr/>
              <p:nvPr/>
            </p:nvSpPr>
            <p:spPr>
              <a:xfrm>
                <a:off x="3352800" y="3943350"/>
                <a:ext cx="307164" cy="307160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Freeform 129"/>
              <p:cNvSpPr>
                <a:spLocks noEditPoints="1"/>
              </p:cNvSpPr>
              <p:nvPr/>
            </p:nvSpPr>
            <p:spPr bwMode="auto">
              <a:xfrm>
                <a:off x="3420300" y="4012206"/>
                <a:ext cx="172165" cy="169448"/>
              </a:xfrm>
              <a:custGeom>
                <a:avLst/>
                <a:gdLst/>
                <a:ahLst/>
                <a:cxnLst>
                  <a:cxn ang="0">
                    <a:pos x="196" y="90"/>
                  </a:cxn>
                  <a:cxn ang="0">
                    <a:pos x="193" y="70"/>
                  </a:cxn>
                  <a:cxn ang="0">
                    <a:pos x="189" y="67"/>
                  </a:cxn>
                  <a:cxn ang="0">
                    <a:pos x="175" y="66"/>
                  </a:cxn>
                  <a:cxn ang="0">
                    <a:pos x="164" y="47"/>
                  </a:cxn>
                  <a:cxn ang="0">
                    <a:pos x="170" y="33"/>
                  </a:cxn>
                  <a:cxn ang="0">
                    <a:pos x="169" y="29"/>
                  </a:cxn>
                  <a:cxn ang="0">
                    <a:pos x="153" y="16"/>
                  </a:cxn>
                  <a:cxn ang="0">
                    <a:pos x="149" y="16"/>
                  </a:cxn>
                  <a:cxn ang="0">
                    <a:pos x="137" y="24"/>
                  </a:cxn>
                  <a:cxn ang="0">
                    <a:pos x="116" y="16"/>
                  </a:cxn>
                  <a:cxn ang="0">
                    <a:pos x="112" y="2"/>
                  </a:cxn>
                  <a:cxn ang="0">
                    <a:pos x="108" y="0"/>
                  </a:cxn>
                  <a:cxn ang="0">
                    <a:pos x="88" y="0"/>
                  </a:cxn>
                  <a:cxn ang="0">
                    <a:pos x="85" y="2"/>
                  </a:cxn>
                  <a:cxn ang="0">
                    <a:pos x="81" y="16"/>
                  </a:cxn>
                  <a:cxn ang="0">
                    <a:pos x="60" y="24"/>
                  </a:cxn>
                  <a:cxn ang="0">
                    <a:pos x="48" y="16"/>
                  </a:cxn>
                  <a:cxn ang="0">
                    <a:pos x="43" y="16"/>
                  </a:cxn>
                  <a:cxn ang="0">
                    <a:pos x="28" y="29"/>
                  </a:cxn>
                  <a:cxn ang="0">
                    <a:pos x="27" y="33"/>
                  </a:cxn>
                  <a:cxn ang="0">
                    <a:pos x="33" y="47"/>
                  </a:cxn>
                  <a:cxn ang="0">
                    <a:pos x="21" y="66"/>
                  </a:cxn>
                  <a:cxn ang="0">
                    <a:pos x="7" y="67"/>
                  </a:cxn>
                  <a:cxn ang="0">
                    <a:pos x="4" y="70"/>
                  </a:cxn>
                  <a:cxn ang="0">
                    <a:pos x="0" y="90"/>
                  </a:cxn>
                  <a:cxn ang="0">
                    <a:pos x="2" y="94"/>
                  </a:cxn>
                  <a:cxn ang="0">
                    <a:pos x="15" y="101"/>
                  </a:cxn>
                  <a:cxn ang="0">
                    <a:pos x="19" y="123"/>
                  </a:cxn>
                  <a:cxn ang="0">
                    <a:pos x="9" y="133"/>
                  </a:cxn>
                  <a:cxn ang="0">
                    <a:pos x="9" y="137"/>
                  </a:cxn>
                  <a:cxn ang="0">
                    <a:pos x="19" y="155"/>
                  </a:cxn>
                  <a:cxn ang="0">
                    <a:pos x="23" y="157"/>
                  </a:cxn>
                  <a:cxn ang="0">
                    <a:pos x="37" y="153"/>
                  </a:cxn>
                  <a:cxn ang="0">
                    <a:pos x="54" y="167"/>
                  </a:cxn>
                  <a:cxn ang="0">
                    <a:pos x="53" y="182"/>
                  </a:cxn>
                  <a:cxn ang="0">
                    <a:pos x="55" y="186"/>
                  </a:cxn>
                  <a:cxn ang="0">
                    <a:pos x="74" y="193"/>
                  </a:cxn>
                  <a:cxn ang="0">
                    <a:pos x="78" y="191"/>
                  </a:cxn>
                  <a:cxn ang="0">
                    <a:pos x="87" y="179"/>
                  </a:cxn>
                  <a:cxn ang="0">
                    <a:pos x="98" y="180"/>
                  </a:cxn>
                  <a:cxn ang="0">
                    <a:pos x="109" y="179"/>
                  </a:cxn>
                  <a:cxn ang="0">
                    <a:pos x="118" y="191"/>
                  </a:cxn>
                  <a:cxn ang="0">
                    <a:pos x="122" y="193"/>
                  </a:cxn>
                  <a:cxn ang="0">
                    <a:pos x="141" y="186"/>
                  </a:cxn>
                  <a:cxn ang="0">
                    <a:pos x="144" y="182"/>
                  </a:cxn>
                  <a:cxn ang="0">
                    <a:pos x="142" y="167"/>
                  </a:cxn>
                  <a:cxn ang="0">
                    <a:pos x="160" y="153"/>
                  </a:cxn>
                  <a:cxn ang="0">
                    <a:pos x="174" y="157"/>
                  </a:cxn>
                  <a:cxn ang="0">
                    <a:pos x="178" y="155"/>
                  </a:cxn>
                  <a:cxn ang="0">
                    <a:pos x="188" y="137"/>
                  </a:cxn>
                  <a:cxn ang="0">
                    <a:pos x="187" y="133"/>
                  </a:cxn>
                  <a:cxn ang="0">
                    <a:pos x="177" y="123"/>
                  </a:cxn>
                  <a:cxn ang="0">
                    <a:pos x="181" y="101"/>
                  </a:cxn>
                  <a:cxn ang="0">
                    <a:pos x="194" y="94"/>
                  </a:cxn>
                  <a:cxn ang="0">
                    <a:pos x="196" y="90"/>
                  </a:cxn>
                  <a:cxn ang="0">
                    <a:pos x="98" y="127"/>
                  </a:cxn>
                  <a:cxn ang="0">
                    <a:pos x="69" y="97"/>
                  </a:cxn>
                  <a:cxn ang="0">
                    <a:pos x="98" y="68"/>
                  </a:cxn>
                  <a:cxn ang="0">
                    <a:pos x="128" y="97"/>
                  </a:cxn>
                  <a:cxn ang="0">
                    <a:pos x="98" y="127"/>
                  </a:cxn>
                </a:cxnLst>
                <a:rect l="0" t="0" r="r" b="b"/>
                <a:pathLst>
                  <a:path w="196" h="193">
                    <a:moveTo>
                      <a:pt x="196" y="90"/>
                    </a:moveTo>
                    <a:cubicBezTo>
                      <a:pt x="196" y="90"/>
                      <a:pt x="193" y="71"/>
                      <a:pt x="193" y="70"/>
                    </a:cubicBezTo>
                    <a:cubicBezTo>
                      <a:pt x="192" y="69"/>
                      <a:pt x="191" y="68"/>
                      <a:pt x="189" y="67"/>
                    </a:cubicBezTo>
                    <a:cubicBezTo>
                      <a:pt x="187" y="67"/>
                      <a:pt x="177" y="66"/>
                      <a:pt x="175" y="66"/>
                    </a:cubicBezTo>
                    <a:cubicBezTo>
                      <a:pt x="172" y="59"/>
                      <a:pt x="168" y="53"/>
                      <a:pt x="164" y="47"/>
                    </a:cubicBezTo>
                    <a:cubicBezTo>
                      <a:pt x="164" y="45"/>
                      <a:pt x="169" y="35"/>
                      <a:pt x="170" y="33"/>
                    </a:cubicBezTo>
                    <a:cubicBezTo>
                      <a:pt x="170" y="32"/>
                      <a:pt x="170" y="30"/>
                      <a:pt x="169" y="29"/>
                    </a:cubicBezTo>
                    <a:cubicBezTo>
                      <a:pt x="168" y="29"/>
                      <a:pt x="154" y="17"/>
                      <a:pt x="153" y="16"/>
                    </a:cubicBezTo>
                    <a:cubicBezTo>
                      <a:pt x="152" y="15"/>
                      <a:pt x="150" y="15"/>
                      <a:pt x="149" y="16"/>
                    </a:cubicBezTo>
                    <a:cubicBezTo>
                      <a:pt x="147" y="17"/>
                      <a:pt x="138" y="23"/>
                      <a:pt x="137" y="24"/>
                    </a:cubicBezTo>
                    <a:cubicBezTo>
                      <a:pt x="130" y="21"/>
                      <a:pt x="123" y="18"/>
                      <a:pt x="116" y="16"/>
                    </a:cubicBezTo>
                    <a:cubicBezTo>
                      <a:pt x="115" y="15"/>
                      <a:pt x="112" y="5"/>
                      <a:pt x="112" y="2"/>
                    </a:cubicBezTo>
                    <a:cubicBezTo>
                      <a:pt x="111" y="1"/>
                      <a:pt x="110" y="0"/>
                      <a:pt x="108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6" y="0"/>
                      <a:pt x="85" y="1"/>
                      <a:pt x="85" y="2"/>
                    </a:cubicBezTo>
                    <a:cubicBezTo>
                      <a:pt x="84" y="5"/>
                      <a:pt x="81" y="15"/>
                      <a:pt x="81" y="16"/>
                    </a:cubicBezTo>
                    <a:cubicBezTo>
                      <a:pt x="73" y="18"/>
                      <a:pt x="66" y="21"/>
                      <a:pt x="60" y="24"/>
                    </a:cubicBezTo>
                    <a:cubicBezTo>
                      <a:pt x="58" y="23"/>
                      <a:pt x="49" y="17"/>
                      <a:pt x="48" y="16"/>
                    </a:cubicBezTo>
                    <a:cubicBezTo>
                      <a:pt x="46" y="15"/>
                      <a:pt x="45" y="15"/>
                      <a:pt x="43" y="16"/>
                    </a:cubicBezTo>
                    <a:cubicBezTo>
                      <a:pt x="43" y="17"/>
                      <a:pt x="28" y="29"/>
                      <a:pt x="28" y="29"/>
                    </a:cubicBezTo>
                    <a:cubicBezTo>
                      <a:pt x="26" y="30"/>
                      <a:pt x="26" y="32"/>
                      <a:pt x="27" y="33"/>
                    </a:cubicBezTo>
                    <a:cubicBezTo>
                      <a:pt x="28" y="36"/>
                      <a:pt x="32" y="45"/>
                      <a:pt x="33" y="47"/>
                    </a:cubicBezTo>
                    <a:cubicBezTo>
                      <a:pt x="28" y="53"/>
                      <a:pt x="24" y="59"/>
                      <a:pt x="21" y="66"/>
                    </a:cubicBezTo>
                    <a:cubicBezTo>
                      <a:pt x="20" y="66"/>
                      <a:pt x="9" y="67"/>
                      <a:pt x="7" y="67"/>
                    </a:cubicBezTo>
                    <a:cubicBezTo>
                      <a:pt x="6" y="68"/>
                      <a:pt x="4" y="69"/>
                      <a:pt x="4" y="70"/>
                    </a:cubicBezTo>
                    <a:cubicBezTo>
                      <a:pt x="4" y="71"/>
                      <a:pt x="0" y="90"/>
                      <a:pt x="0" y="90"/>
                    </a:cubicBezTo>
                    <a:cubicBezTo>
                      <a:pt x="0" y="92"/>
                      <a:pt x="1" y="94"/>
                      <a:pt x="2" y="94"/>
                    </a:cubicBezTo>
                    <a:cubicBezTo>
                      <a:pt x="4" y="95"/>
                      <a:pt x="14" y="100"/>
                      <a:pt x="15" y="101"/>
                    </a:cubicBezTo>
                    <a:cubicBezTo>
                      <a:pt x="16" y="108"/>
                      <a:pt x="17" y="116"/>
                      <a:pt x="19" y="123"/>
                    </a:cubicBezTo>
                    <a:cubicBezTo>
                      <a:pt x="18" y="124"/>
                      <a:pt x="11" y="131"/>
                      <a:pt x="9" y="133"/>
                    </a:cubicBezTo>
                    <a:cubicBezTo>
                      <a:pt x="8" y="134"/>
                      <a:pt x="8" y="136"/>
                      <a:pt x="9" y="137"/>
                    </a:cubicBezTo>
                    <a:cubicBezTo>
                      <a:pt x="9" y="138"/>
                      <a:pt x="18" y="154"/>
                      <a:pt x="19" y="155"/>
                    </a:cubicBezTo>
                    <a:cubicBezTo>
                      <a:pt x="20" y="157"/>
                      <a:pt x="21" y="157"/>
                      <a:pt x="23" y="157"/>
                    </a:cubicBezTo>
                    <a:cubicBezTo>
                      <a:pt x="25" y="156"/>
                      <a:pt x="35" y="154"/>
                      <a:pt x="37" y="153"/>
                    </a:cubicBezTo>
                    <a:cubicBezTo>
                      <a:pt x="42" y="159"/>
                      <a:pt x="48" y="163"/>
                      <a:pt x="54" y="167"/>
                    </a:cubicBezTo>
                    <a:cubicBezTo>
                      <a:pt x="54" y="169"/>
                      <a:pt x="53" y="180"/>
                      <a:pt x="53" y="182"/>
                    </a:cubicBezTo>
                    <a:cubicBezTo>
                      <a:pt x="53" y="183"/>
                      <a:pt x="53" y="185"/>
                      <a:pt x="55" y="186"/>
                    </a:cubicBezTo>
                    <a:cubicBezTo>
                      <a:pt x="56" y="186"/>
                      <a:pt x="74" y="192"/>
                      <a:pt x="74" y="193"/>
                    </a:cubicBezTo>
                    <a:cubicBezTo>
                      <a:pt x="76" y="193"/>
                      <a:pt x="78" y="193"/>
                      <a:pt x="78" y="191"/>
                    </a:cubicBezTo>
                    <a:cubicBezTo>
                      <a:pt x="80" y="189"/>
                      <a:pt x="86" y="181"/>
                      <a:pt x="87" y="179"/>
                    </a:cubicBezTo>
                    <a:cubicBezTo>
                      <a:pt x="91" y="180"/>
                      <a:pt x="94" y="180"/>
                      <a:pt x="98" y="180"/>
                    </a:cubicBezTo>
                    <a:cubicBezTo>
                      <a:pt x="102" y="180"/>
                      <a:pt x="106" y="180"/>
                      <a:pt x="109" y="179"/>
                    </a:cubicBezTo>
                    <a:cubicBezTo>
                      <a:pt x="110" y="181"/>
                      <a:pt x="117" y="189"/>
                      <a:pt x="118" y="191"/>
                    </a:cubicBezTo>
                    <a:cubicBezTo>
                      <a:pt x="119" y="192"/>
                      <a:pt x="120" y="193"/>
                      <a:pt x="122" y="193"/>
                    </a:cubicBezTo>
                    <a:cubicBezTo>
                      <a:pt x="123" y="192"/>
                      <a:pt x="140" y="186"/>
                      <a:pt x="141" y="186"/>
                    </a:cubicBezTo>
                    <a:cubicBezTo>
                      <a:pt x="143" y="185"/>
                      <a:pt x="144" y="183"/>
                      <a:pt x="144" y="182"/>
                    </a:cubicBezTo>
                    <a:cubicBezTo>
                      <a:pt x="143" y="180"/>
                      <a:pt x="143" y="169"/>
                      <a:pt x="142" y="167"/>
                    </a:cubicBezTo>
                    <a:cubicBezTo>
                      <a:pt x="149" y="163"/>
                      <a:pt x="155" y="159"/>
                      <a:pt x="160" y="153"/>
                    </a:cubicBezTo>
                    <a:cubicBezTo>
                      <a:pt x="161" y="154"/>
                      <a:pt x="171" y="156"/>
                      <a:pt x="174" y="157"/>
                    </a:cubicBezTo>
                    <a:cubicBezTo>
                      <a:pt x="175" y="157"/>
                      <a:pt x="177" y="157"/>
                      <a:pt x="178" y="155"/>
                    </a:cubicBezTo>
                    <a:cubicBezTo>
                      <a:pt x="178" y="154"/>
                      <a:pt x="187" y="138"/>
                      <a:pt x="188" y="137"/>
                    </a:cubicBezTo>
                    <a:cubicBezTo>
                      <a:pt x="189" y="136"/>
                      <a:pt x="188" y="134"/>
                      <a:pt x="187" y="133"/>
                    </a:cubicBezTo>
                    <a:cubicBezTo>
                      <a:pt x="186" y="131"/>
                      <a:pt x="178" y="124"/>
                      <a:pt x="177" y="123"/>
                    </a:cubicBezTo>
                    <a:cubicBezTo>
                      <a:pt x="179" y="116"/>
                      <a:pt x="181" y="108"/>
                      <a:pt x="181" y="101"/>
                    </a:cubicBezTo>
                    <a:cubicBezTo>
                      <a:pt x="183" y="100"/>
                      <a:pt x="192" y="95"/>
                      <a:pt x="194" y="94"/>
                    </a:cubicBezTo>
                    <a:cubicBezTo>
                      <a:pt x="195" y="94"/>
                      <a:pt x="196" y="92"/>
                      <a:pt x="196" y="90"/>
                    </a:cubicBezTo>
                    <a:close/>
                    <a:moveTo>
                      <a:pt x="98" y="127"/>
                    </a:moveTo>
                    <a:cubicBezTo>
                      <a:pt x="82" y="127"/>
                      <a:pt x="69" y="114"/>
                      <a:pt x="69" y="97"/>
                    </a:cubicBezTo>
                    <a:cubicBezTo>
                      <a:pt x="69" y="81"/>
                      <a:pt x="82" y="68"/>
                      <a:pt x="98" y="68"/>
                    </a:cubicBezTo>
                    <a:cubicBezTo>
                      <a:pt x="115" y="68"/>
                      <a:pt x="128" y="81"/>
                      <a:pt x="128" y="97"/>
                    </a:cubicBezTo>
                    <a:cubicBezTo>
                      <a:pt x="128" y="114"/>
                      <a:pt x="115" y="127"/>
                      <a:pt x="98" y="12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>
                  <a:solidFill>
                    <a:srgbClr val="000000"/>
                  </a:solidFill>
                  <a:latin typeface="Arial"/>
                  <a:ea typeface="Apple LiGothic Medium"/>
                  <a:cs typeface="Apple LiGothic Medium"/>
                </a:endParaRPr>
              </a:p>
            </p:txBody>
          </p:sp>
        </p:grpSp>
      </p:grpSp>
      <p:sp>
        <p:nvSpPr>
          <p:cNvPr id="6" name="Freeform 5"/>
          <p:cNvSpPr/>
          <p:nvPr/>
        </p:nvSpPr>
        <p:spPr>
          <a:xfrm>
            <a:off x="5711907" y="4197227"/>
            <a:ext cx="1415946" cy="828513"/>
          </a:xfrm>
          <a:custGeom>
            <a:avLst/>
            <a:gdLst>
              <a:gd name="connsiteX0" fmla="*/ 3942 w 1062236"/>
              <a:gd name="connsiteY0" fmla="*/ 621385 h 621385"/>
              <a:gd name="connsiteX1" fmla="*/ 3942 w 1062236"/>
              <a:gd name="connsiteY1" fmla="*/ 375563 h 621385"/>
              <a:gd name="connsiteX2" fmla="*/ 44908 w 1062236"/>
              <a:gd name="connsiteY2" fmla="*/ 245823 h 621385"/>
              <a:gd name="connsiteX3" fmla="*/ 290705 w 1062236"/>
              <a:gd name="connsiteY3" fmla="*/ 211681 h 621385"/>
              <a:gd name="connsiteX4" fmla="*/ 611607 w 1062236"/>
              <a:gd name="connsiteY4" fmla="*/ 355077 h 621385"/>
              <a:gd name="connsiteX5" fmla="*/ 939337 w 1062236"/>
              <a:gd name="connsiteY5" fmla="*/ 402876 h 621385"/>
              <a:gd name="connsiteX6" fmla="*/ 1041753 w 1062236"/>
              <a:gd name="connsiteY6" fmla="*/ 238994 h 621385"/>
              <a:gd name="connsiteX7" fmla="*/ 1062236 w 1062236"/>
              <a:gd name="connsiteY7" fmla="*/ 0 h 6213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2236" h="621385">
                <a:moveTo>
                  <a:pt x="3942" y="621385"/>
                </a:moveTo>
                <a:cubicBezTo>
                  <a:pt x="528" y="529771"/>
                  <a:pt x="-2886" y="438157"/>
                  <a:pt x="3942" y="375563"/>
                </a:cubicBezTo>
                <a:cubicBezTo>
                  <a:pt x="10770" y="312969"/>
                  <a:pt x="-2886" y="273137"/>
                  <a:pt x="44908" y="245823"/>
                </a:cubicBezTo>
                <a:cubicBezTo>
                  <a:pt x="92702" y="218509"/>
                  <a:pt x="196255" y="193472"/>
                  <a:pt x="290705" y="211681"/>
                </a:cubicBezTo>
                <a:cubicBezTo>
                  <a:pt x="385155" y="229890"/>
                  <a:pt x="503502" y="323211"/>
                  <a:pt x="611607" y="355077"/>
                </a:cubicBezTo>
                <a:cubicBezTo>
                  <a:pt x="719712" y="386943"/>
                  <a:pt x="867646" y="422223"/>
                  <a:pt x="939337" y="402876"/>
                </a:cubicBezTo>
                <a:cubicBezTo>
                  <a:pt x="1011028" y="383529"/>
                  <a:pt x="1021270" y="306140"/>
                  <a:pt x="1041753" y="238994"/>
                </a:cubicBezTo>
                <a:cubicBezTo>
                  <a:pt x="1062236" y="171848"/>
                  <a:pt x="1062236" y="0"/>
                  <a:pt x="1062236" y="0"/>
                </a:cubicBezTo>
              </a:path>
            </a:pathLst>
          </a:custGeom>
          <a:noFill/>
          <a:ln w="38100" cap="rnd" cmpd="sng" algn="ctr">
            <a:solidFill>
              <a:srgbClr val="008000"/>
            </a:solidFill>
            <a:prstDash val="solid"/>
            <a:round/>
            <a:headEnd type="none" w="med" len="med"/>
            <a:tailEnd type="oval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lIns="121781" tIns="60891" rIns="121781" bIns="60891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160" name="Group 159"/>
          <p:cNvGrpSpPr/>
          <p:nvPr/>
        </p:nvGrpSpPr>
        <p:grpSpPr>
          <a:xfrm>
            <a:off x="5473620" y="4935989"/>
            <a:ext cx="485154" cy="476165"/>
            <a:chOff x="4517870" y="2651692"/>
            <a:chExt cx="615327" cy="603769"/>
          </a:xfrm>
        </p:grpSpPr>
        <p:pic>
          <p:nvPicPr>
            <p:cNvPr id="164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165" name="Group 164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166" name="Hexagon 165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167" name="TextBox 166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sp>
        <p:nvSpPr>
          <p:cNvPr id="7" name="Freeform 6"/>
          <p:cNvSpPr/>
          <p:nvPr/>
        </p:nvSpPr>
        <p:spPr>
          <a:xfrm>
            <a:off x="9730806" y="4160777"/>
            <a:ext cx="1268796" cy="928664"/>
          </a:xfrm>
          <a:custGeom>
            <a:avLst/>
            <a:gdLst>
              <a:gd name="connsiteX0" fmla="*/ 928567 w 951845"/>
              <a:gd name="connsiteY0" fmla="*/ 696498 h 696498"/>
              <a:gd name="connsiteX1" fmla="*/ 949050 w 951845"/>
              <a:gd name="connsiteY1" fmla="*/ 443847 h 696498"/>
              <a:gd name="connsiteX2" fmla="*/ 873945 w 951845"/>
              <a:gd name="connsiteY2" fmla="*/ 273137 h 696498"/>
              <a:gd name="connsiteX3" fmla="*/ 600837 w 951845"/>
              <a:gd name="connsiteY3" fmla="*/ 259480 h 696498"/>
              <a:gd name="connsiteX4" fmla="*/ 464283 w 951845"/>
              <a:gd name="connsiteY4" fmla="*/ 443847 h 696498"/>
              <a:gd name="connsiteX5" fmla="*/ 259452 w 951845"/>
              <a:gd name="connsiteY5" fmla="*/ 396048 h 696498"/>
              <a:gd name="connsiteX6" fmla="*/ 122898 w 951845"/>
              <a:gd name="connsiteY6" fmla="*/ 143397 h 696498"/>
              <a:gd name="connsiteX7" fmla="*/ 0 w 951845"/>
              <a:gd name="connsiteY7" fmla="*/ 0 h 69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1845" h="696498">
                <a:moveTo>
                  <a:pt x="928567" y="696498"/>
                </a:moveTo>
                <a:cubicBezTo>
                  <a:pt x="943360" y="605452"/>
                  <a:pt x="958154" y="514407"/>
                  <a:pt x="949050" y="443847"/>
                </a:cubicBezTo>
                <a:cubicBezTo>
                  <a:pt x="939946" y="373287"/>
                  <a:pt x="931981" y="303865"/>
                  <a:pt x="873945" y="273137"/>
                </a:cubicBezTo>
                <a:cubicBezTo>
                  <a:pt x="815909" y="242409"/>
                  <a:pt x="669114" y="231028"/>
                  <a:pt x="600837" y="259480"/>
                </a:cubicBezTo>
                <a:cubicBezTo>
                  <a:pt x="532560" y="287932"/>
                  <a:pt x="521180" y="421086"/>
                  <a:pt x="464283" y="443847"/>
                </a:cubicBezTo>
                <a:cubicBezTo>
                  <a:pt x="407385" y="466608"/>
                  <a:pt x="316349" y="446123"/>
                  <a:pt x="259452" y="396048"/>
                </a:cubicBezTo>
                <a:cubicBezTo>
                  <a:pt x="202555" y="345973"/>
                  <a:pt x="166140" y="209405"/>
                  <a:pt x="122898" y="143397"/>
                </a:cubicBezTo>
                <a:cubicBezTo>
                  <a:pt x="79656" y="77389"/>
                  <a:pt x="0" y="0"/>
                  <a:pt x="0" y="0"/>
                </a:cubicBezTo>
              </a:path>
            </a:pathLst>
          </a:custGeom>
          <a:noFill/>
          <a:ln w="38100" cap="rnd" cmpd="sng" algn="ctr">
            <a:solidFill>
              <a:srgbClr val="008000"/>
            </a:solidFill>
            <a:prstDash val="solid"/>
            <a:round/>
            <a:headEnd type="none" w="med" len="med"/>
            <a:tailEnd type="oval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txBody>
          <a:bodyPr lIns="121781" tIns="60891" rIns="121781" bIns="60891" rtlCol="0" anchor="ctr"/>
          <a:lstStyle/>
          <a:p>
            <a:pPr algn="ctr" defTabSz="608404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srgbClr val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grpSp>
        <p:nvGrpSpPr>
          <p:cNvPr id="246" name="Group 245"/>
          <p:cNvGrpSpPr/>
          <p:nvPr/>
        </p:nvGrpSpPr>
        <p:grpSpPr>
          <a:xfrm>
            <a:off x="10714379" y="4937925"/>
            <a:ext cx="485154" cy="476165"/>
            <a:chOff x="4517870" y="2651692"/>
            <a:chExt cx="615327" cy="603769"/>
          </a:xfrm>
        </p:grpSpPr>
        <p:pic>
          <p:nvPicPr>
            <p:cNvPr id="250" name="Picture 30" descr="\\MV-FS\Projects\Cisco\References\Brand Assets\Kubrick Icons\Device Icons\Device_nexus7000_3035_default_256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517870" y="2651692"/>
              <a:ext cx="615327" cy="603769"/>
            </a:xfrm>
            <a:prstGeom prst="rect">
              <a:avLst/>
            </a:prstGeom>
            <a:noFill/>
          </p:spPr>
        </p:pic>
        <p:grpSp>
          <p:nvGrpSpPr>
            <p:cNvPr id="257" name="Group 256"/>
            <p:cNvGrpSpPr/>
            <p:nvPr/>
          </p:nvGrpSpPr>
          <p:grpSpPr>
            <a:xfrm>
              <a:off x="4670085" y="2798128"/>
              <a:ext cx="310896" cy="310896"/>
              <a:chOff x="3200400" y="3562350"/>
              <a:chExt cx="310896" cy="310896"/>
            </a:xfrm>
          </p:grpSpPr>
          <p:sp>
            <p:nvSpPr>
              <p:cNvPr id="258" name="Hexagon 257"/>
              <p:cNvSpPr/>
              <p:nvPr/>
            </p:nvSpPr>
            <p:spPr bwMode="auto">
              <a:xfrm>
                <a:off x="3200400" y="3562350"/>
                <a:ext cx="310896" cy="310896"/>
              </a:xfrm>
              <a:prstGeom prst="hexag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12700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08404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600" b="1" dirty="0" err="1">
                  <a:solidFill>
                    <a:srgbClr val="FFFFFF"/>
                  </a:solidFill>
                  <a:sym typeface="Arial" pitchFamily="-107" charset="0"/>
                </a:endParaRPr>
              </a:p>
            </p:txBody>
          </p:sp>
          <p:sp>
            <p:nvSpPr>
              <p:cNvPr id="259" name="TextBox 258"/>
              <p:cNvSpPr txBox="1"/>
              <p:nvPr/>
            </p:nvSpPr>
            <p:spPr>
              <a:xfrm>
                <a:off x="3274941" y="3604945"/>
                <a:ext cx="162728" cy="26830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608404" fontAlgn="auto">
                  <a:lnSpc>
                    <a:spcPct val="90000"/>
                  </a:lnSpc>
                  <a:spcBef>
                    <a:spcPts val="800"/>
                  </a:spcBef>
                  <a:spcAft>
                    <a:spcPts val="0"/>
                  </a:spcAft>
                </a:pPr>
                <a:r>
                  <a:rPr lang="en-US" sz="1500" b="1" dirty="0">
                    <a:solidFill>
                      <a:srgbClr val="FFFFFF"/>
                    </a:solidFill>
                    <a:latin typeface="Arial"/>
                    <a:ea typeface="Apple LiGothic Medium"/>
                    <a:cs typeface="Arial"/>
                  </a:rPr>
                  <a:t>V</a:t>
                </a:r>
                <a:endParaRPr lang="en-US" sz="1500" b="1" baseline="30000" dirty="0">
                  <a:solidFill>
                    <a:srgbClr val="FFFFFF"/>
                  </a:solidFill>
                  <a:latin typeface="Arial"/>
                  <a:ea typeface="Apple LiGothic Medium"/>
                  <a:cs typeface="Arial"/>
                </a:endParaRPr>
              </a:p>
            </p:txBody>
          </p:sp>
        </p:grpSp>
      </p:grpSp>
      <p:sp>
        <p:nvSpPr>
          <p:cNvPr id="189" name="TextBox 188"/>
          <p:cNvSpPr txBox="1"/>
          <p:nvPr/>
        </p:nvSpPr>
        <p:spPr>
          <a:xfrm>
            <a:off x="9354630" y="2464966"/>
            <a:ext cx="1194505" cy="40216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99000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10358716" y="3996114"/>
            <a:ext cx="1279825" cy="586827"/>
          </a:xfrm>
          <a:prstGeom prst="rect">
            <a:avLst/>
          </a:prstGeom>
          <a:solidFill>
            <a:srgbClr val="DCEDF3"/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N or VXLAN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31000</a:t>
            </a:r>
            <a:endParaRPr lang="en-US" sz="1200" kern="0" dirty="0">
              <a:solidFill>
                <a:srgbClr val="000000"/>
              </a:solidFill>
              <a:latin typeface="Arial"/>
              <a:ea typeface="Apple LiGothic Medium"/>
              <a:cs typeface="Courier New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401465" y="3980806"/>
            <a:ext cx="1279825" cy="586827"/>
          </a:xfrm>
          <a:prstGeom prst="rect">
            <a:avLst/>
          </a:prstGeom>
          <a:solidFill>
            <a:srgbClr val="DCEDF3"/>
          </a:solidFill>
          <a:ln>
            <a:solidFill>
              <a:srgbClr val="000000"/>
            </a:solidFill>
          </a:ln>
        </p:spPr>
        <p:txBody>
          <a:bodyPr wrap="square" lIns="121781" tIns="36540" rIns="121781" bIns="36540" rtlCol="0" anchor="ctr">
            <a:spAutoFit/>
          </a:bodyPr>
          <a:lstStyle/>
          <a:p>
            <a:pPr algn="ctr" defTabSz="1086106">
              <a:defRPr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XLAN or VXLAN/EVPN</a:t>
            </a:r>
          </a:p>
          <a:p>
            <a:pPr algn="ctr" defTabSz="1086106">
              <a:defRPr/>
            </a:pPr>
            <a:r>
              <a:rPr lang="en-US" sz="900" kern="0" dirty="0">
                <a:solidFill>
                  <a:srgbClr val="000000"/>
                </a:solidFill>
                <a:latin typeface="Arial"/>
                <a:ea typeface="Apple LiGothic Medium"/>
                <a:cs typeface="Courier New"/>
              </a:rPr>
              <a:t>VNI 30000</a:t>
            </a:r>
          </a:p>
        </p:txBody>
      </p:sp>
      <p:sp>
        <p:nvSpPr>
          <p:cNvPr id="194" name="AutoShape 73"/>
          <p:cNvSpPr>
            <a:spLocks noChangeAspect="1" noChangeArrowheads="1"/>
          </p:cNvSpPr>
          <p:nvPr/>
        </p:nvSpPr>
        <p:spPr bwMode="auto">
          <a:xfrm rot="12840645" flipV="1">
            <a:off x="7068128" y="3899627"/>
            <a:ext cx="304721" cy="304800"/>
          </a:xfrm>
          <a:custGeom>
            <a:avLst/>
            <a:gdLst>
              <a:gd name="G0" fmla="+- 1453104 0 0"/>
              <a:gd name="G1" fmla="+- 7261436 0 0"/>
              <a:gd name="G2" fmla="+- 1453104 0 7261436"/>
              <a:gd name="G3" fmla="+- 10800 0 0"/>
              <a:gd name="G4" fmla="+- 0 0 1453104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961 0 0"/>
              <a:gd name="G9" fmla="+- 0 0 7261436"/>
              <a:gd name="G10" fmla="+- 5961 0 2700"/>
              <a:gd name="G11" fmla="cos G10 1453104"/>
              <a:gd name="G12" fmla="sin G10 1453104"/>
              <a:gd name="G13" fmla="cos 13500 1453104"/>
              <a:gd name="G14" fmla="sin 13500 1453104"/>
              <a:gd name="G15" fmla="+- G11 10800 0"/>
              <a:gd name="G16" fmla="+- G12 10800 0"/>
              <a:gd name="G17" fmla="+- G13 10800 0"/>
              <a:gd name="G18" fmla="+- G14 10800 0"/>
              <a:gd name="G19" fmla="*/ 5961 1 2"/>
              <a:gd name="G20" fmla="+- G19 5400 0"/>
              <a:gd name="G21" fmla="cos G20 1453104"/>
              <a:gd name="G22" fmla="sin G20 1453104"/>
              <a:gd name="G23" fmla="+- G21 10800 0"/>
              <a:gd name="G24" fmla="+- G12 G23 G22"/>
              <a:gd name="G25" fmla="+- G22 G23 G11"/>
              <a:gd name="G26" fmla="cos 10800 1453104"/>
              <a:gd name="G27" fmla="sin 10800 1453104"/>
              <a:gd name="G28" fmla="cos 5961 1453104"/>
              <a:gd name="G29" fmla="sin 5961 1453104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7261436"/>
              <a:gd name="G36" fmla="sin G34 7261436"/>
              <a:gd name="G37" fmla="+/ 7261436 1453104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961 G39"/>
              <a:gd name="G43" fmla="sin 5961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491 w 21600"/>
              <a:gd name="T5" fmla="*/ 896 h 21600"/>
              <a:gd name="T6" fmla="*/ 7823 w 21600"/>
              <a:gd name="T7" fmla="*/ 18634 h 21600"/>
              <a:gd name="T8" fmla="*/ 8421 w 21600"/>
              <a:gd name="T9" fmla="*/ 5333 h 21600"/>
              <a:gd name="T10" fmla="*/ 23301 w 21600"/>
              <a:gd name="T11" fmla="*/ 15894 h 21600"/>
              <a:gd name="T12" fmla="*/ 16629 w 21600"/>
              <a:gd name="T13" fmla="*/ 18704 h 21600"/>
              <a:gd name="T14" fmla="*/ 13819 w 21600"/>
              <a:gd name="T15" fmla="*/ 1203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320" y="13049"/>
                </a:moveTo>
                <a:cubicBezTo>
                  <a:pt x="16611" y="12335"/>
                  <a:pt x="16761" y="11571"/>
                  <a:pt x="16761" y="10800"/>
                </a:cubicBezTo>
                <a:cubicBezTo>
                  <a:pt x="16761" y="7507"/>
                  <a:pt x="14092" y="4839"/>
                  <a:pt x="10800" y="4839"/>
                </a:cubicBezTo>
                <a:cubicBezTo>
                  <a:pt x="7507" y="4839"/>
                  <a:pt x="4839" y="7507"/>
                  <a:pt x="4839" y="10800"/>
                </a:cubicBezTo>
                <a:cubicBezTo>
                  <a:pt x="4838" y="13275"/>
                  <a:pt x="6368" y="15493"/>
                  <a:pt x="8683" y="16372"/>
                </a:cubicBezTo>
                <a:lnTo>
                  <a:pt x="6964" y="20896"/>
                </a:lnTo>
                <a:cubicBezTo>
                  <a:pt x="2771" y="19303"/>
                  <a:pt x="0" y="1528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599" y="12197"/>
                  <a:pt x="21328" y="13581"/>
                  <a:pt x="20801" y="14875"/>
                </a:cubicBezTo>
                <a:lnTo>
                  <a:pt x="23301" y="15894"/>
                </a:lnTo>
                <a:lnTo>
                  <a:pt x="16629" y="18704"/>
                </a:lnTo>
                <a:lnTo>
                  <a:pt x="13819" y="12030"/>
                </a:lnTo>
                <a:lnTo>
                  <a:pt x="16320" y="130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129647" tIns="64822" rIns="129647" bIns="64822" anchor="ctr">
            <a:prstTxWarp prst="textNoShape">
              <a:avLst/>
            </a:prstTxWarp>
          </a:bodyPr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sysClr val="windowText" lastClr="000000"/>
              </a:solidFill>
              <a:latin typeface="Arial"/>
              <a:ea typeface="Apple LiGothic Medium"/>
              <a:cs typeface="Apple LiGothic Medium"/>
            </a:endParaRPr>
          </a:p>
        </p:txBody>
      </p:sp>
      <p:sp>
        <p:nvSpPr>
          <p:cNvPr id="204" name="AutoShape 73"/>
          <p:cNvSpPr>
            <a:spLocks noChangeAspect="1" noChangeArrowheads="1"/>
          </p:cNvSpPr>
          <p:nvPr/>
        </p:nvSpPr>
        <p:spPr bwMode="auto">
          <a:xfrm rot="12840645" flipV="1">
            <a:off x="9564784" y="3884317"/>
            <a:ext cx="304721" cy="304800"/>
          </a:xfrm>
          <a:custGeom>
            <a:avLst/>
            <a:gdLst>
              <a:gd name="G0" fmla="+- 1453104 0 0"/>
              <a:gd name="G1" fmla="+- 7261436 0 0"/>
              <a:gd name="G2" fmla="+- 1453104 0 7261436"/>
              <a:gd name="G3" fmla="+- 10800 0 0"/>
              <a:gd name="G4" fmla="+- 0 0 1453104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961 0 0"/>
              <a:gd name="G9" fmla="+- 0 0 7261436"/>
              <a:gd name="G10" fmla="+- 5961 0 2700"/>
              <a:gd name="G11" fmla="cos G10 1453104"/>
              <a:gd name="G12" fmla="sin G10 1453104"/>
              <a:gd name="G13" fmla="cos 13500 1453104"/>
              <a:gd name="G14" fmla="sin 13500 1453104"/>
              <a:gd name="G15" fmla="+- G11 10800 0"/>
              <a:gd name="G16" fmla="+- G12 10800 0"/>
              <a:gd name="G17" fmla="+- G13 10800 0"/>
              <a:gd name="G18" fmla="+- G14 10800 0"/>
              <a:gd name="G19" fmla="*/ 5961 1 2"/>
              <a:gd name="G20" fmla="+- G19 5400 0"/>
              <a:gd name="G21" fmla="cos G20 1453104"/>
              <a:gd name="G22" fmla="sin G20 1453104"/>
              <a:gd name="G23" fmla="+- G21 10800 0"/>
              <a:gd name="G24" fmla="+- G12 G23 G22"/>
              <a:gd name="G25" fmla="+- G22 G23 G11"/>
              <a:gd name="G26" fmla="cos 10800 1453104"/>
              <a:gd name="G27" fmla="sin 10800 1453104"/>
              <a:gd name="G28" fmla="cos 5961 1453104"/>
              <a:gd name="G29" fmla="sin 5961 1453104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7261436"/>
              <a:gd name="G36" fmla="sin G34 7261436"/>
              <a:gd name="G37" fmla="+/ 7261436 1453104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961 G39"/>
              <a:gd name="G43" fmla="sin 5961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6491 w 21600"/>
              <a:gd name="T5" fmla="*/ 896 h 21600"/>
              <a:gd name="T6" fmla="*/ 7823 w 21600"/>
              <a:gd name="T7" fmla="*/ 18634 h 21600"/>
              <a:gd name="T8" fmla="*/ 8421 w 21600"/>
              <a:gd name="T9" fmla="*/ 5333 h 21600"/>
              <a:gd name="T10" fmla="*/ 23301 w 21600"/>
              <a:gd name="T11" fmla="*/ 15894 h 21600"/>
              <a:gd name="T12" fmla="*/ 16629 w 21600"/>
              <a:gd name="T13" fmla="*/ 18704 h 21600"/>
              <a:gd name="T14" fmla="*/ 13819 w 21600"/>
              <a:gd name="T15" fmla="*/ 1203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320" y="13049"/>
                </a:moveTo>
                <a:cubicBezTo>
                  <a:pt x="16611" y="12335"/>
                  <a:pt x="16761" y="11571"/>
                  <a:pt x="16761" y="10800"/>
                </a:cubicBezTo>
                <a:cubicBezTo>
                  <a:pt x="16761" y="7507"/>
                  <a:pt x="14092" y="4839"/>
                  <a:pt x="10800" y="4839"/>
                </a:cubicBezTo>
                <a:cubicBezTo>
                  <a:pt x="7507" y="4839"/>
                  <a:pt x="4839" y="7507"/>
                  <a:pt x="4839" y="10800"/>
                </a:cubicBezTo>
                <a:cubicBezTo>
                  <a:pt x="4838" y="13275"/>
                  <a:pt x="6368" y="15493"/>
                  <a:pt x="8683" y="16372"/>
                </a:cubicBezTo>
                <a:lnTo>
                  <a:pt x="6964" y="20896"/>
                </a:lnTo>
                <a:cubicBezTo>
                  <a:pt x="2771" y="19303"/>
                  <a:pt x="0" y="1528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599" y="12197"/>
                  <a:pt x="21328" y="13581"/>
                  <a:pt x="20801" y="14875"/>
                </a:cubicBezTo>
                <a:lnTo>
                  <a:pt x="23301" y="15894"/>
                </a:lnTo>
                <a:lnTo>
                  <a:pt x="16629" y="18704"/>
                </a:lnTo>
                <a:lnTo>
                  <a:pt x="13819" y="12030"/>
                </a:lnTo>
                <a:lnTo>
                  <a:pt x="16320" y="130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lIns="129647" tIns="64822" rIns="129647" bIns="64822" anchor="ctr">
            <a:prstTxWarp prst="textNoShape">
              <a:avLst/>
            </a:prstTxWarp>
          </a:bodyPr>
          <a:lstStyle/>
          <a:p>
            <a:pPr defTabSz="60840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sysClr val="windowText" lastClr="000000"/>
              </a:solidFill>
              <a:latin typeface="Arial"/>
              <a:ea typeface="Apple LiGothic Medium"/>
              <a:cs typeface="Apple LiGothic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337618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89" grpId="0" animBg="1"/>
      <p:bldP spid="190" grpId="0" animBg="1"/>
      <p:bldP spid="191" grpId="0" animBg="1"/>
      <p:bldP spid="194" grpId="0" animBg="1"/>
      <p:bldP spid="204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264694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grpSp>
        <p:nvGrpSpPr>
          <p:cNvPr id="269" name="Group 268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266" name="Straight Connector 265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9009441" y="4715059"/>
            <a:ext cx="1646344" cy="1022968"/>
            <a:chOff x="9007853" y="4715059"/>
            <a:chExt cx="1646344" cy="102296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007853" y="4750333"/>
              <a:ext cx="317509" cy="9289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flipH="1">
              <a:off x="9348882" y="4750333"/>
              <a:ext cx="1281796" cy="9876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9007853" y="4715059"/>
              <a:ext cx="1540508" cy="987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10536601" y="4738575"/>
              <a:ext cx="117596" cy="99945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04225" y="4022750"/>
            <a:ext cx="10795311" cy="1199856"/>
            <a:chOff x="702636" y="4022750"/>
            <a:chExt cx="10795311" cy="1199856"/>
          </a:xfrm>
        </p:grpSpPr>
        <p:sp>
          <p:nvSpPr>
            <p:cNvPr id="139" name="TextBox 138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02636" y="4022750"/>
              <a:ext cx="10795311" cy="1199856"/>
              <a:chOff x="435105" y="4022750"/>
              <a:chExt cx="10795311" cy="119985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35105" y="4022750"/>
                <a:ext cx="7432067" cy="1199856"/>
                <a:chOff x="435105" y="4022750"/>
                <a:chExt cx="7432067" cy="1199856"/>
              </a:xfrm>
            </p:grpSpPr>
            <p:sp>
              <p:nvSpPr>
                <p:cNvPr id="140" name="Rounded Rectangle 139"/>
                <p:cNvSpPr/>
                <p:nvPr/>
              </p:nvSpPr>
              <p:spPr>
                <a:xfrm>
                  <a:off x="435105" y="4049007"/>
                  <a:ext cx="7432067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2" name="Group 1"/>
                <p:cNvGrpSpPr/>
                <p:nvPr/>
              </p:nvGrpSpPr>
              <p:grpSpPr>
                <a:xfrm>
                  <a:off x="568630" y="4022750"/>
                  <a:ext cx="7165017" cy="1199856"/>
                  <a:chOff x="582321" y="4022750"/>
                  <a:chExt cx="7165017" cy="1199856"/>
                </a:xfrm>
              </p:grpSpPr>
              <p:grpSp>
                <p:nvGrpSpPr>
                  <p:cNvPr id="148" name="Group 147"/>
                  <p:cNvGrpSpPr/>
                  <p:nvPr/>
                </p:nvGrpSpPr>
                <p:grpSpPr>
                  <a:xfrm>
                    <a:off x="350765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6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7" name="Hexagon 166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49" name="Group 148"/>
                  <p:cNvGrpSpPr/>
                  <p:nvPr/>
                </p:nvGrpSpPr>
                <p:grpSpPr>
                  <a:xfrm>
                    <a:off x="497031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4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5" name="Hexagon 164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4" name="Group 153"/>
                  <p:cNvGrpSpPr/>
                  <p:nvPr/>
                </p:nvGrpSpPr>
                <p:grpSpPr>
                  <a:xfrm>
                    <a:off x="643298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3" name="Hexagon 16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77" name="Group 176"/>
                  <p:cNvGrpSpPr/>
                  <p:nvPr/>
                </p:nvGrpSpPr>
                <p:grpSpPr>
                  <a:xfrm>
                    <a:off x="204498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9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0" name="Hexagon 179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81" name="Group 180"/>
                  <p:cNvGrpSpPr/>
                  <p:nvPr/>
                </p:nvGrpSpPr>
                <p:grpSpPr>
                  <a:xfrm>
                    <a:off x="58232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8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2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3" name="Hexagon 18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</p:grpSp>
          </p:grpSp>
          <p:grpSp>
            <p:nvGrpSpPr>
              <p:cNvPr id="6" name="Group 5"/>
              <p:cNvGrpSpPr/>
              <p:nvPr/>
            </p:nvGrpSpPr>
            <p:grpSpPr>
              <a:xfrm>
                <a:off x="8098514" y="4022750"/>
                <a:ext cx="3131902" cy="1199856"/>
                <a:chOff x="8651215" y="3999234"/>
                <a:chExt cx="3131902" cy="1199856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8651215" y="4025491"/>
                  <a:ext cx="3131902" cy="1147342"/>
                  <a:chOff x="5815343" y="4812085"/>
                  <a:chExt cx="1701898" cy="1147342"/>
                </a:xfrm>
              </p:grpSpPr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166892" y="5682195"/>
                    <a:ext cx="350349" cy="27699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r"/>
                    <a:r>
                      <a:rPr lang="en-US" sz="1200" dirty="0"/>
                      <a:t>Border</a:t>
                    </a: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>
                  <a:xfrm>
                    <a:off x="5815343" y="4812085"/>
                    <a:ext cx="1695507" cy="1147342"/>
                  </a:xfrm>
                  <a:prstGeom prst="roundRect">
                    <a:avLst>
                      <a:gd name="adj" fmla="val 9804"/>
                    </a:avLst>
                  </a:prstGeom>
                  <a:noFill/>
                  <a:ln w="19050">
                    <a:solidFill>
                      <a:schemeClr val="accent3">
                        <a:lumMod val="50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rtlCol="0" anchor="ctr"/>
                  <a:lstStyle/>
                  <a:p>
                    <a:pPr algn="ctr"/>
                    <a:endParaRPr lang="en-US" sz="500" dirty="0"/>
                  </a:p>
                </p:txBody>
              </p:sp>
            </p:grpSp>
            <p:grpSp>
              <p:nvGrpSpPr>
                <p:cNvPr id="156" name="Group 155"/>
                <p:cNvGrpSpPr/>
                <p:nvPr/>
              </p:nvGrpSpPr>
              <p:grpSpPr>
                <a:xfrm>
                  <a:off x="8757055" y="3999234"/>
                  <a:ext cx="1314357" cy="1199856"/>
                  <a:chOff x="452966" y="4252385"/>
                  <a:chExt cx="1314357" cy="1199856"/>
                </a:xfrm>
              </p:grpSpPr>
              <p:pic>
                <p:nvPicPr>
                  <p:cNvPr id="157" name="Picture 4" descr="C:\Share\Rajesh\backup(15112012)\Device Icons\icons\nexus9300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l="4357" r="4214"/>
                  <a:stretch/>
                </p:blipFill>
                <p:spPr bwMode="auto">
                  <a:xfrm>
                    <a:off x="452966" y="4252385"/>
                    <a:ext cx="1097280" cy="119985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59" name="Hexagon 158"/>
                  <p:cNvSpPr/>
                  <p:nvPr/>
                </p:nvSpPr>
                <p:spPr>
                  <a:xfrm>
                    <a:off x="1310123" y="4585366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  <p:grpSp>
              <p:nvGrpSpPr>
                <p:cNvPr id="187" name="Group 186"/>
                <p:cNvGrpSpPr/>
                <p:nvPr/>
              </p:nvGrpSpPr>
              <p:grpSpPr>
                <a:xfrm>
                  <a:off x="10362814" y="3999234"/>
                  <a:ext cx="1314357" cy="1199856"/>
                  <a:chOff x="452966" y="4252385"/>
                  <a:chExt cx="1314357" cy="1199856"/>
                </a:xfrm>
              </p:grpSpPr>
              <p:pic>
                <p:nvPicPr>
                  <p:cNvPr id="188" name="Picture 4" descr="C:\Share\Rajesh\backup(15112012)\Device Icons\icons\nexus9300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l="4357" r="4214"/>
                  <a:stretch/>
                </p:blipFill>
                <p:spPr bwMode="auto">
                  <a:xfrm>
                    <a:off x="452966" y="4252385"/>
                    <a:ext cx="1097280" cy="119985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91" name="Hexagon 190"/>
                  <p:cNvSpPr/>
                  <p:nvPr/>
                </p:nvSpPr>
                <p:spPr>
                  <a:xfrm>
                    <a:off x="1310123" y="4585366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</p:grpSp>
        </p:grpSp>
      </p:grpSp>
      <p:grpSp>
        <p:nvGrpSpPr>
          <p:cNvPr id="15" name="Group 14"/>
          <p:cNvGrpSpPr/>
          <p:nvPr/>
        </p:nvGrpSpPr>
        <p:grpSpPr>
          <a:xfrm>
            <a:off x="3608819" y="1442418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5840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pine</a:t>
              </a: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3607231" y="1501218"/>
              <a:ext cx="4974362" cy="1698336"/>
              <a:chOff x="4609712" y="1924506"/>
              <a:chExt cx="4974362" cy="1698336"/>
            </a:xfrm>
          </p:grpSpPr>
          <p:sp>
            <p:nvSpPr>
              <p:cNvPr id="173" name="Rounded Rectangle 172"/>
              <p:cNvSpPr/>
              <p:nvPr/>
            </p:nvSpPr>
            <p:spPr>
              <a:xfrm>
                <a:off x="4609712" y="1924506"/>
                <a:ext cx="4974362" cy="1698336"/>
              </a:xfrm>
              <a:prstGeom prst="roundRect">
                <a:avLst>
                  <a:gd name="adj" fmla="val 9804"/>
                </a:avLst>
              </a:prstGeom>
              <a:noFill/>
              <a:ln w="19050">
                <a:solidFill>
                  <a:schemeClr val="accent3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68589" tIns="34295" rIns="68589" bIns="34295" rtlCol="0" anchor="ctr"/>
              <a:lstStyle/>
              <a:p>
                <a:pPr algn="ctr"/>
                <a:endParaRPr lang="en-US" sz="500" dirty="0"/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4829745" y="2090371"/>
                <a:ext cx="4534297" cy="1366607"/>
                <a:chOff x="4891796" y="2116724"/>
                <a:chExt cx="4534297" cy="1366607"/>
              </a:xfrm>
            </p:grpSpPr>
            <p:pic>
              <p:nvPicPr>
                <p:cNvPr id="174" name="Picture 3" descr="C:\Share\Rajesh\backup(15112012)\Device Icons\icons\nexus9500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2289" t="3332" r="10363" b="3203"/>
                <a:stretch/>
              </p:blipFill>
              <p:spPr bwMode="auto">
                <a:xfrm>
                  <a:off x="4891796" y="2116724"/>
                  <a:ext cx="914400" cy="13666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75" name="Picture 3" descr="C:\Share\Rajesh\backup(15112012)\Device Icons\icons\nexus9500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2289" t="3332" r="10363" b="3203"/>
                <a:stretch/>
              </p:blipFill>
              <p:spPr bwMode="auto">
                <a:xfrm>
                  <a:off x="6098428" y="2116724"/>
                  <a:ext cx="914400" cy="13666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92" name="Picture 3" descr="C:\Share\Rajesh\backup(15112012)\Device Icons\icons\nexus9500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2289" t="3332" r="10363" b="3203"/>
                <a:stretch/>
              </p:blipFill>
              <p:spPr bwMode="auto">
                <a:xfrm>
                  <a:off x="7305060" y="2116724"/>
                  <a:ext cx="914400" cy="13666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94" name="Picture 3" descr="C:\Share\Rajesh\backup(15112012)\Device Icons\icons\nexus9500.png"/>
                <p:cNvPicPr>
                  <a:picLocks noChangeAspect="1" noChangeArrowheads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2289" t="3332" r="10363" b="3203"/>
                <a:stretch/>
              </p:blipFill>
              <p:spPr bwMode="auto">
                <a:xfrm>
                  <a:off x="8511693" y="2116724"/>
                  <a:ext cx="914400" cy="13666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7" name="Group 16"/>
          <p:cNvGrpSpPr/>
          <p:nvPr/>
        </p:nvGrpSpPr>
        <p:grpSpPr>
          <a:xfrm>
            <a:off x="3879443" y="1997276"/>
            <a:ext cx="850633" cy="380497"/>
            <a:chOff x="3078202" y="2279930"/>
            <a:chExt cx="850633" cy="380497"/>
          </a:xfrm>
        </p:grpSpPr>
        <p:sp>
          <p:nvSpPr>
            <p:cNvPr id="197" name="Oval 196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199727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199727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7476456" y="1997276"/>
            <a:ext cx="850633" cy="380497"/>
            <a:chOff x="3078202" y="2279930"/>
            <a:chExt cx="850633" cy="380497"/>
          </a:xfrm>
        </p:grpSpPr>
        <p:sp>
          <p:nvSpPr>
            <p:cNvPr id="219" name="Oval 218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925059" y="5534347"/>
            <a:ext cx="2005290" cy="1050012"/>
            <a:chOff x="8923471" y="5534347"/>
            <a:chExt cx="2005290" cy="1050012"/>
          </a:xfrm>
        </p:grpSpPr>
        <p:sp>
          <p:nvSpPr>
            <p:cNvPr id="223" name="Cloud 222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224" name="Picture 65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" name="Picture 656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8" name="Group 227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229" name="Oval 22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232" name="Oval 231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235" name="Oval 234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238" name="Oval 23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41" name="Oval 240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44" name="Oval 24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82828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879927" y="330407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64" name="Rectangle 263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1" name="Up-Down Arrow 270"/>
          <p:cNvSpPr/>
          <p:nvPr/>
        </p:nvSpPr>
        <p:spPr>
          <a:xfrm>
            <a:off x="8209785" y="4938464"/>
            <a:ext cx="682060" cy="1458024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eBG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433753" y="141099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43304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447975" y="5490642"/>
            <a:ext cx="6127229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Spine (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Leaf (VTEP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Border Leaf (VTEP)</a:t>
            </a:r>
          </a:p>
        </p:txBody>
      </p:sp>
    </p:spTree>
    <p:extLst>
      <p:ext uri="{BB962C8B-B14F-4D97-AF65-F5344CB8AC3E}">
        <p14:creationId xmlns:p14="http://schemas.microsoft.com/office/powerpoint/2010/main" val="134183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9009441" y="4715059"/>
            <a:ext cx="1646344" cy="1022968"/>
            <a:chOff x="9007853" y="4715059"/>
            <a:chExt cx="1646344" cy="102296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007853" y="4750333"/>
              <a:ext cx="317509" cy="9289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flipH="1">
              <a:off x="9348882" y="4750333"/>
              <a:ext cx="1281796" cy="9876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9007853" y="4715059"/>
              <a:ext cx="1540508" cy="987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10536601" y="4738575"/>
              <a:ext cx="117596" cy="99945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Cloud 136"/>
          <p:cNvSpPr/>
          <p:nvPr/>
        </p:nvSpPr>
        <p:spPr>
          <a:xfrm>
            <a:off x="707163" y="264694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10" name="Picture 10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235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82830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10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23260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" name="Picture 10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4024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3028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0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792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9" name="Group 268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266" name="Straight Connector 265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04225" y="4022750"/>
            <a:ext cx="10795311" cy="1199856"/>
            <a:chOff x="702636" y="4022750"/>
            <a:chExt cx="10795311" cy="1199856"/>
          </a:xfrm>
        </p:grpSpPr>
        <p:sp>
          <p:nvSpPr>
            <p:cNvPr id="139" name="TextBox 138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02636" y="4022750"/>
              <a:ext cx="10795311" cy="1199856"/>
              <a:chOff x="435105" y="4022750"/>
              <a:chExt cx="10795311" cy="119985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35105" y="4022750"/>
                <a:ext cx="7432067" cy="1199856"/>
                <a:chOff x="435105" y="4022750"/>
                <a:chExt cx="7432067" cy="1199856"/>
              </a:xfrm>
            </p:grpSpPr>
            <p:sp>
              <p:nvSpPr>
                <p:cNvPr id="140" name="Rounded Rectangle 139"/>
                <p:cNvSpPr/>
                <p:nvPr/>
              </p:nvSpPr>
              <p:spPr>
                <a:xfrm>
                  <a:off x="435105" y="4049007"/>
                  <a:ext cx="7432067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2" name="Group 1"/>
                <p:cNvGrpSpPr/>
                <p:nvPr/>
              </p:nvGrpSpPr>
              <p:grpSpPr>
                <a:xfrm>
                  <a:off x="568630" y="4022750"/>
                  <a:ext cx="7165017" cy="1199856"/>
                  <a:chOff x="582321" y="4022750"/>
                  <a:chExt cx="7165017" cy="1199856"/>
                </a:xfrm>
              </p:grpSpPr>
              <p:grpSp>
                <p:nvGrpSpPr>
                  <p:cNvPr id="148" name="Group 147"/>
                  <p:cNvGrpSpPr/>
                  <p:nvPr/>
                </p:nvGrpSpPr>
                <p:grpSpPr>
                  <a:xfrm>
                    <a:off x="350765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6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7" name="Hexagon 166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49" name="Group 148"/>
                  <p:cNvGrpSpPr/>
                  <p:nvPr/>
                </p:nvGrpSpPr>
                <p:grpSpPr>
                  <a:xfrm>
                    <a:off x="497031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4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5" name="Hexagon 164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4" name="Group 153"/>
                  <p:cNvGrpSpPr/>
                  <p:nvPr/>
                </p:nvGrpSpPr>
                <p:grpSpPr>
                  <a:xfrm>
                    <a:off x="643298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3" name="Hexagon 16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77" name="Group 176"/>
                  <p:cNvGrpSpPr/>
                  <p:nvPr/>
                </p:nvGrpSpPr>
                <p:grpSpPr>
                  <a:xfrm>
                    <a:off x="204498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9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0" name="Hexagon 179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81" name="Group 180"/>
                  <p:cNvGrpSpPr/>
                  <p:nvPr/>
                </p:nvGrpSpPr>
                <p:grpSpPr>
                  <a:xfrm>
                    <a:off x="58232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8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3" name="Hexagon 18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</p:grpSp>
          </p:grpSp>
          <p:grpSp>
            <p:nvGrpSpPr>
              <p:cNvPr id="6" name="Group 5"/>
              <p:cNvGrpSpPr/>
              <p:nvPr/>
            </p:nvGrpSpPr>
            <p:grpSpPr>
              <a:xfrm>
                <a:off x="8098514" y="4049007"/>
                <a:ext cx="3131902" cy="1147342"/>
                <a:chOff x="8651215" y="4025491"/>
                <a:chExt cx="3131902" cy="1147342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8651215" y="4025491"/>
                  <a:ext cx="3131902" cy="1147342"/>
                  <a:chOff x="5815343" y="4812085"/>
                  <a:chExt cx="1701898" cy="1147342"/>
                </a:xfrm>
              </p:grpSpPr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166892" y="5682195"/>
                    <a:ext cx="350349" cy="27699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r"/>
                    <a:r>
                      <a:rPr lang="en-US" sz="1200" dirty="0"/>
                      <a:t>Border</a:t>
                    </a: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>
                  <a:xfrm>
                    <a:off x="5815343" y="4812085"/>
                    <a:ext cx="1695507" cy="1147342"/>
                  </a:xfrm>
                  <a:prstGeom prst="roundRect">
                    <a:avLst>
                      <a:gd name="adj" fmla="val 9804"/>
                    </a:avLst>
                  </a:prstGeom>
                  <a:noFill/>
                  <a:ln w="19050">
                    <a:solidFill>
                      <a:schemeClr val="accent3">
                        <a:lumMod val="50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rtlCol="0" anchor="ctr"/>
                  <a:lstStyle/>
                  <a:p>
                    <a:pPr algn="ctr"/>
                    <a:endParaRPr lang="en-US" sz="500" dirty="0"/>
                  </a:p>
                </p:txBody>
              </p:sp>
            </p:grpSp>
            <p:sp>
              <p:nvSpPr>
                <p:cNvPr id="159" name="Hexagon 158"/>
                <p:cNvSpPr/>
                <p:nvPr/>
              </p:nvSpPr>
              <p:spPr>
                <a:xfrm>
                  <a:off x="9614212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  <p:sp>
              <p:nvSpPr>
                <p:cNvPr id="191" name="Hexagon 190"/>
                <p:cNvSpPr/>
                <p:nvPr/>
              </p:nvSpPr>
              <p:spPr>
                <a:xfrm>
                  <a:off x="11219971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</p:grpSp>
        </p:grpSp>
      </p:grpSp>
      <p:grpSp>
        <p:nvGrpSpPr>
          <p:cNvPr id="15" name="Group 14"/>
          <p:cNvGrpSpPr/>
          <p:nvPr/>
        </p:nvGrpSpPr>
        <p:grpSpPr>
          <a:xfrm>
            <a:off x="3608819" y="1442418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5840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879443" y="1997276"/>
            <a:ext cx="850633" cy="380497"/>
            <a:chOff x="3078202" y="2279930"/>
            <a:chExt cx="850633" cy="380497"/>
          </a:xfrm>
        </p:grpSpPr>
        <p:sp>
          <p:nvSpPr>
            <p:cNvPr id="197" name="Oval 196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199727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199727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7476456" y="1997276"/>
            <a:ext cx="850633" cy="380497"/>
            <a:chOff x="3078202" y="2279930"/>
            <a:chExt cx="850633" cy="380497"/>
          </a:xfrm>
        </p:grpSpPr>
        <p:sp>
          <p:nvSpPr>
            <p:cNvPr id="219" name="Oval 218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925059" y="5534347"/>
            <a:ext cx="2005290" cy="1050012"/>
            <a:chOff x="8923471" y="5534347"/>
            <a:chExt cx="2005290" cy="1050012"/>
          </a:xfrm>
        </p:grpSpPr>
        <p:sp>
          <p:nvSpPr>
            <p:cNvPr id="223" name="Cloud 222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224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8" name="Group 227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229" name="Oval 22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232" name="Oval 231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235" name="Oval 234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238" name="Oval 23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41" name="Oval 240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44" name="Oval 24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82828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879927" y="330407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64" name="Rectangle 263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1" name="Up-Down Arrow 270"/>
          <p:cNvSpPr/>
          <p:nvPr/>
        </p:nvSpPr>
        <p:spPr>
          <a:xfrm>
            <a:off x="8209785" y="4938464"/>
            <a:ext cx="682060" cy="1458024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eBG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433753" y="141099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43304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490642"/>
            <a:ext cx="6621133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as Spine (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Leaf (VTEP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with F3 as Border Leaf (VTEP)</a:t>
            </a:r>
          </a:p>
        </p:txBody>
      </p:sp>
    </p:spTree>
    <p:extLst>
      <p:ext uri="{BB962C8B-B14F-4D97-AF65-F5344CB8AC3E}">
        <p14:creationId xmlns:p14="http://schemas.microsoft.com/office/powerpoint/2010/main" val="1168341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264694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17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41553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8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52317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1321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62085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9167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06883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4599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4074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1790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" name="Group 27"/>
          <p:cNvGrpSpPr/>
          <p:nvPr/>
        </p:nvGrpSpPr>
        <p:grpSpPr>
          <a:xfrm>
            <a:off x="9009441" y="4715059"/>
            <a:ext cx="1646344" cy="1022968"/>
            <a:chOff x="9007853" y="4715059"/>
            <a:chExt cx="1646344" cy="102296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007853" y="4750333"/>
              <a:ext cx="317509" cy="9289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flipH="1">
              <a:off x="9348882" y="4750333"/>
              <a:ext cx="1281796" cy="9876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9007853" y="4715059"/>
              <a:ext cx="1540508" cy="987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10536601" y="4738575"/>
              <a:ext cx="117596" cy="99945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0" name="Picture 10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235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82830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9" name="Group 268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266" name="Straight Connector 265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04225" y="4049007"/>
            <a:ext cx="10795311" cy="1147342"/>
            <a:chOff x="702636" y="4049007"/>
            <a:chExt cx="10795311" cy="1147342"/>
          </a:xfrm>
        </p:grpSpPr>
        <p:sp>
          <p:nvSpPr>
            <p:cNvPr id="139" name="TextBox 138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02636" y="4049007"/>
              <a:ext cx="10795311" cy="1147342"/>
              <a:chOff x="435105" y="4049007"/>
              <a:chExt cx="10795311" cy="1147342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35105" y="4049007"/>
                <a:ext cx="7432067" cy="1147342"/>
                <a:chOff x="435105" y="4049007"/>
                <a:chExt cx="7432067" cy="1147342"/>
              </a:xfrm>
            </p:grpSpPr>
            <p:sp>
              <p:nvSpPr>
                <p:cNvPr id="140" name="Rounded Rectangle 139"/>
                <p:cNvSpPr/>
                <p:nvPr/>
              </p:nvSpPr>
              <p:spPr>
                <a:xfrm>
                  <a:off x="435105" y="4049007"/>
                  <a:ext cx="7432067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2" name="Group 1"/>
                <p:cNvGrpSpPr/>
                <p:nvPr/>
              </p:nvGrpSpPr>
              <p:grpSpPr>
                <a:xfrm>
                  <a:off x="1425787" y="4355731"/>
                  <a:ext cx="6307860" cy="457200"/>
                  <a:chOff x="1439478" y="4355731"/>
                  <a:chExt cx="6307860" cy="457200"/>
                </a:xfrm>
              </p:grpSpPr>
              <p:sp>
                <p:nvSpPr>
                  <p:cNvPr id="167" name="Hexagon 166"/>
                  <p:cNvSpPr/>
                  <p:nvPr/>
                </p:nvSpPr>
                <p:spPr>
                  <a:xfrm>
                    <a:off x="436480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65" name="Hexagon 164"/>
                  <p:cNvSpPr/>
                  <p:nvPr/>
                </p:nvSpPr>
                <p:spPr>
                  <a:xfrm>
                    <a:off x="582747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63" name="Hexagon 162"/>
                  <p:cNvSpPr/>
                  <p:nvPr/>
                </p:nvSpPr>
                <p:spPr>
                  <a:xfrm>
                    <a:off x="729013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80" name="Hexagon 179"/>
                  <p:cNvSpPr/>
                  <p:nvPr/>
                </p:nvSpPr>
                <p:spPr>
                  <a:xfrm>
                    <a:off x="290214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83" name="Hexagon 182"/>
                  <p:cNvSpPr/>
                  <p:nvPr/>
                </p:nvSpPr>
                <p:spPr>
                  <a:xfrm>
                    <a:off x="143947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</p:grpSp>
          <p:grpSp>
            <p:nvGrpSpPr>
              <p:cNvPr id="6" name="Group 5"/>
              <p:cNvGrpSpPr/>
              <p:nvPr/>
            </p:nvGrpSpPr>
            <p:grpSpPr>
              <a:xfrm>
                <a:off x="8098514" y="4049007"/>
                <a:ext cx="3131902" cy="1147342"/>
                <a:chOff x="8651215" y="4025491"/>
                <a:chExt cx="3131902" cy="1147342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8651215" y="4025491"/>
                  <a:ext cx="3131902" cy="1147342"/>
                  <a:chOff x="5815343" y="4812085"/>
                  <a:chExt cx="1701898" cy="1147342"/>
                </a:xfrm>
              </p:grpSpPr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166892" y="5682195"/>
                    <a:ext cx="350349" cy="27699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r"/>
                    <a:r>
                      <a:rPr lang="en-US" sz="1200" dirty="0"/>
                      <a:t>Border</a:t>
                    </a: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>
                  <a:xfrm>
                    <a:off x="5815343" y="4812085"/>
                    <a:ext cx="1695507" cy="1147342"/>
                  </a:xfrm>
                  <a:prstGeom prst="roundRect">
                    <a:avLst>
                      <a:gd name="adj" fmla="val 9804"/>
                    </a:avLst>
                  </a:prstGeom>
                  <a:noFill/>
                  <a:ln w="19050">
                    <a:solidFill>
                      <a:schemeClr val="accent3">
                        <a:lumMod val="50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rtlCol="0" anchor="ctr"/>
                  <a:lstStyle/>
                  <a:p>
                    <a:pPr algn="ctr"/>
                    <a:endParaRPr lang="en-US" sz="500" dirty="0"/>
                  </a:p>
                </p:txBody>
              </p:sp>
            </p:grpSp>
            <p:sp>
              <p:nvSpPr>
                <p:cNvPr id="159" name="Hexagon 158"/>
                <p:cNvSpPr/>
                <p:nvPr/>
              </p:nvSpPr>
              <p:spPr>
                <a:xfrm>
                  <a:off x="9614212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  <p:sp>
              <p:nvSpPr>
                <p:cNvPr id="191" name="Hexagon 190"/>
                <p:cNvSpPr/>
                <p:nvPr/>
              </p:nvSpPr>
              <p:spPr>
                <a:xfrm>
                  <a:off x="11219971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</p:grpSp>
        </p:grpSp>
      </p:grpSp>
      <p:grpSp>
        <p:nvGrpSpPr>
          <p:cNvPr id="15" name="Group 14"/>
          <p:cNvGrpSpPr/>
          <p:nvPr/>
        </p:nvGrpSpPr>
        <p:grpSpPr>
          <a:xfrm>
            <a:off x="3608819" y="2222309"/>
            <a:ext cx="4974362" cy="977245"/>
            <a:chOff x="3607231" y="2222308"/>
            <a:chExt cx="4974362" cy="977245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2230221"/>
              <a:ext cx="5840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2222308"/>
              <a:ext cx="4974362" cy="977245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879443" y="2526386"/>
            <a:ext cx="850633" cy="380497"/>
            <a:chOff x="3078202" y="2279930"/>
            <a:chExt cx="850633" cy="380497"/>
          </a:xfrm>
        </p:grpSpPr>
        <p:sp>
          <p:nvSpPr>
            <p:cNvPr id="197" name="Oval 196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252638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252638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7476456" y="2526386"/>
            <a:ext cx="850633" cy="380497"/>
            <a:chOff x="3078202" y="2279930"/>
            <a:chExt cx="850633" cy="380497"/>
          </a:xfrm>
        </p:grpSpPr>
        <p:sp>
          <p:nvSpPr>
            <p:cNvPr id="219" name="Oval 218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925059" y="5534347"/>
            <a:ext cx="2005290" cy="1050012"/>
            <a:chOff x="8923471" y="5534347"/>
            <a:chExt cx="2005290" cy="1050012"/>
          </a:xfrm>
        </p:grpSpPr>
        <p:sp>
          <p:nvSpPr>
            <p:cNvPr id="223" name="Cloud 222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224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8" name="Group 227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229" name="Oval 22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232" name="Oval 231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235" name="Oval 234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238" name="Oval 23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41" name="Oval 240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44" name="Oval 24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82828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879927" y="330407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64" name="Rectangle 263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1" name="Up-Down Arrow 270"/>
          <p:cNvSpPr/>
          <p:nvPr/>
        </p:nvSpPr>
        <p:spPr>
          <a:xfrm>
            <a:off x="8209785" y="4938464"/>
            <a:ext cx="682060" cy="1458024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eBG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433753" y="141099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43304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490642"/>
            <a:ext cx="6621133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5600 as Spine (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5600 as Leaf (VTEP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with F3 as Border Leaf (VTEP)</a:t>
            </a:r>
          </a:p>
        </p:txBody>
      </p:sp>
    </p:spTree>
    <p:extLst>
      <p:ext uri="{BB962C8B-B14F-4D97-AF65-F5344CB8AC3E}">
        <p14:creationId xmlns:p14="http://schemas.microsoft.com/office/powerpoint/2010/main" val="1870068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011177" y="1516815"/>
            <a:ext cx="1646344" cy="893627"/>
            <a:chOff x="5009589" y="1516814"/>
            <a:chExt cx="1646344" cy="893627"/>
          </a:xfrm>
        </p:grpSpPr>
        <p:cxnSp>
          <p:nvCxnSpPr>
            <p:cNvPr id="121" name="Straight Connector 120"/>
            <p:cNvCxnSpPr/>
            <p:nvPr/>
          </p:nvCxnSpPr>
          <p:spPr>
            <a:xfrm>
              <a:off x="5009589" y="1516814"/>
              <a:ext cx="435106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5421175" y="1516814"/>
              <a:ext cx="858452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5021349" y="1528573"/>
              <a:ext cx="1622825" cy="8465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6267867" y="1552089"/>
              <a:ext cx="388066" cy="81131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Cloud 136"/>
          <p:cNvSpPr/>
          <p:nvPr/>
        </p:nvSpPr>
        <p:spPr>
          <a:xfrm>
            <a:off x="707163" y="311726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07" name="Picture 10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4024" y="220444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3028" y="220444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608819" y="1912738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110459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Border 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246759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246759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35796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974007" y="377439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433753" y="188131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90336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813808"/>
            <a:ext cx="6621133" cy="769306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as Border Spine (VTEP/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Leaf (VTEP)</a:t>
            </a:r>
          </a:p>
        </p:txBody>
      </p:sp>
      <p:sp>
        <p:nvSpPr>
          <p:cNvPr id="113" name="Hexagon 112"/>
          <p:cNvSpPr/>
          <p:nvPr/>
        </p:nvSpPr>
        <p:spPr>
          <a:xfrm>
            <a:off x="4669331" y="2735749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sp>
        <p:nvSpPr>
          <p:cNvPr id="114" name="Hexagon 113"/>
          <p:cNvSpPr/>
          <p:nvPr/>
        </p:nvSpPr>
        <p:spPr>
          <a:xfrm>
            <a:off x="7009025" y="2735749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grpSp>
        <p:nvGrpSpPr>
          <p:cNvPr id="246" name="Group 245"/>
          <p:cNvGrpSpPr/>
          <p:nvPr/>
        </p:nvGrpSpPr>
        <p:grpSpPr>
          <a:xfrm>
            <a:off x="5071651" y="2772235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235376" y="2772235"/>
            <a:ext cx="850633" cy="369197"/>
            <a:chOff x="3694664" y="5917691"/>
            <a:chExt cx="850633" cy="369197"/>
          </a:xfrm>
        </p:grpSpPr>
        <p:sp>
          <p:nvSpPr>
            <p:cNvPr id="104" name="Oval 1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sp>
        <p:nvSpPr>
          <p:cNvPr id="115" name="Can 114"/>
          <p:cNvSpPr/>
          <p:nvPr/>
        </p:nvSpPr>
        <p:spPr>
          <a:xfrm rot="10800000" flipV="1">
            <a:off x="4763751" y="3157250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6" name="Can 115"/>
          <p:cNvSpPr/>
          <p:nvPr/>
        </p:nvSpPr>
        <p:spPr>
          <a:xfrm rot="10800000" flipV="1">
            <a:off x="7115196" y="3157250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17" name="Group 116"/>
          <p:cNvGrpSpPr/>
          <p:nvPr/>
        </p:nvGrpSpPr>
        <p:grpSpPr>
          <a:xfrm>
            <a:off x="4644565" y="649222"/>
            <a:ext cx="2005290" cy="1097585"/>
            <a:chOff x="8923471" y="5728780"/>
            <a:chExt cx="2005290" cy="1097585"/>
          </a:xfrm>
        </p:grpSpPr>
        <p:sp>
          <p:nvSpPr>
            <p:cNvPr id="118" name="Cloud 117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119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7" name="Group 126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128" name="Straight Connector 127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0" name="Oval 129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04225" y="4022750"/>
            <a:ext cx="10786493" cy="1199856"/>
            <a:chOff x="702636" y="4022750"/>
            <a:chExt cx="10786493" cy="1199856"/>
          </a:xfrm>
        </p:grpSpPr>
        <p:sp>
          <p:nvSpPr>
            <p:cNvPr id="132" name="TextBox 131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33" name="Group 132"/>
            <p:cNvGrpSpPr/>
            <p:nvPr/>
          </p:nvGrpSpPr>
          <p:grpSpPr>
            <a:xfrm>
              <a:off x="702636" y="4022750"/>
              <a:ext cx="10786493" cy="1199856"/>
              <a:chOff x="435105" y="4022750"/>
              <a:chExt cx="10786493" cy="1199856"/>
            </a:xfrm>
          </p:grpSpPr>
          <p:grpSp>
            <p:nvGrpSpPr>
              <p:cNvPr id="134" name="Group 133"/>
              <p:cNvGrpSpPr/>
              <p:nvPr/>
            </p:nvGrpSpPr>
            <p:grpSpPr>
              <a:xfrm>
                <a:off x="435105" y="4022750"/>
                <a:ext cx="10786493" cy="1199856"/>
                <a:chOff x="435105" y="4022750"/>
                <a:chExt cx="10786493" cy="1199856"/>
              </a:xfrm>
            </p:grpSpPr>
            <p:sp>
              <p:nvSpPr>
                <p:cNvPr id="151" name="Rounded Rectangle 150"/>
                <p:cNvSpPr/>
                <p:nvPr/>
              </p:nvSpPr>
              <p:spPr>
                <a:xfrm>
                  <a:off x="435105" y="4049007"/>
                  <a:ext cx="10786493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152" name="Group 151"/>
                <p:cNvGrpSpPr/>
                <p:nvPr/>
              </p:nvGrpSpPr>
              <p:grpSpPr>
                <a:xfrm>
                  <a:off x="568630" y="4022750"/>
                  <a:ext cx="7165017" cy="1199856"/>
                  <a:chOff x="582321" y="4022750"/>
                  <a:chExt cx="7165017" cy="1199856"/>
                </a:xfrm>
              </p:grpSpPr>
              <p:grpSp>
                <p:nvGrpSpPr>
                  <p:cNvPr id="153" name="Group 152"/>
                  <p:cNvGrpSpPr/>
                  <p:nvPr/>
                </p:nvGrpSpPr>
                <p:grpSpPr>
                  <a:xfrm>
                    <a:off x="350765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84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5" name="Hexagon 184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5" name="Group 154"/>
                  <p:cNvGrpSpPr/>
                  <p:nvPr/>
                </p:nvGrpSpPr>
                <p:grpSpPr>
                  <a:xfrm>
                    <a:off x="497031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6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78" name="Hexagon 177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6" name="Group 155"/>
                  <p:cNvGrpSpPr/>
                  <p:nvPr/>
                </p:nvGrpSpPr>
                <p:grpSpPr>
                  <a:xfrm>
                    <a:off x="643298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4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75" name="Hexagon 174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7" name="Group 156"/>
                  <p:cNvGrpSpPr/>
                  <p:nvPr/>
                </p:nvGrpSpPr>
                <p:grpSpPr>
                  <a:xfrm>
                    <a:off x="204498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0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71" name="Hexagon 170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8" name="Group 157"/>
                  <p:cNvGrpSpPr/>
                  <p:nvPr/>
                </p:nvGrpSpPr>
                <p:grpSpPr>
                  <a:xfrm>
                    <a:off x="58232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0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1" name="Hexagon 160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</p:grpSp>
          </p:grpSp>
          <p:grpSp>
            <p:nvGrpSpPr>
              <p:cNvPr id="135" name="Group 134"/>
              <p:cNvGrpSpPr/>
              <p:nvPr/>
            </p:nvGrpSpPr>
            <p:grpSpPr>
              <a:xfrm>
                <a:off x="8204354" y="4022750"/>
                <a:ext cx="2920116" cy="1199856"/>
                <a:chOff x="8757055" y="3999234"/>
                <a:chExt cx="2920116" cy="1199856"/>
              </a:xfrm>
            </p:grpSpPr>
            <p:grpSp>
              <p:nvGrpSpPr>
                <p:cNvPr id="138" name="Group 137"/>
                <p:cNvGrpSpPr/>
                <p:nvPr/>
              </p:nvGrpSpPr>
              <p:grpSpPr>
                <a:xfrm>
                  <a:off x="8757055" y="3999234"/>
                  <a:ext cx="1314357" cy="1199856"/>
                  <a:chOff x="452966" y="4252385"/>
                  <a:chExt cx="1314357" cy="1199856"/>
                </a:xfrm>
              </p:grpSpPr>
              <p:pic>
                <p:nvPicPr>
                  <p:cNvPr id="145" name="Picture 4" descr="C:\Share\Rajesh\backup(15112012)\Device Icons\icons\nexus9300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l="4357" r="4214"/>
                  <a:stretch/>
                </p:blipFill>
                <p:spPr bwMode="auto">
                  <a:xfrm>
                    <a:off x="452966" y="4252385"/>
                    <a:ext cx="1097280" cy="119985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46" name="Hexagon 145"/>
                  <p:cNvSpPr/>
                  <p:nvPr/>
                </p:nvSpPr>
                <p:spPr>
                  <a:xfrm>
                    <a:off x="1310123" y="4585366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  <p:grpSp>
              <p:nvGrpSpPr>
                <p:cNvPr id="141" name="Group 140"/>
                <p:cNvGrpSpPr/>
                <p:nvPr/>
              </p:nvGrpSpPr>
              <p:grpSpPr>
                <a:xfrm>
                  <a:off x="10362814" y="3999234"/>
                  <a:ext cx="1314357" cy="1199856"/>
                  <a:chOff x="452966" y="4252385"/>
                  <a:chExt cx="1314357" cy="1199856"/>
                </a:xfrm>
              </p:grpSpPr>
              <p:pic>
                <p:nvPicPr>
                  <p:cNvPr id="143" name="Picture 4" descr="C:\Share\Rajesh\backup(15112012)\Device Icons\icons\nexus9300.png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 l="4357" r="4214"/>
                  <a:stretch/>
                </p:blipFill>
                <p:spPr bwMode="auto">
                  <a:xfrm>
                    <a:off x="452966" y="4252385"/>
                    <a:ext cx="1097280" cy="1199856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sp>
                <p:nvSpPr>
                  <p:cNvPr id="144" name="Hexagon 143"/>
                  <p:cNvSpPr/>
                  <p:nvPr/>
                </p:nvSpPr>
                <p:spPr>
                  <a:xfrm>
                    <a:off x="1310123" y="4585366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</p:grpSp>
        </p:grpSp>
      </p:grpSp>
      <p:grpSp>
        <p:nvGrpSpPr>
          <p:cNvPr id="186" name="Group 185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187" name="Oval 18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89" name="Group 188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190" name="Oval 189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194" name="Oval 19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96" name="Group 195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198" name="Oval 19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04" name="Oval 2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09" name="Oval 20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3741090" y="5917691"/>
              <a:ext cx="75941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12" name="Group 211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13" name="Oval 212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4" name="TextBox 213"/>
            <p:cNvSpPr txBox="1"/>
            <p:nvPr/>
          </p:nvSpPr>
          <p:spPr>
            <a:xfrm>
              <a:off x="3741090" y="5917691"/>
              <a:ext cx="75941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sp>
        <p:nvSpPr>
          <p:cNvPr id="215" name="Rectangle 214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</p:spTree>
    <p:extLst>
      <p:ext uri="{BB962C8B-B14F-4D97-AF65-F5344CB8AC3E}">
        <p14:creationId xmlns:p14="http://schemas.microsoft.com/office/powerpoint/2010/main" val="1811752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8861" y="2722214"/>
            <a:ext cx="3565730" cy="1202904"/>
          </a:xfrm>
        </p:spPr>
        <p:txBody>
          <a:bodyPr/>
          <a:lstStyle/>
          <a:p>
            <a:r>
              <a:rPr lang="en-US" smtClean="0"/>
              <a:t>Where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449655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311726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02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882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07357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5072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0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4548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2264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5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79248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6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078079" y="4383376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" name="Group 18"/>
          <p:cNvGrpSpPr/>
          <p:nvPr/>
        </p:nvGrpSpPr>
        <p:grpSpPr>
          <a:xfrm>
            <a:off x="5011177" y="1516815"/>
            <a:ext cx="1646344" cy="893627"/>
            <a:chOff x="5009589" y="1516814"/>
            <a:chExt cx="1646344" cy="893627"/>
          </a:xfrm>
        </p:grpSpPr>
        <p:cxnSp>
          <p:nvCxnSpPr>
            <p:cNvPr id="121" name="Straight Connector 120"/>
            <p:cNvCxnSpPr/>
            <p:nvPr/>
          </p:nvCxnSpPr>
          <p:spPr>
            <a:xfrm>
              <a:off x="5009589" y="1516814"/>
              <a:ext cx="435106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 flipH="1">
              <a:off x="5421175" y="1516814"/>
              <a:ext cx="858452" cy="89362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5021349" y="1528573"/>
              <a:ext cx="1622825" cy="8465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/>
            <p:nvPr/>
          </p:nvCxnSpPr>
          <p:spPr>
            <a:xfrm>
              <a:off x="6267867" y="1552089"/>
              <a:ext cx="388066" cy="81131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7" name="Picture 10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4024" y="220444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33028" y="220444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608819" y="1912738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110459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Border 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246759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246759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35796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98375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974007" y="377439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4" name="Rectangle 273"/>
          <p:cNvSpPr/>
          <p:nvPr/>
        </p:nvSpPr>
        <p:spPr>
          <a:xfrm>
            <a:off x="433753" y="188131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90336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813808"/>
            <a:ext cx="6621133" cy="769306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as Border Spine (VTEP/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5600 as Leaf (VTEP)</a:t>
            </a:r>
          </a:p>
        </p:txBody>
      </p:sp>
      <p:sp>
        <p:nvSpPr>
          <p:cNvPr id="113" name="Hexagon 112"/>
          <p:cNvSpPr/>
          <p:nvPr/>
        </p:nvSpPr>
        <p:spPr>
          <a:xfrm>
            <a:off x="4669331" y="2735749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sp>
        <p:nvSpPr>
          <p:cNvPr id="114" name="Hexagon 113"/>
          <p:cNvSpPr/>
          <p:nvPr/>
        </p:nvSpPr>
        <p:spPr>
          <a:xfrm>
            <a:off x="7009025" y="2735749"/>
            <a:ext cx="457200" cy="457200"/>
          </a:xfrm>
          <a:prstGeom prst="hexagon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V</a:t>
            </a:r>
          </a:p>
        </p:txBody>
      </p:sp>
      <p:grpSp>
        <p:nvGrpSpPr>
          <p:cNvPr id="246" name="Group 245"/>
          <p:cNvGrpSpPr/>
          <p:nvPr/>
        </p:nvGrpSpPr>
        <p:grpSpPr>
          <a:xfrm>
            <a:off x="5071651" y="2772235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6235376" y="2772235"/>
            <a:ext cx="850633" cy="369197"/>
            <a:chOff x="3694664" y="5917691"/>
            <a:chExt cx="850633" cy="369197"/>
          </a:xfrm>
        </p:grpSpPr>
        <p:sp>
          <p:nvSpPr>
            <p:cNvPr id="104" name="Oval 1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3860964" y="5917691"/>
              <a:ext cx="51966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S</a:t>
              </a:r>
            </a:p>
          </p:txBody>
        </p:sp>
      </p:grpSp>
      <p:sp>
        <p:nvSpPr>
          <p:cNvPr id="115" name="Can 114"/>
          <p:cNvSpPr/>
          <p:nvPr/>
        </p:nvSpPr>
        <p:spPr>
          <a:xfrm rot="10800000" flipV="1">
            <a:off x="4763751" y="3157250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116" name="Can 115"/>
          <p:cNvSpPr/>
          <p:nvPr/>
        </p:nvSpPr>
        <p:spPr>
          <a:xfrm rot="10800000" flipV="1">
            <a:off x="7115196" y="3157250"/>
            <a:ext cx="246952" cy="73152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117" name="Group 116"/>
          <p:cNvGrpSpPr/>
          <p:nvPr/>
        </p:nvGrpSpPr>
        <p:grpSpPr>
          <a:xfrm>
            <a:off x="4644565" y="649222"/>
            <a:ext cx="2005290" cy="1097585"/>
            <a:chOff x="8923471" y="5728780"/>
            <a:chExt cx="2005290" cy="1097585"/>
          </a:xfrm>
        </p:grpSpPr>
        <p:sp>
          <p:nvSpPr>
            <p:cNvPr id="118" name="Cloud 117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119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0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6369165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7" name="Group 126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128" name="Straight Connector 127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29" name="Straight Connector 128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30" name="Oval 129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131" name="Group 130"/>
          <p:cNvGrpSpPr/>
          <p:nvPr/>
        </p:nvGrpSpPr>
        <p:grpSpPr>
          <a:xfrm>
            <a:off x="704225" y="4049007"/>
            <a:ext cx="10786493" cy="1147342"/>
            <a:chOff x="702636" y="4049007"/>
            <a:chExt cx="10786493" cy="1147342"/>
          </a:xfrm>
        </p:grpSpPr>
        <p:sp>
          <p:nvSpPr>
            <p:cNvPr id="132" name="TextBox 131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33" name="Group 132"/>
            <p:cNvGrpSpPr/>
            <p:nvPr/>
          </p:nvGrpSpPr>
          <p:grpSpPr>
            <a:xfrm>
              <a:off x="702636" y="4049007"/>
              <a:ext cx="10786493" cy="1147342"/>
              <a:chOff x="435105" y="4049007"/>
              <a:chExt cx="10786493" cy="1147342"/>
            </a:xfrm>
          </p:grpSpPr>
          <p:grpSp>
            <p:nvGrpSpPr>
              <p:cNvPr id="134" name="Group 133"/>
              <p:cNvGrpSpPr/>
              <p:nvPr/>
            </p:nvGrpSpPr>
            <p:grpSpPr>
              <a:xfrm>
                <a:off x="435105" y="4049007"/>
                <a:ext cx="10786493" cy="1147342"/>
                <a:chOff x="435105" y="4049007"/>
                <a:chExt cx="10786493" cy="1147342"/>
              </a:xfrm>
            </p:grpSpPr>
            <p:sp>
              <p:nvSpPr>
                <p:cNvPr id="151" name="Rounded Rectangle 150"/>
                <p:cNvSpPr/>
                <p:nvPr/>
              </p:nvSpPr>
              <p:spPr>
                <a:xfrm>
                  <a:off x="435105" y="4049007"/>
                  <a:ext cx="10786493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152" name="Group 151"/>
                <p:cNvGrpSpPr/>
                <p:nvPr/>
              </p:nvGrpSpPr>
              <p:grpSpPr>
                <a:xfrm>
                  <a:off x="1425787" y="4355731"/>
                  <a:ext cx="6307860" cy="457200"/>
                  <a:chOff x="1439478" y="4355731"/>
                  <a:chExt cx="6307860" cy="457200"/>
                </a:xfrm>
              </p:grpSpPr>
              <p:sp>
                <p:nvSpPr>
                  <p:cNvPr id="185" name="Hexagon 184"/>
                  <p:cNvSpPr/>
                  <p:nvPr/>
                </p:nvSpPr>
                <p:spPr>
                  <a:xfrm>
                    <a:off x="436480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78" name="Hexagon 177"/>
                  <p:cNvSpPr/>
                  <p:nvPr/>
                </p:nvSpPr>
                <p:spPr>
                  <a:xfrm>
                    <a:off x="582747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75" name="Hexagon 174"/>
                  <p:cNvSpPr/>
                  <p:nvPr/>
                </p:nvSpPr>
                <p:spPr>
                  <a:xfrm>
                    <a:off x="729013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71" name="Hexagon 170"/>
                  <p:cNvSpPr/>
                  <p:nvPr/>
                </p:nvSpPr>
                <p:spPr>
                  <a:xfrm>
                    <a:off x="290214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61" name="Hexagon 160"/>
                  <p:cNvSpPr/>
                  <p:nvPr/>
                </p:nvSpPr>
                <p:spPr>
                  <a:xfrm>
                    <a:off x="143947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</p:grpSp>
          <p:grpSp>
            <p:nvGrpSpPr>
              <p:cNvPr id="135" name="Group 134"/>
              <p:cNvGrpSpPr/>
              <p:nvPr/>
            </p:nvGrpSpPr>
            <p:grpSpPr>
              <a:xfrm>
                <a:off x="9061511" y="4355731"/>
                <a:ext cx="2062959" cy="457200"/>
                <a:chOff x="9614212" y="4332215"/>
                <a:chExt cx="2062959" cy="457200"/>
              </a:xfrm>
            </p:grpSpPr>
            <p:sp>
              <p:nvSpPr>
                <p:cNvPr id="146" name="Hexagon 145"/>
                <p:cNvSpPr/>
                <p:nvPr/>
              </p:nvSpPr>
              <p:spPr>
                <a:xfrm>
                  <a:off x="9614212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  <p:sp>
              <p:nvSpPr>
                <p:cNvPr id="144" name="Hexagon 143"/>
                <p:cNvSpPr/>
                <p:nvPr/>
              </p:nvSpPr>
              <p:spPr>
                <a:xfrm>
                  <a:off x="11219971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</p:grpSp>
        </p:grpSp>
      </p:grpSp>
      <p:grpSp>
        <p:nvGrpSpPr>
          <p:cNvPr id="186" name="Group 185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187" name="Oval 18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89" name="Group 188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190" name="Oval 189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93" name="Group 192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194" name="Oval 19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196" name="Group 195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198" name="Oval 19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04" name="Oval 20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09" name="Oval 20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0" name="TextBox 209"/>
            <p:cNvSpPr txBox="1"/>
            <p:nvPr/>
          </p:nvSpPr>
          <p:spPr>
            <a:xfrm>
              <a:off x="3741090" y="5917691"/>
              <a:ext cx="75941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12" name="Group 211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13" name="Oval 212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4" name="TextBox 213"/>
            <p:cNvSpPr txBox="1"/>
            <p:nvPr/>
          </p:nvSpPr>
          <p:spPr>
            <a:xfrm>
              <a:off x="3741090" y="5917691"/>
              <a:ext cx="759415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sp>
        <p:nvSpPr>
          <p:cNvPr id="215" name="Rectangle 214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</p:spTree>
    <p:extLst>
      <p:ext uri="{BB962C8B-B14F-4D97-AF65-F5344CB8AC3E}">
        <p14:creationId xmlns:p14="http://schemas.microsoft.com/office/powerpoint/2010/main" val="95546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9009441" y="4715059"/>
            <a:ext cx="1646344" cy="1022968"/>
            <a:chOff x="9007853" y="4715059"/>
            <a:chExt cx="1646344" cy="102296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007853" y="4750333"/>
              <a:ext cx="317509" cy="9289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flipH="1">
              <a:off x="9348882" y="4750333"/>
              <a:ext cx="1281796" cy="9876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9007853" y="4715059"/>
              <a:ext cx="1540508" cy="987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10536601" y="4738575"/>
              <a:ext cx="117596" cy="99945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7" name="Cloud 136"/>
          <p:cNvSpPr/>
          <p:nvPr/>
        </p:nvSpPr>
        <p:spPr>
          <a:xfrm>
            <a:off x="707163" y="264694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10" name="Picture 10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72235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82830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10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23260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7" name="Picture 10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4024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10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3028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0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43792" y="1734122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9" name="Group 268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266" name="Straight Connector 265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04225" y="4022750"/>
            <a:ext cx="10795311" cy="1199856"/>
            <a:chOff x="702636" y="4022750"/>
            <a:chExt cx="10795311" cy="1199856"/>
          </a:xfrm>
        </p:grpSpPr>
        <p:sp>
          <p:nvSpPr>
            <p:cNvPr id="139" name="TextBox 138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02636" y="4022750"/>
              <a:ext cx="10795311" cy="1199856"/>
              <a:chOff x="435105" y="4022750"/>
              <a:chExt cx="10795311" cy="1199856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35105" y="4022750"/>
                <a:ext cx="7432067" cy="1199856"/>
                <a:chOff x="435105" y="4022750"/>
                <a:chExt cx="7432067" cy="1199856"/>
              </a:xfrm>
            </p:grpSpPr>
            <p:sp>
              <p:nvSpPr>
                <p:cNvPr id="140" name="Rounded Rectangle 139"/>
                <p:cNvSpPr/>
                <p:nvPr/>
              </p:nvSpPr>
              <p:spPr>
                <a:xfrm>
                  <a:off x="435105" y="4049007"/>
                  <a:ext cx="7432067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2" name="Group 1"/>
                <p:cNvGrpSpPr/>
                <p:nvPr/>
              </p:nvGrpSpPr>
              <p:grpSpPr>
                <a:xfrm>
                  <a:off x="568630" y="4022750"/>
                  <a:ext cx="7165017" cy="1199856"/>
                  <a:chOff x="582321" y="4022750"/>
                  <a:chExt cx="7165017" cy="1199856"/>
                </a:xfrm>
              </p:grpSpPr>
              <p:grpSp>
                <p:nvGrpSpPr>
                  <p:cNvPr id="148" name="Group 147"/>
                  <p:cNvGrpSpPr/>
                  <p:nvPr/>
                </p:nvGrpSpPr>
                <p:grpSpPr>
                  <a:xfrm>
                    <a:off x="350765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6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7" name="Hexagon 166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49" name="Group 148"/>
                  <p:cNvGrpSpPr/>
                  <p:nvPr/>
                </p:nvGrpSpPr>
                <p:grpSpPr>
                  <a:xfrm>
                    <a:off x="497031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4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5" name="Hexagon 164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54" name="Group 153"/>
                  <p:cNvGrpSpPr/>
                  <p:nvPr/>
                </p:nvGrpSpPr>
                <p:grpSpPr>
                  <a:xfrm>
                    <a:off x="643298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6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63" name="Hexagon 16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77" name="Group 176"/>
                  <p:cNvGrpSpPr/>
                  <p:nvPr/>
                </p:nvGrpSpPr>
                <p:grpSpPr>
                  <a:xfrm>
                    <a:off x="2044986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79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0" name="Hexagon 179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  <p:grpSp>
                <p:nvGrpSpPr>
                  <p:cNvPr id="181" name="Group 180"/>
                  <p:cNvGrpSpPr/>
                  <p:nvPr/>
                </p:nvGrpSpPr>
                <p:grpSpPr>
                  <a:xfrm>
                    <a:off x="582321" y="4022750"/>
                    <a:ext cx="1314357" cy="1199856"/>
                    <a:chOff x="452966" y="4252385"/>
                    <a:chExt cx="1314357" cy="1199856"/>
                  </a:xfrm>
                </p:grpSpPr>
                <p:pic>
                  <p:nvPicPr>
                    <p:cNvPr id="182" name="Picture 4" descr="C:\Share\Rajesh\backup(15112012)\Device Icons\icons\nexus9300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3" cstate="print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 l="4357" r="4214"/>
                    <a:stretch/>
                  </p:blipFill>
                  <p:spPr bwMode="auto">
                    <a:xfrm>
                      <a:off x="452966" y="4252385"/>
                      <a:ext cx="1097280" cy="1199856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 xmlns="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sp>
                  <p:nvSpPr>
                    <p:cNvPr id="183" name="Hexagon 182"/>
                    <p:cNvSpPr/>
                    <p:nvPr/>
                  </p:nvSpPr>
                  <p:spPr>
                    <a:xfrm>
                      <a:off x="1310123" y="4585366"/>
                      <a:ext cx="457200" cy="457200"/>
                    </a:xfrm>
                    <a:prstGeom prst="hexagon">
                      <a:avLst/>
                    </a:prstGeom>
                    <a:ln/>
                  </p:spPr>
                  <p:style>
                    <a:lnRef idx="0">
                      <a:schemeClr val="accent6"/>
                    </a:lnRef>
                    <a:fillRef idx="3">
                      <a:schemeClr val="accent6"/>
                    </a:fillRef>
                    <a:effectRef idx="3">
                      <a:schemeClr val="accent6"/>
                    </a:effectRef>
                    <a:fontRef idx="minor">
                      <a:schemeClr val="lt1"/>
                    </a:fontRef>
                  </p:style>
                  <p:txBody>
                    <a:bodyPr lIns="0" tIns="0" rIns="0" bIns="0" rtlCol="0" anchor="ctr"/>
                    <a:lstStyle/>
                    <a:p>
                      <a:pPr algn="ctr"/>
                      <a:r>
                        <a:rPr lang="en-US" b="1" dirty="0" smtClean="0">
                          <a:latin typeface="Arial"/>
                          <a:cs typeface="Arial"/>
                        </a:rPr>
                        <a:t>V</a:t>
                      </a:r>
                    </a:p>
                  </p:txBody>
                </p:sp>
              </p:grpSp>
            </p:grpSp>
          </p:grpSp>
          <p:grpSp>
            <p:nvGrpSpPr>
              <p:cNvPr id="6" name="Group 5"/>
              <p:cNvGrpSpPr/>
              <p:nvPr/>
            </p:nvGrpSpPr>
            <p:grpSpPr>
              <a:xfrm>
                <a:off x="8098514" y="4049007"/>
                <a:ext cx="3131902" cy="1147342"/>
                <a:chOff x="8651215" y="4025491"/>
                <a:chExt cx="3131902" cy="1147342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8651215" y="4025491"/>
                  <a:ext cx="3131902" cy="1147342"/>
                  <a:chOff x="5815343" y="4812085"/>
                  <a:chExt cx="1701898" cy="1147342"/>
                </a:xfrm>
              </p:grpSpPr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166892" y="5682195"/>
                    <a:ext cx="350349" cy="27699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r"/>
                    <a:r>
                      <a:rPr lang="en-US" sz="1200" dirty="0"/>
                      <a:t>Border</a:t>
                    </a: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>
                  <a:xfrm>
                    <a:off x="5815343" y="4812085"/>
                    <a:ext cx="1695507" cy="1147342"/>
                  </a:xfrm>
                  <a:prstGeom prst="roundRect">
                    <a:avLst>
                      <a:gd name="adj" fmla="val 9804"/>
                    </a:avLst>
                  </a:prstGeom>
                  <a:noFill/>
                  <a:ln w="19050">
                    <a:solidFill>
                      <a:schemeClr val="accent3">
                        <a:lumMod val="50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rtlCol="0" anchor="ctr"/>
                  <a:lstStyle/>
                  <a:p>
                    <a:pPr algn="ctr"/>
                    <a:endParaRPr lang="en-US" sz="500" dirty="0"/>
                  </a:p>
                </p:txBody>
              </p:sp>
            </p:grpSp>
            <p:sp>
              <p:nvSpPr>
                <p:cNvPr id="159" name="Hexagon 158"/>
                <p:cNvSpPr/>
                <p:nvPr/>
              </p:nvSpPr>
              <p:spPr>
                <a:xfrm>
                  <a:off x="9614212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  <p:sp>
              <p:nvSpPr>
                <p:cNvPr id="191" name="Hexagon 190"/>
                <p:cNvSpPr/>
                <p:nvPr/>
              </p:nvSpPr>
              <p:spPr>
                <a:xfrm>
                  <a:off x="11219971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</p:grpSp>
        </p:grpSp>
      </p:grpSp>
      <p:grpSp>
        <p:nvGrpSpPr>
          <p:cNvPr id="15" name="Group 14"/>
          <p:cNvGrpSpPr/>
          <p:nvPr/>
        </p:nvGrpSpPr>
        <p:grpSpPr>
          <a:xfrm>
            <a:off x="3608819" y="1442418"/>
            <a:ext cx="4974362" cy="1757136"/>
            <a:chOff x="3607231" y="1442418"/>
            <a:chExt cx="4974362" cy="1757136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1442418"/>
              <a:ext cx="5840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1501218"/>
              <a:ext cx="4974362" cy="1698336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879443" y="1997276"/>
            <a:ext cx="850633" cy="380497"/>
            <a:chOff x="3078202" y="2279930"/>
            <a:chExt cx="850633" cy="380497"/>
          </a:xfrm>
        </p:grpSpPr>
        <p:sp>
          <p:nvSpPr>
            <p:cNvPr id="197" name="Oval 196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199727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199727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7476456" y="1997276"/>
            <a:ext cx="850633" cy="380497"/>
            <a:chOff x="3078202" y="2279930"/>
            <a:chExt cx="850633" cy="380497"/>
          </a:xfrm>
        </p:grpSpPr>
        <p:sp>
          <p:nvSpPr>
            <p:cNvPr id="219" name="Oval 218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925059" y="5534347"/>
            <a:ext cx="2005290" cy="1050012"/>
            <a:chOff x="8923471" y="5534347"/>
            <a:chExt cx="2005290" cy="1050012"/>
          </a:xfrm>
        </p:grpSpPr>
        <p:sp>
          <p:nvSpPr>
            <p:cNvPr id="223" name="Cloud 222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224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" name="Picture 656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8" name="Group 227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229" name="Oval 22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232" name="Oval 231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235" name="Oval 234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238" name="Oval 23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41" name="Oval 240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44" name="Oval 24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82828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879927" y="330407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64" name="Rectangle 263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1" name="Up-Down Arrow 270"/>
          <p:cNvSpPr/>
          <p:nvPr/>
        </p:nvSpPr>
        <p:spPr>
          <a:xfrm>
            <a:off x="8209785" y="4938464"/>
            <a:ext cx="682060" cy="1458024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eBG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433753" y="141099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43304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490642"/>
            <a:ext cx="6621133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as Spine (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9300 or 9500 as Leaf (VTEP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with F3 as Border Leaf (VTEP)</a:t>
            </a:r>
          </a:p>
        </p:txBody>
      </p:sp>
    </p:spTree>
    <p:extLst>
      <p:ext uri="{BB962C8B-B14F-4D97-AF65-F5344CB8AC3E}">
        <p14:creationId xmlns:p14="http://schemas.microsoft.com/office/powerpoint/2010/main" val="20279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Cloud 136"/>
          <p:cNvSpPr/>
          <p:nvPr/>
        </p:nvSpPr>
        <p:spPr>
          <a:xfrm>
            <a:off x="707163" y="2646948"/>
            <a:ext cx="10783554" cy="2125578"/>
          </a:xfrm>
          <a:prstGeom prst="cloud">
            <a:avLst/>
          </a:prstGeom>
          <a:gradFill>
            <a:gsLst>
              <a:gs pos="0">
                <a:schemeClr val="accent4">
                  <a:shade val="51000"/>
                  <a:satMod val="130000"/>
                  <a:alpha val="50000"/>
                </a:schemeClr>
              </a:gs>
              <a:gs pos="80000">
                <a:schemeClr val="accent4">
                  <a:shade val="93000"/>
                  <a:satMod val="130000"/>
                  <a:alpha val="50000"/>
                </a:schemeClr>
              </a:gs>
              <a:gs pos="100000">
                <a:schemeClr val="accent4">
                  <a:shade val="94000"/>
                  <a:satMod val="135000"/>
                  <a:alpha val="50000"/>
                </a:schemeClr>
              </a:gs>
            </a:gsLst>
          </a:gra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pic>
        <p:nvPicPr>
          <p:cNvPr id="117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41553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8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52317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9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1321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62085" y="2500444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9167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3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06883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4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764599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5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4074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6" name="Picture 2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91790" y="4382918"/>
            <a:ext cx="1097280" cy="472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8" name="Group 27"/>
          <p:cNvGrpSpPr/>
          <p:nvPr/>
        </p:nvGrpSpPr>
        <p:grpSpPr>
          <a:xfrm>
            <a:off x="9009441" y="4715059"/>
            <a:ext cx="1646344" cy="1022968"/>
            <a:chOff x="9007853" y="4715059"/>
            <a:chExt cx="1646344" cy="102296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007853" y="4750333"/>
              <a:ext cx="317509" cy="92890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flipH="1">
              <a:off x="9348882" y="4750333"/>
              <a:ext cx="1281796" cy="987694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>
              <a:off x="9007853" y="4715059"/>
              <a:ext cx="1540508" cy="987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flipH="1">
              <a:off x="10536601" y="4738575"/>
              <a:ext cx="117596" cy="99945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0" name="Picture 10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235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82830" y="3826633"/>
            <a:ext cx="914400" cy="1241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69" name="Group 268"/>
          <p:cNvGrpSpPr/>
          <p:nvPr/>
        </p:nvGrpSpPr>
        <p:grpSpPr>
          <a:xfrm>
            <a:off x="4505041" y="4597479"/>
            <a:ext cx="1281796" cy="305715"/>
            <a:chOff x="4668087" y="5573413"/>
            <a:chExt cx="1281796" cy="305715"/>
          </a:xfrm>
        </p:grpSpPr>
        <p:cxnSp>
          <p:nvCxnSpPr>
            <p:cNvPr id="266" name="Straight Connector 265"/>
            <p:cNvCxnSpPr/>
            <p:nvPr/>
          </p:nvCxnSpPr>
          <p:spPr>
            <a:xfrm flipH="1">
              <a:off x="4668087" y="569053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flipH="1">
              <a:off x="4668087" y="5784146"/>
              <a:ext cx="1281796" cy="0"/>
            </a:xfrm>
            <a:prstGeom prst="lin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8" name="Oval 267"/>
            <p:cNvSpPr/>
            <p:nvPr/>
          </p:nvSpPr>
          <p:spPr>
            <a:xfrm>
              <a:off x="5256068" y="5573413"/>
              <a:ext cx="105835" cy="305715"/>
            </a:xfrm>
            <a:prstGeom prst="ellipse">
              <a:avLst/>
            </a:prstGeom>
            <a:noFill/>
            <a:ln>
              <a:solidFill>
                <a:srgbClr val="016BA1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XLAN/EVPN Designs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704225" y="4049007"/>
            <a:ext cx="10795311" cy="1147342"/>
            <a:chOff x="702636" y="4049007"/>
            <a:chExt cx="10795311" cy="1147342"/>
          </a:xfrm>
        </p:grpSpPr>
        <p:sp>
          <p:nvSpPr>
            <p:cNvPr id="139" name="TextBox 138"/>
            <p:cNvSpPr txBox="1"/>
            <p:nvPr/>
          </p:nvSpPr>
          <p:spPr>
            <a:xfrm>
              <a:off x="717345" y="4915080"/>
              <a:ext cx="49244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Leaf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702636" y="4049007"/>
              <a:ext cx="10795311" cy="1147342"/>
              <a:chOff x="435105" y="4049007"/>
              <a:chExt cx="10795311" cy="1147342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35105" y="4049007"/>
                <a:ext cx="7432067" cy="1147342"/>
                <a:chOff x="435105" y="4049007"/>
                <a:chExt cx="7432067" cy="1147342"/>
              </a:xfrm>
            </p:grpSpPr>
            <p:sp>
              <p:nvSpPr>
                <p:cNvPr id="140" name="Rounded Rectangle 139"/>
                <p:cNvSpPr/>
                <p:nvPr/>
              </p:nvSpPr>
              <p:spPr>
                <a:xfrm>
                  <a:off x="435105" y="4049007"/>
                  <a:ext cx="7432067" cy="1147342"/>
                </a:xfrm>
                <a:prstGeom prst="roundRect">
                  <a:avLst>
                    <a:gd name="adj" fmla="val 9804"/>
                  </a:avLst>
                </a:prstGeom>
                <a:noFill/>
                <a:ln w="19050">
                  <a:solidFill>
                    <a:schemeClr val="accent3">
                      <a:lumMod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lIns="68589" tIns="34295" rIns="68589" bIns="34295" rtlCol="0" anchor="ctr"/>
                <a:lstStyle/>
                <a:p>
                  <a:pPr algn="ctr"/>
                  <a:endParaRPr lang="en-US" sz="500" dirty="0"/>
                </a:p>
              </p:txBody>
            </p:sp>
            <p:grpSp>
              <p:nvGrpSpPr>
                <p:cNvPr id="2" name="Group 1"/>
                <p:cNvGrpSpPr/>
                <p:nvPr/>
              </p:nvGrpSpPr>
              <p:grpSpPr>
                <a:xfrm>
                  <a:off x="1425787" y="4355731"/>
                  <a:ext cx="6307860" cy="457200"/>
                  <a:chOff x="1439478" y="4355731"/>
                  <a:chExt cx="6307860" cy="457200"/>
                </a:xfrm>
              </p:grpSpPr>
              <p:sp>
                <p:nvSpPr>
                  <p:cNvPr id="167" name="Hexagon 166"/>
                  <p:cNvSpPr/>
                  <p:nvPr/>
                </p:nvSpPr>
                <p:spPr>
                  <a:xfrm>
                    <a:off x="436480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65" name="Hexagon 164"/>
                  <p:cNvSpPr/>
                  <p:nvPr/>
                </p:nvSpPr>
                <p:spPr>
                  <a:xfrm>
                    <a:off x="582747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63" name="Hexagon 162"/>
                  <p:cNvSpPr/>
                  <p:nvPr/>
                </p:nvSpPr>
                <p:spPr>
                  <a:xfrm>
                    <a:off x="729013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80" name="Hexagon 179"/>
                  <p:cNvSpPr/>
                  <p:nvPr/>
                </p:nvSpPr>
                <p:spPr>
                  <a:xfrm>
                    <a:off x="2902143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  <p:sp>
                <p:nvSpPr>
                  <p:cNvPr id="183" name="Hexagon 182"/>
                  <p:cNvSpPr/>
                  <p:nvPr/>
                </p:nvSpPr>
                <p:spPr>
                  <a:xfrm>
                    <a:off x="1439478" y="4355731"/>
                    <a:ext cx="457200" cy="457200"/>
                  </a:xfrm>
                  <a:prstGeom prst="hexagon">
                    <a:avLst/>
                  </a:prstGeom>
                  <a:ln/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lIns="0" tIns="0" rIns="0" bIns="0" rtlCol="0" anchor="ctr"/>
                  <a:lstStyle/>
                  <a:p>
                    <a:pPr algn="ctr"/>
                    <a:r>
                      <a:rPr lang="en-US" b="1" dirty="0" smtClean="0">
                        <a:latin typeface="Arial"/>
                        <a:cs typeface="Arial"/>
                      </a:rPr>
                      <a:t>V</a:t>
                    </a:r>
                  </a:p>
                </p:txBody>
              </p:sp>
            </p:grpSp>
          </p:grpSp>
          <p:grpSp>
            <p:nvGrpSpPr>
              <p:cNvPr id="6" name="Group 5"/>
              <p:cNvGrpSpPr/>
              <p:nvPr/>
            </p:nvGrpSpPr>
            <p:grpSpPr>
              <a:xfrm>
                <a:off x="8098514" y="4049007"/>
                <a:ext cx="3131902" cy="1147342"/>
                <a:chOff x="8651215" y="4025491"/>
                <a:chExt cx="3131902" cy="1147342"/>
              </a:xfrm>
            </p:grpSpPr>
            <p:grpSp>
              <p:nvGrpSpPr>
                <p:cNvPr id="142" name="Group 141"/>
                <p:cNvGrpSpPr/>
                <p:nvPr/>
              </p:nvGrpSpPr>
              <p:grpSpPr>
                <a:xfrm>
                  <a:off x="8651215" y="4025491"/>
                  <a:ext cx="3131902" cy="1147342"/>
                  <a:chOff x="5815343" y="4812085"/>
                  <a:chExt cx="1701898" cy="1147342"/>
                </a:xfrm>
              </p:grpSpPr>
              <p:sp>
                <p:nvSpPr>
                  <p:cNvPr id="168" name="TextBox 167"/>
                  <p:cNvSpPr txBox="1"/>
                  <p:nvPr/>
                </p:nvSpPr>
                <p:spPr>
                  <a:xfrm>
                    <a:off x="7166892" y="5682195"/>
                    <a:ext cx="350349" cy="27699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algn="r"/>
                    <a:r>
                      <a:rPr lang="en-US" sz="1200" dirty="0"/>
                      <a:t>Border</a:t>
                    </a: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>
                  <a:xfrm>
                    <a:off x="5815343" y="4812085"/>
                    <a:ext cx="1695507" cy="1147342"/>
                  </a:xfrm>
                  <a:prstGeom prst="roundRect">
                    <a:avLst>
                      <a:gd name="adj" fmla="val 9804"/>
                    </a:avLst>
                  </a:prstGeom>
                  <a:noFill/>
                  <a:ln w="19050">
                    <a:solidFill>
                      <a:schemeClr val="accent3">
                        <a:lumMod val="50000"/>
                      </a:schemeClr>
                    </a:solidFill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68589" tIns="34295" rIns="68589" bIns="34295" rtlCol="0" anchor="ctr"/>
                  <a:lstStyle/>
                  <a:p>
                    <a:pPr algn="ctr"/>
                    <a:endParaRPr lang="en-US" sz="500" dirty="0"/>
                  </a:p>
                </p:txBody>
              </p:sp>
            </p:grpSp>
            <p:sp>
              <p:nvSpPr>
                <p:cNvPr id="159" name="Hexagon 158"/>
                <p:cNvSpPr/>
                <p:nvPr/>
              </p:nvSpPr>
              <p:spPr>
                <a:xfrm>
                  <a:off x="9614212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  <p:sp>
              <p:nvSpPr>
                <p:cNvPr id="191" name="Hexagon 190"/>
                <p:cNvSpPr/>
                <p:nvPr/>
              </p:nvSpPr>
              <p:spPr>
                <a:xfrm>
                  <a:off x="11219971" y="4332215"/>
                  <a:ext cx="457200" cy="457200"/>
                </a:xfrm>
                <a:prstGeom prst="hexagon">
                  <a:avLst/>
                </a:prstGeom>
                <a:ln/>
              </p:spPr>
              <p:style>
                <a:lnRef idx="0">
                  <a:schemeClr val="accent6"/>
                </a:lnRef>
                <a:fillRef idx="3">
                  <a:schemeClr val="accent6"/>
                </a:fillRef>
                <a:effectRef idx="3">
                  <a:schemeClr val="accent6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r>
                    <a:rPr lang="en-US" b="1" dirty="0" smtClean="0">
                      <a:latin typeface="Arial"/>
                      <a:cs typeface="Arial"/>
                    </a:rPr>
                    <a:t>V</a:t>
                  </a:r>
                </a:p>
              </p:txBody>
            </p:sp>
          </p:grpSp>
        </p:grpSp>
      </p:grpSp>
      <p:grpSp>
        <p:nvGrpSpPr>
          <p:cNvPr id="15" name="Group 14"/>
          <p:cNvGrpSpPr/>
          <p:nvPr/>
        </p:nvGrpSpPr>
        <p:grpSpPr>
          <a:xfrm>
            <a:off x="3608819" y="2222309"/>
            <a:ext cx="4974362" cy="977245"/>
            <a:chOff x="3607231" y="2222308"/>
            <a:chExt cx="4974362" cy="977245"/>
          </a:xfrm>
        </p:grpSpPr>
        <p:sp>
          <p:nvSpPr>
            <p:cNvPr id="172" name="TextBox 171"/>
            <p:cNvSpPr txBox="1"/>
            <p:nvPr/>
          </p:nvSpPr>
          <p:spPr>
            <a:xfrm>
              <a:off x="3621903" y="2230221"/>
              <a:ext cx="5840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/>
                <a:t>Spine</a:t>
              </a:r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3607231" y="2222308"/>
              <a:ext cx="4974362" cy="977245"/>
            </a:xfrm>
            <a:prstGeom prst="roundRect">
              <a:avLst>
                <a:gd name="adj" fmla="val 9804"/>
              </a:avLst>
            </a:prstGeom>
            <a:noFill/>
            <a:ln w="1905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8589" tIns="34295" rIns="68589" bIns="34295" rtlCol="0" anchor="ctr"/>
            <a:lstStyle/>
            <a:p>
              <a:pPr algn="ctr"/>
              <a:endParaRPr lang="en-US" sz="5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879443" y="2526386"/>
            <a:ext cx="850633" cy="380497"/>
            <a:chOff x="3078202" y="2279930"/>
            <a:chExt cx="850633" cy="380497"/>
          </a:xfrm>
        </p:grpSpPr>
        <p:sp>
          <p:nvSpPr>
            <p:cNvPr id="197" name="Oval 196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1" name="Group 200"/>
          <p:cNvGrpSpPr/>
          <p:nvPr/>
        </p:nvGrpSpPr>
        <p:grpSpPr>
          <a:xfrm>
            <a:off x="5066688" y="2526386"/>
            <a:ext cx="850633" cy="380497"/>
            <a:chOff x="3078202" y="2279930"/>
            <a:chExt cx="850633" cy="380497"/>
          </a:xfrm>
        </p:grpSpPr>
        <p:sp>
          <p:nvSpPr>
            <p:cNvPr id="202" name="Oval 201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08" name="Group 207"/>
          <p:cNvGrpSpPr/>
          <p:nvPr/>
        </p:nvGrpSpPr>
        <p:grpSpPr>
          <a:xfrm>
            <a:off x="6265692" y="2526386"/>
            <a:ext cx="850633" cy="380497"/>
            <a:chOff x="3078202" y="2279930"/>
            <a:chExt cx="850633" cy="380497"/>
          </a:xfrm>
        </p:grpSpPr>
        <p:sp>
          <p:nvSpPr>
            <p:cNvPr id="211" name="Oval 210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16" name="TextBox 215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218" name="Group 217"/>
          <p:cNvGrpSpPr/>
          <p:nvPr/>
        </p:nvGrpSpPr>
        <p:grpSpPr>
          <a:xfrm>
            <a:off x="7476456" y="2526386"/>
            <a:ext cx="850633" cy="380497"/>
            <a:chOff x="3078202" y="2279930"/>
            <a:chExt cx="850633" cy="380497"/>
          </a:xfrm>
        </p:grpSpPr>
        <p:sp>
          <p:nvSpPr>
            <p:cNvPr id="219" name="Oval 218"/>
            <p:cNvSpPr/>
            <p:nvPr/>
          </p:nvSpPr>
          <p:spPr>
            <a:xfrm>
              <a:off x="3078202" y="2323347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TextBox 219"/>
            <p:cNvSpPr txBox="1"/>
            <p:nvPr/>
          </p:nvSpPr>
          <p:spPr>
            <a:xfrm>
              <a:off x="3216242" y="2279930"/>
              <a:ext cx="542308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>
              <a:defPPr>
                <a:defRPr lang="en-US"/>
              </a:defPPr>
              <a:lvl1pPr algn="ctr" defTabSz="1218987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FFFFFF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</a:lstStyle>
            <a:p>
              <a:r>
                <a:rPr lang="en-US" dirty="0"/>
                <a:t>RR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8925059" y="5534347"/>
            <a:ext cx="2005290" cy="1050012"/>
            <a:chOff x="8923471" y="5534347"/>
            <a:chExt cx="2005290" cy="1050012"/>
          </a:xfrm>
        </p:grpSpPr>
        <p:sp>
          <p:nvSpPr>
            <p:cNvPr id="223" name="Cloud 222"/>
            <p:cNvSpPr/>
            <p:nvPr/>
          </p:nvSpPr>
          <p:spPr>
            <a:xfrm>
              <a:off x="8923471" y="5728780"/>
              <a:ext cx="2005290" cy="855579"/>
            </a:xfrm>
            <a:prstGeom prst="cloud">
              <a:avLst/>
            </a:prstGeom>
            <a:gradFill>
              <a:gsLst>
                <a:gs pos="0">
                  <a:schemeClr val="accent5">
                    <a:shade val="51000"/>
                    <a:satMod val="130000"/>
                    <a:alpha val="50000"/>
                  </a:schemeClr>
                </a:gs>
                <a:gs pos="80000">
                  <a:schemeClr val="accent5">
                    <a:shade val="93000"/>
                    <a:satMod val="130000"/>
                    <a:alpha val="50000"/>
                  </a:schemeClr>
                </a:gs>
                <a:gs pos="100000">
                  <a:schemeClr val="accent5">
                    <a:shade val="94000"/>
                    <a:satMod val="135000"/>
                    <a:alpha val="50000"/>
                  </a:schemeClr>
                </a:gs>
              </a:gsLst>
            </a:gradFill>
            <a:ln/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/>
                <a:t>core</a:t>
              </a:r>
            </a:p>
          </p:txBody>
        </p:sp>
        <p:pic>
          <p:nvPicPr>
            <p:cNvPr id="224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3701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" name="Picture 65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71503" y="5534347"/>
              <a:ext cx="580989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8" name="Group 227"/>
          <p:cNvGrpSpPr/>
          <p:nvPr/>
        </p:nvGrpSpPr>
        <p:grpSpPr>
          <a:xfrm>
            <a:off x="956266" y="4483185"/>
            <a:ext cx="850633" cy="369311"/>
            <a:chOff x="3694664" y="5917691"/>
            <a:chExt cx="850633" cy="369311"/>
          </a:xfrm>
        </p:grpSpPr>
        <p:sp>
          <p:nvSpPr>
            <p:cNvPr id="229" name="Oval 228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TextBox 229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2425741" y="4483185"/>
            <a:ext cx="850633" cy="369311"/>
            <a:chOff x="3694664" y="5917691"/>
            <a:chExt cx="850633" cy="369311"/>
          </a:xfrm>
        </p:grpSpPr>
        <p:sp>
          <p:nvSpPr>
            <p:cNvPr id="232" name="Oval 231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3" name="TextBox 232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3859938" y="4483185"/>
            <a:ext cx="850633" cy="369311"/>
            <a:chOff x="3694664" y="5917691"/>
            <a:chExt cx="850633" cy="369311"/>
          </a:xfrm>
        </p:grpSpPr>
        <p:sp>
          <p:nvSpPr>
            <p:cNvPr id="235" name="Oval 234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5329413" y="4483185"/>
            <a:ext cx="850633" cy="369311"/>
            <a:chOff x="3694664" y="5917691"/>
            <a:chExt cx="850633" cy="369311"/>
          </a:xfrm>
        </p:grpSpPr>
        <p:sp>
          <p:nvSpPr>
            <p:cNvPr id="238" name="Oval 237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9" name="TextBox 238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6810648" y="4483185"/>
            <a:ext cx="850633" cy="369311"/>
            <a:chOff x="3694664" y="5917691"/>
            <a:chExt cx="850633" cy="369311"/>
          </a:xfrm>
        </p:grpSpPr>
        <p:sp>
          <p:nvSpPr>
            <p:cNvPr id="241" name="Oval 240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3740976" y="5917691"/>
              <a:ext cx="759641" cy="369311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L2/L3</a:t>
              </a:r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10211071" y="4483299"/>
            <a:ext cx="850633" cy="369197"/>
            <a:chOff x="3694664" y="5917691"/>
            <a:chExt cx="850633" cy="369197"/>
          </a:xfrm>
        </p:grpSpPr>
        <p:sp>
          <p:nvSpPr>
            <p:cNvPr id="244" name="Oval 243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5" name="TextBox 244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8599531" y="4483299"/>
            <a:ext cx="850633" cy="369197"/>
            <a:chOff x="3694664" y="5917691"/>
            <a:chExt cx="850633" cy="369197"/>
          </a:xfrm>
        </p:grpSpPr>
        <p:sp>
          <p:nvSpPr>
            <p:cNvPr id="247" name="Oval 246"/>
            <p:cNvSpPr/>
            <p:nvPr/>
          </p:nvSpPr>
          <p:spPr>
            <a:xfrm>
              <a:off x="3694664" y="5944163"/>
              <a:ext cx="850633" cy="337080"/>
            </a:xfrm>
            <a:prstGeom prst="ellipse">
              <a:avLst/>
            </a:prstGeom>
            <a:solidFill>
              <a:srgbClr val="6DB344"/>
            </a:solidFill>
            <a:ln>
              <a:solidFill>
                <a:srgbClr val="528633"/>
              </a:solidFill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87" tIns="60893" rIns="121787" bIns="60893" rtlCol="0" anchor="ctr"/>
            <a:lstStyle/>
            <a:p>
              <a:pPr algn="ctr" defTabSz="1217923"/>
              <a:endParaRPr lang="en-US" sz="16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3872786" y="5917691"/>
              <a:ext cx="496022" cy="369197"/>
            </a:xfrm>
            <a:prstGeom prst="rect">
              <a:avLst/>
            </a:prstGeom>
            <a:noFill/>
          </p:spPr>
          <p:txBody>
            <a:bodyPr wrap="none" lIns="121787" tIns="60893" rIns="121787" bIns="60893" rtlCol="0">
              <a:spAutoFit/>
            </a:bodyPr>
            <a:lstStyle/>
            <a:p>
              <a:pPr algn="ctr" defTabSz="1217923"/>
              <a:r>
                <a:rPr lang="en-US" sz="1600" dirty="0">
                  <a:solidFill>
                    <a:srgbClr val="FFFFFF"/>
                  </a:solidFill>
                </a:rPr>
                <a:t>BL</a:t>
              </a:r>
            </a:p>
          </p:txBody>
        </p:sp>
      </p:grpSp>
      <p:sp>
        <p:nvSpPr>
          <p:cNvPr id="254" name="Can 253"/>
          <p:cNvSpPr/>
          <p:nvPr/>
        </p:nvSpPr>
        <p:spPr>
          <a:xfrm rot="5400000">
            <a:off x="6229047" y="-1828284"/>
            <a:ext cx="293992" cy="10582140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5" name="Can 254"/>
          <p:cNvSpPr/>
          <p:nvPr/>
        </p:nvSpPr>
        <p:spPr>
          <a:xfrm flipV="1">
            <a:off x="180080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6" name="Can 255"/>
          <p:cNvSpPr/>
          <p:nvPr/>
        </p:nvSpPr>
        <p:spPr>
          <a:xfrm flipV="1">
            <a:off x="3282041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7" name="Can 256"/>
          <p:cNvSpPr/>
          <p:nvPr/>
        </p:nvSpPr>
        <p:spPr>
          <a:xfrm flipV="1">
            <a:off x="4739757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8" name="Can 257"/>
          <p:cNvSpPr/>
          <p:nvPr/>
        </p:nvSpPr>
        <p:spPr>
          <a:xfrm flipV="1">
            <a:off x="618571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59" name="Can 258"/>
          <p:cNvSpPr/>
          <p:nvPr/>
        </p:nvSpPr>
        <p:spPr>
          <a:xfrm flipV="1">
            <a:off x="7655190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0" name="Can 259"/>
          <p:cNvSpPr/>
          <p:nvPr/>
        </p:nvSpPr>
        <p:spPr>
          <a:xfrm flipV="1">
            <a:off x="9430413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1" name="Can 260"/>
          <p:cNvSpPr/>
          <p:nvPr/>
        </p:nvSpPr>
        <p:spPr>
          <a:xfrm flipV="1">
            <a:off x="11052764" y="3513432"/>
            <a:ext cx="246952" cy="870111"/>
          </a:xfrm>
          <a:prstGeom prst="can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62" name="TextBox 261"/>
          <p:cNvSpPr txBox="1"/>
          <p:nvPr/>
        </p:nvSpPr>
        <p:spPr>
          <a:xfrm>
            <a:off x="4879927" y="3304070"/>
            <a:ext cx="14295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VXLAN Overlay</a:t>
            </a:r>
          </a:p>
        </p:txBody>
      </p:sp>
      <p:sp>
        <p:nvSpPr>
          <p:cNvPr id="264" name="Rectangle 263"/>
          <p:cNvSpPr/>
          <p:nvPr/>
        </p:nvSpPr>
        <p:spPr>
          <a:xfrm>
            <a:off x="3693752" y="4091872"/>
            <a:ext cx="2881452" cy="1011210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t"/>
          <a:lstStyle/>
          <a:p>
            <a:pPr defTabSz="1217923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5" name="TextBox 264"/>
          <p:cNvSpPr txBox="1"/>
          <p:nvPr/>
        </p:nvSpPr>
        <p:spPr>
          <a:xfrm>
            <a:off x="3681815" y="4064052"/>
            <a:ext cx="5004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VPC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657518" y="176370"/>
            <a:ext cx="5391776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OSPF/PIM for Und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iBGP</a:t>
            </a:r>
            <a:r>
              <a:rPr lang="en-US" sz="2100" dirty="0">
                <a:solidFill>
                  <a:srgbClr val="000000"/>
                </a:solidFill>
              </a:rPr>
              <a:t> for Overlay Control-Plane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 err="1">
                <a:solidFill>
                  <a:srgbClr val="000000"/>
                </a:solidFill>
              </a:rPr>
              <a:t>eBGP</a:t>
            </a:r>
            <a:r>
              <a:rPr lang="en-US" sz="2100" dirty="0">
                <a:solidFill>
                  <a:srgbClr val="000000"/>
                </a:solidFill>
              </a:rPr>
              <a:t> for External Connectivity (</a:t>
            </a:r>
            <a:r>
              <a:rPr lang="en-US" sz="2100" dirty="0" err="1">
                <a:solidFill>
                  <a:srgbClr val="000000"/>
                </a:solidFill>
              </a:rPr>
              <a:t>vrf</a:t>
            </a:r>
            <a:r>
              <a:rPr lang="en-US" sz="2100" dirty="0">
                <a:solidFill>
                  <a:srgbClr val="000000"/>
                </a:solidFill>
              </a:rPr>
              <a:t>-lite)</a:t>
            </a:r>
          </a:p>
        </p:txBody>
      </p:sp>
      <p:sp>
        <p:nvSpPr>
          <p:cNvPr id="271" name="Up-Down Arrow 270"/>
          <p:cNvSpPr/>
          <p:nvPr/>
        </p:nvSpPr>
        <p:spPr>
          <a:xfrm>
            <a:off x="8209785" y="4938464"/>
            <a:ext cx="682060" cy="1458024"/>
          </a:xfrm>
          <a:prstGeom prst="upDownArrow">
            <a:avLst/>
          </a:prstGeom>
          <a:solidFill>
            <a:schemeClr val="accent6"/>
          </a:soli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eBGP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74" name="Rectangle 273"/>
          <p:cNvSpPr/>
          <p:nvPr/>
        </p:nvSpPr>
        <p:spPr>
          <a:xfrm>
            <a:off x="433753" y="1410990"/>
            <a:ext cx="11324494" cy="3986047"/>
          </a:xfrm>
          <a:prstGeom prst="rect">
            <a:avLst/>
          </a:prstGeom>
          <a:noFill/>
          <a:ln w="3175" cmpd="sng">
            <a:solidFill>
              <a:srgbClr val="000000"/>
            </a:solidFill>
            <a:prstDash val="dash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87" tIns="60893" rIns="121787" bIns="60893" rtlCol="0" anchor="ctr"/>
          <a:lstStyle/>
          <a:p>
            <a:pPr algn="ctr" defTabSz="1217923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5" name="TextBox 274"/>
          <p:cNvSpPr txBox="1"/>
          <p:nvPr/>
        </p:nvSpPr>
        <p:spPr>
          <a:xfrm>
            <a:off x="494159" y="1433047"/>
            <a:ext cx="1484432" cy="446141"/>
          </a:xfrm>
          <a:prstGeom prst="rect">
            <a:avLst/>
          </a:prstGeom>
          <a:noFill/>
        </p:spPr>
        <p:txBody>
          <a:bodyPr wrap="none" lIns="121787" tIns="60893" rIns="121787" bIns="60893" rtlCol="0">
            <a:spAutoFit/>
          </a:bodyPr>
          <a:lstStyle/>
          <a:p>
            <a:pPr algn="ctr" defTabSz="1217923"/>
            <a:r>
              <a:rPr lang="en-US" sz="2100" i="1" dirty="0">
                <a:solidFill>
                  <a:srgbClr val="000000"/>
                </a:solidFill>
              </a:rPr>
              <a:t>BGP AS X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47975" y="5490642"/>
            <a:ext cx="6621133" cy="1092472"/>
          </a:xfrm>
          <a:prstGeom prst="rect">
            <a:avLst/>
          </a:prstGeom>
          <a:noFill/>
        </p:spPr>
        <p:txBody>
          <a:bodyPr wrap="square" lIns="121787" tIns="60893" rIns="121787" bIns="60893" rtlCol="0">
            <a:spAutoFit/>
          </a:bodyPr>
          <a:lstStyle/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5600 as Spine (RP/RR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5600 as Leaf (VTEP)</a:t>
            </a:r>
          </a:p>
          <a:p>
            <a:pPr marL="380597" indent="-380597" defTabSz="1217923">
              <a:buFont typeface="Wingdings" charset="2"/>
              <a:buChar char="§"/>
            </a:pPr>
            <a:r>
              <a:rPr lang="en-US" sz="2100" dirty="0">
                <a:solidFill>
                  <a:srgbClr val="000000"/>
                </a:solidFill>
              </a:rPr>
              <a:t>Nexus 7000/7700 with F3 as Border Leaf (VTEP)</a:t>
            </a:r>
          </a:p>
        </p:txBody>
      </p:sp>
    </p:spTree>
    <p:extLst>
      <p:ext uri="{BB962C8B-B14F-4D97-AF65-F5344CB8AC3E}">
        <p14:creationId xmlns:p14="http://schemas.microsoft.com/office/powerpoint/2010/main" val="356480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503528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37285" y="2587302"/>
            <a:ext cx="4901784" cy="1202904"/>
          </a:xfrm>
        </p:spPr>
        <p:txBody>
          <a:bodyPr/>
          <a:lstStyle/>
          <a:p>
            <a:r>
              <a:rPr lang="en-US" smtClean="0"/>
              <a:t>Questions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599877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2"/>
          <p:cNvSpPr txBox="1">
            <a:spLocks/>
          </p:cNvSpPr>
          <p:nvPr/>
        </p:nvSpPr>
        <p:spPr bwMode="auto">
          <a:xfrm>
            <a:off x="533400" y="261410"/>
            <a:ext cx="110871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 algn="l" defTabSz="91180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4300" kern="120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275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564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7844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126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3600" dirty="0" smtClean="0">
                <a:solidFill>
                  <a:schemeClr val="tx2"/>
                </a:solidFill>
              </a:rPr>
              <a:t>Large Cloud Provider (Top 10)</a:t>
            </a:r>
            <a:endParaRPr lang="en-US" sz="3600" dirty="0">
              <a:solidFill>
                <a:schemeClr val="tx2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119354" y="3235616"/>
            <a:ext cx="2092820" cy="2452363"/>
            <a:chOff x="295305" y="3681122"/>
            <a:chExt cx="2771354" cy="2452363"/>
          </a:xfrm>
        </p:grpSpPr>
        <p:grpSp>
          <p:nvGrpSpPr>
            <p:cNvPr id="21" name="Group 20"/>
            <p:cNvGrpSpPr/>
            <p:nvPr/>
          </p:nvGrpSpPr>
          <p:grpSpPr>
            <a:xfrm>
              <a:off x="295305" y="3681122"/>
              <a:ext cx="2771354" cy="2452363"/>
              <a:chOff x="295305" y="2897701"/>
              <a:chExt cx="2743915" cy="2452363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295305" y="2897701"/>
                <a:ext cx="2743915" cy="2452363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1" name="Isosceles Triangle 81"/>
              <p:cNvSpPr/>
              <p:nvPr/>
            </p:nvSpPr>
            <p:spPr>
              <a:xfrm rot="10800000">
                <a:off x="1492199" y="2897701"/>
                <a:ext cx="350126" cy="96316"/>
              </a:xfrm>
              <a:prstGeom prst="triangle">
                <a:avLst/>
              </a:prstGeom>
              <a:solidFill>
                <a:srgbClr val="3255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  <p:sp>
          <p:nvSpPr>
            <p:cNvPr id="39" name="Rectangle 38"/>
            <p:cNvSpPr/>
            <p:nvPr/>
          </p:nvSpPr>
          <p:spPr>
            <a:xfrm>
              <a:off x="399532" y="4043880"/>
              <a:ext cx="2562901" cy="78944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608773">
                <a:lnSpc>
                  <a:spcPct val="95000"/>
                </a:lnSpc>
                <a:spcBef>
                  <a:spcPts val="1400"/>
                </a:spcBef>
              </a:pPr>
              <a:r>
                <a:rPr lang="en-US" dirty="0" smtClean="0"/>
                <a:t>Workload Placement using VXLAN Extension</a:t>
              </a:r>
              <a:endParaRPr lang="en-US" dirty="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756549" y="3208416"/>
            <a:ext cx="2051182" cy="2452363"/>
            <a:chOff x="6181040" y="3681122"/>
            <a:chExt cx="2771354" cy="2452363"/>
          </a:xfrm>
        </p:grpSpPr>
        <p:grpSp>
          <p:nvGrpSpPr>
            <p:cNvPr id="43" name="Group 42"/>
            <p:cNvGrpSpPr/>
            <p:nvPr/>
          </p:nvGrpSpPr>
          <p:grpSpPr>
            <a:xfrm>
              <a:off x="6181040" y="3681122"/>
              <a:ext cx="2771354" cy="2452363"/>
              <a:chOff x="6208479" y="2897701"/>
              <a:chExt cx="2743915" cy="2452363"/>
            </a:xfrm>
          </p:grpSpPr>
          <p:sp>
            <p:nvSpPr>
              <p:cNvPr id="45" name="Rectangle 44"/>
              <p:cNvSpPr/>
              <p:nvPr/>
            </p:nvSpPr>
            <p:spPr>
              <a:xfrm>
                <a:off x="6208479" y="2897701"/>
                <a:ext cx="2743915" cy="2452363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100000">
                    <a:schemeClr val="bg1">
                      <a:lumMod val="95000"/>
                      <a:alpha val="0"/>
                    </a:schemeClr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6" name="Isosceles Triangle 72"/>
              <p:cNvSpPr/>
              <p:nvPr/>
            </p:nvSpPr>
            <p:spPr>
              <a:xfrm rot="10800000">
                <a:off x="7405373" y="2897701"/>
                <a:ext cx="350126" cy="96316"/>
              </a:xfrm>
              <a:prstGeom prst="triangle">
                <a:avLst/>
              </a:prstGeom>
              <a:solidFill>
                <a:srgbClr val="3255A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</p:grpSp>
        <p:sp>
          <p:nvSpPr>
            <p:cNvPr id="44" name="Rectangle 43"/>
            <p:cNvSpPr/>
            <p:nvPr/>
          </p:nvSpPr>
          <p:spPr>
            <a:xfrm>
              <a:off x="6282944" y="4043880"/>
              <a:ext cx="2562901" cy="78944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608773">
                <a:lnSpc>
                  <a:spcPct val="95000"/>
                </a:lnSpc>
                <a:spcBef>
                  <a:spcPts val="1400"/>
                </a:spcBef>
              </a:pPr>
              <a:r>
                <a:rPr lang="en-US" dirty="0" smtClean="0"/>
                <a:t>Connect to External </a:t>
              </a:r>
              <a:r>
                <a:rPr lang="en-US" dirty="0"/>
                <a:t>N</a:t>
              </a:r>
              <a:r>
                <a:rPr lang="en-US" dirty="0" smtClean="0"/>
                <a:t>etwork  through WAN</a:t>
              </a:r>
              <a:endParaRPr lang="en-US" dirty="0"/>
            </a:p>
          </p:txBody>
        </p:sp>
      </p:grpSp>
      <p:sp>
        <p:nvSpPr>
          <p:cNvPr id="47" name="Freeform 6"/>
          <p:cNvSpPr>
            <a:spLocks noEditPoints="1"/>
          </p:cNvSpPr>
          <p:nvPr/>
        </p:nvSpPr>
        <p:spPr bwMode="auto">
          <a:xfrm>
            <a:off x="3065941" y="1544649"/>
            <a:ext cx="754112" cy="919758"/>
          </a:xfrm>
          <a:custGeom>
            <a:avLst/>
            <a:gdLst>
              <a:gd name="T0" fmla="*/ 101 w 1137"/>
              <a:gd name="T1" fmla="*/ 576 h 1387"/>
              <a:gd name="T2" fmla="*/ 306 w 1137"/>
              <a:gd name="T3" fmla="*/ 1140 h 1387"/>
              <a:gd name="T4" fmla="*/ 566 w 1137"/>
              <a:gd name="T5" fmla="*/ 1381 h 1387"/>
              <a:gd name="T6" fmla="*/ 378 w 1137"/>
              <a:gd name="T7" fmla="*/ 597 h 1387"/>
              <a:gd name="T8" fmla="*/ 256 w 1137"/>
              <a:gd name="T9" fmla="*/ 582 h 1387"/>
              <a:gd name="T10" fmla="*/ 180 w 1137"/>
              <a:gd name="T11" fmla="*/ 486 h 1387"/>
              <a:gd name="T12" fmla="*/ 194 w 1137"/>
              <a:gd name="T13" fmla="*/ 363 h 1387"/>
              <a:gd name="T14" fmla="*/ 291 w 1137"/>
              <a:gd name="T15" fmla="*/ 287 h 1387"/>
              <a:gd name="T16" fmla="*/ 413 w 1137"/>
              <a:gd name="T17" fmla="*/ 302 h 1387"/>
              <a:gd name="T18" fmla="*/ 490 w 1137"/>
              <a:gd name="T19" fmla="*/ 398 h 1387"/>
              <a:gd name="T20" fmla="*/ 475 w 1137"/>
              <a:gd name="T21" fmla="*/ 521 h 1387"/>
              <a:gd name="T22" fmla="*/ 378 w 1137"/>
              <a:gd name="T23" fmla="*/ 597 h 1387"/>
              <a:gd name="T24" fmla="*/ 630 w 1137"/>
              <a:gd name="T25" fmla="*/ 788 h 1387"/>
              <a:gd name="T26" fmla="*/ 544 w 1137"/>
              <a:gd name="T27" fmla="*/ 823 h 1387"/>
              <a:gd name="T28" fmla="*/ 459 w 1137"/>
              <a:gd name="T29" fmla="*/ 786 h 1387"/>
              <a:gd name="T30" fmla="*/ 424 w 1137"/>
              <a:gd name="T31" fmla="*/ 699 h 1387"/>
              <a:gd name="T32" fmla="*/ 461 w 1137"/>
              <a:gd name="T33" fmla="*/ 614 h 1387"/>
              <a:gd name="T34" fmla="*/ 547 w 1137"/>
              <a:gd name="T35" fmla="*/ 580 h 1387"/>
              <a:gd name="T36" fmla="*/ 633 w 1137"/>
              <a:gd name="T37" fmla="*/ 616 h 1387"/>
              <a:gd name="T38" fmla="*/ 667 w 1137"/>
              <a:gd name="T39" fmla="*/ 703 h 1387"/>
              <a:gd name="T40" fmla="*/ 970 w 1137"/>
              <a:gd name="T41" fmla="*/ 473 h 1387"/>
              <a:gd name="T42" fmla="*/ 841 w 1137"/>
              <a:gd name="T43" fmla="*/ 595 h 1387"/>
              <a:gd name="T44" fmla="*/ 664 w 1137"/>
              <a:gd name="T45" fmla="*/ 590 h 1387"/>
              <a:gd name="T46" fmla="*/ 542 w 1137"/>
              <a:gd name="T47" fmla="*/ 461 h 1387"/>
              <a:gd name="T48" fmla="*/ 547 w 1137"/>
              <a:gd name="T49" fmla="*/ 284 h 1387"/>
              <a:gd name="T50" fmla="*/ 676 w 1137"/>
              <a:gd name="T51" fmla="*/ 162 h 1387"/>
              <a:gd name="T52" fmla="*/ 853 w 1137"/>
              <a:gd name="T53" fmla="*/ 167 h 1387"/>
              <a:gd name="T54" fmla="*/ 975 w 1137"/>
              <a:gd name="T55" fmla="*/ 296 h 1387"/>
              <a:gd name="T56" fmla="*/ 572 w 1137"/>
              <a:gd name="T57" fmla="*/ 717 h 1387"/>
              <a:gd name="T58" fmla="*/ 502 w 1137"/>
              <a:gd name="T59" fmla="*/ 692 h 1387"/>
              <a:gd name="T60" fmla="*/ 495 w 1137"/>
              <a:gd name="T61" fmla="*/ 727 h 1387"/>
              <a:gd name="T62" fmla="*/ 546 w 1137"/>
              <a:gd name="T63" fmla="*/ 723 h 1387"/>
              <a:gd name="T64" fmla="*/ 624 w 1137"/>
              <a:gd name="T65" fmla="*/ 676 h 1387"/>
              <a:gd name="T66" fmla="*/ 366 w 1137"/>
              <a:gd name="T67" fmla="*/ 371 h 1387"/>
              <a:gd name="T68" fmla="*/ 372 w 1137"/>
              <a:gd name="T69" fmla="*/ 514 h 1387"/>
              <a:gd name="T70" fmla="*/ 320 w 1137"/>
              <a:gd name="T71" fmla="*/ 399 h 1387"/>
              <a:gd name="T72" fmla="*/ 320 w 1137"/>
              <a:gd name="T73" fmla="*/ 514 h 1387"/>
              <a:gd name="T74" fmla="*/ 297 w 1137"/>
              <a:gd name="T75" fmla="*/ 434 h 1387"/>
              <a:gd name="T76" fmla="*/ 268 w 1137"/>
              <a:gd name="T77" fmla="*/ 514 h 1387"/>
              <a:gd name="T78" fmla="*/ 792 w 1137"/>
              <a:gd name="T79" fmla="*/ 263 h 1387"/>
              <a:gd name="T80" fmla="*/ 802 w 1137"/>
              <a:gd name="T81" fmla="*/ 262 h 1387"/>
              <a:gd name="T82" fmla="*/ 806 w 1137"/>
              <a:gd name="T83" fmla="*/ 259 h 1387"/>
              <a:gd name="T84" fmla="*/ 813 w 1137"/>
              <a:gd name="T85" fmla="*/ 253 h 1387"/>
              <a:gd name="T86" fmla="*/ 829 w 1137"/>
              <a:gd name="T87" fmla="*/ 254 h 1387"/>
              <a:gd name="T88" fmla="*/ 827 w 1137"/>
              <a:gd name="T89" fmla="*/ 258 h 1387"/>
              <a:gd name="T90" fmla="*/ 814 w 1137"/>
              <a:gd name="T91" fmla="*/ 255 h 1387"/>
              <a:gd name="T92" fmla="*/ 809 w 1137"/>
              <a:gd name="T93" fmla="*/ 260 h 1387"/>
              <a:gd name="T94" fmla="*/ 806 w 1137"/>
              <a:gd name="T95" fmla="*/ 266 h 1387"/>
              <a:gd name="T96" fmla="*/ 786 w 1137"/>
              <a:gd name="T97" fmla="*/ 265 h 1387"/>
              <a:gd name="T98" fmla="*/ 671 w 1137"/>
              <a:gd name="T99" fmla="*/ 415 h 1387"/>
              <a:gd name="T100" fmla="*/ 798 w 1137"/>
              <a:gd name="T101" fmla="*/ 321 h 1387"/>
              <a:gd name="T102" fmla="*/ 868 w 1137"/>
              <a:gd name="T103" fmla="*/ 383 h 1387"/>
              <a:gd name="T104" fmla="*/ 725 w 1137"/>
              <a:gd name="T105" fmla="*/ 423 h 1387"/>
              <a:gd name="T106" fmla="*/ 783 w 1137"/>
              <a:gd name="T107" fmla="*/ 391 h 1387"/>
              <a:gd name="T108" fmla="*/ 841 w 1137"/>
              <a:gd name="T109" fmla="*/ 391 h 13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37" h="1387">
                <a:moveTo>
                  <a:pt x="999" y="206"/>
                </a:moveTo>
                <a:cubicBezTo>
                  <a:pt x="938" y="129"/>
                  <a:pt x="780" y="0"/>
                  <a:pt x="573" y="0"/>
                </a:cubicBezTo>
                <a:cubicBezTo>
                  <a:pt x="434" y="0"/>
                  <a:pt x="303" y="58"/>
                  <a:pt x="181" y="172"/>
                </a:cubicBezTo>
                <a:cubicBezTo>
                  <a:pt x="181" y="172"/>
                  <a:pt x="181" y="172"/>
                  <a:pt x="181" y="173"/>
                </a:cubicBezTo>
                <a:cubicBezTo>
                  <a:pt x="62" y="294"/>
                  <a:pt x="78" y="407"/>
                  <a:pt x="98" y="549"/>
                </a:cubicBezTo>
                <a:cubicBezTo>
                  <a:pt x="99" y="558"/>
                  <a:pt x="100" y="567"/>
                  <a:pt x="101" y="576"/>
                </a:cubicBezTo>
                <a:cubicBezTo>
                  <a:pt x="104" y="600"/>
                  <a:pt x="83" y="637"/>
                  <a:pt x="63" y="674"/>
                </a:cubicBezTo>
                <a:cubicBezTo>
                  <a:pt x="32" y="728"/>
                  <a:pt x="0" y="784"/>
                  <a:pt x="39" y="810"/>
                </a:cubicBezTo>
                <a:cubicBezTo>
                  <a:pt x="105" y="856"/>
                  <a:pt x="117" y="945"/>
                  <a:pt x="128" y="1031"/>
                </a:cubicBezTo>
                <a:cubicBezTo>
                  <a:pt x="131" y="1052"/>
                  <a:pt x="134" y="1073"/>
                  <a:pt x="137" y="1093"/>
                </a:cubicBezTo>
                <a:cubicBezTo>
                  <a:pt x="143" y="1129"/>
                  <a:pt x="173" y="1146"/>
                  <a:pt x="229" y="1146"/>
                </a:cubicBezTo>
                <a:cubicBezTo>
                  <a:pt x="253" y="1146"/>
                  <a:pt x="280" y="1143"/>
                  <a:pt x="306" y="1140"/>
                </a:cubicBezTo>
                <a:cubicBezTo>
                  <a:pt x="328" y="1138"/>
                  <a:pt x="348" y="1135"/>
                  <a:pt x="365" y="1135"/>
                </a:cubicBezTo>
                <a:cubicBezTo>
                  <a:pt x="374" y="1135"/>
                  <a:pt x="381" y="1136"/>
                  <a:pt x="387" y="1138"/>
                </a:cubicBezTo>
                <a:cubicBezTo>
                  <a:pt x="454" y="1156"/>
                  <a:pt x="513" y="1291"/>
                  <a:pt x="534" y="1372"/>
                </a:cubicBezTo>
                <a:cubicBezTo>
                  <a:pt x="535" y="1379"/>
                  <a:pt x="540" y="1384"/>
                  <a:pt x="547" y="1386"/>
                </a:cubicBezTo>
                <a:cubicBezTo>
                  <a:pt x="549" y="1386"/>
                  <a:pt x="550" y="1387"/>
                  <a:pt x="552" y="1387"/>
                </a:cubicBezTo>
                <a:cubicBezTo>
                  <a:pt x="557" y="1387"/>
                  <a:pt x="562" y="1385"/>
                  <a:pt x="566" y="1381"/>
                </a:cubicBezTo>
                <a:cubicBezTo>
                  <a:pt x="909" y="1054"/>
                  <a:pt x="909" y="1054"/>
                  <a:pt x="909" y="1054"/>
                </a:cubicBezTo>
                <a:cubicBezTo>
                  <a:pt x="914" y="1049"/>
                  <a:pt x="916" y="1041"/>
                  <a:pt x="914" y="1034"/>
                </a:cubicBezTo>
                <a:cubicBezTo>
                  <a:pt x="884" y="939"/>
                  <a:pt x="947" y="847"/>
                  <a:pt x="1002" y="765"/>
                </a:cubicBezTo>
                <a:cubicBezTo>
                  <a:pt x="1026" y="729"/>
                  <a:pt x="1049" y="695"/>
                  <a:pt x="1065" y="662"/>
                </a:cubicBezTo>
                <a:cubicBezTo>
                  <a:pt x="1137" y="509"/>
                  <a:pt x="1085" y="313"/>
                  <a:pt x="999" y="206"/>
                </a:cubicBezTo>
                <a:close/>
                <a:moveTo>
                  <a:pt x="378" y="597"/>
                </a:moveTo>
                <a:cubicBezTo>
                  <a:pt x="367" y="577"/>
                  <a:pt x="367" y="577"/>
                  <a:pt x="367" y="577"/>
                </a:cubicBezTo>
                <a:cubicBezTo>
                  <a:pt x="357" y="579"/>
                  <a:pt x="348" y="580"/>
                  <a:pt x="338" y="580"/>
                </a:cubicBezTo>
                <a:cubicBezTo>
                  <a:pt x="332" y="603"/>
                  <a:pt x="332" y="603"/>
                  <a:pt x="332" y="603"/>
                </a:cubicBezTo>
                <a:cubicBezTo>
                  <a:pt x="330" y="611"/>
                  <a:pt x="322" y="616"/>
                  <a:pt x="314" y="614"/>
                </a:cubicBezTo>
                <a:cubicBezTo>
                  <a:pt x="267" y="601"/>
                  <a:pt x="267" y="601"/>
                  <a:pt x="267" y="601"/>
                </a:cubicBezTo>
                <a:cubicBezTo>
                  <a:pt x="259" y="599"/>
                  <a:pt x="254" y="591"/>
                  <a:pt x="256" y="582"/>
                </a:cubicBezTo>
                <a:cubicBezTo>
                  <a:pt x="262" y="560"/>
                  <a:pt x="262" y="560"/>
                  <a:pt x="262" y="560"/>
                </a:cubicBezTo>
                <a:cubicBezTo>
                  <a:pt x="254" y="555"/>
                  <a:pt x="246" y="549"/>
                  <a:pt x="239" y="543"/>
                </a:cubicBezTo>
                <a:cubicBezTo>
                  <a:pt x="219" y="554"/>
                  <a:pt x="219" y="554"/>
                  <a:pt x="219" y="554"/>
                </a:cubicBezTo>
                <a:cubicBezTo>
                  <a:pt x="212" y="558"/>
                  <a:pt x="203" y="556"/>
                  <a:pt x="199" y="549"/>
                </a:cubicBezTo>
                <a:cubicBezTo>
                  <a:pt x="174" y="506"/>
                  <a:pt x="174" y="506"/>
                  <a:pt x="174" y="506"/>
                </a:cubicBezTo>
                <a:cubicBezTo>
                  <a:pt x="170" y="499"/>
                  <a:pt x="172" y="490"/>
                  <a:pt x="180" y="486"/>
                </a:cubicBezTo>
                <a:cubicBezTo>
                  <a:pt x="200" y="474"/>
                  <a:pt x="200" y="474"/>
                  <a:pt x="200" y="474"/>
                </a:cubicBezTo>
                <a:cubicBezTo>
                  <a:pt x="198" y="465"/>
                  <a:pt x="196" y="455"/>
                  <a:pt x="196" y="446"/>
                </a:cubicBezTo>
                <a:cubicBezTo>
                  <a:pt x="174" y="440"/>
                  <a:pt x="174" y="440"/>
                  <a:pt x="174" y="440"/>
                </a:cubicBezTo>
                <a:cubicBezTo>
                  <a:pt x="166" y="438"/>
                  <a:pt x="161" y="429"/>
                  <a:pt x="163" y="421"/>
                </a:cubicBezTo>
                <a:cubicBezTo>
                  <a:pt x="176" y="374"/>
                  <a:pt x="176" y="374"/>
                  <a:pt x="176" y="374"/>
                </a:cubicBezTo>
                <a:cubicBezTo>
                  <a:pt x="178" y="366"/>
                  <a:pt x="186" y="361"/>
                  <a:pt x="194" y="363"/>
                </a:cubicBezTo>
                <a:cubicBezTo>
                  <a:pt x="217" y="369"/>
                  <a:pt x="217" y="369"/>
                  <a:pt x="217" y="369"/>
                </a:cubicBezTo>
                <a:cubicBezTo>
                  <a:pt x="222" y="361"/>
                  <a:pt x="227" y="354"/>
                  <a:pt x="234" y="347"/>
                </a:cubicBezTo>
                <a:cubicBezTo>
                  <a:pt x="222" y="327"/>
                  <a:pt x="222" y="327"/>
                  <a:pt x="222" y="327"/>
                </a:cubicBezTo>
                <a:cubicBezTo>
                  <a:pt x="218" y="319"/>
                  <a:pt x="221" y="310"/>
                  <a:pt x="228" y="306"/>
                </a:cubicBezTo>
                <a:cubicBezTo>
                  <a:pt x="270" y="282"/>
                  <a:pt x="270" y="282"/>
                  <a:pt x="270" y="282"/>
                </a:cubicBezTo>
                <a:cubicBezTo>
                  <a:pt x="277" y="277"/>
                  <a:pt x="287" y="280"/>
                  <a:pt x="291" y="287"/>
                </a:cubicBezTo>
                <a:cubicBezTo>
                  <a:pt x="303" y="307"/>
                  <a:pt x="303" y="307"/>
                  <a:pt x="303" y="307"/>
                </a:cubicBezTo>
                <a:cubicBezTo>
                  <a:pt x="312" y="305"/>
                  <a:pt x="321" y="304"/>
                  <a:pt x="331" y="304"/>
                </a:cubicBezTo>
                <a:cubicBezTo>
                  <a:pt x="337" y="281"/>
                  <a:pt x="337" y="281"/>
                  <a:pt x="337" y="281"/>
                </a:cubicBezTo>
                <a:cubicBezTo>
                  <a:pt x="339" y="273"/>
                  <a:pt x="347" y="268"/>
                  <a:pt x="355" y="270"/>
                </a:cubicBezTo>
                <a:cubicBezTo>
                  <a:pt x="403" y="283"/>
                  <a:pt x="403" y="283"/>
                  <a:pt x="403" y="283"/>
                </a:cubicBezTo>
                <a:cubicBezTo>
                  <a:pt x="411" y="285"/>
                  <a:pt x="415" y="293"/>
                  <a:pt x="413" y="302"/>
                </a:cubicBezTo>
                <a:cubicBezTo>
                  <a:pt x="407" y="324"/>
                  <a:pt x="407" y="324"/>
                  <a:pt x="407" y="324"/>
                </a:cubicBezTo>
                <a:cubicBezTo>
                  <a:pt x="415" y="329"/>
                  <a:pt x="423" y="335"/>
                  <a:pt x="430" y="341"/>
                </a:cubicBezTo>
                <a:cubicBezTo>
                  <a:pt x="450" y="330"/>
                  <a:pt x="450" y="330"/>
                  <a:pt x="450" y="330"/>
                </a:cubicBezTo>
                <a:cubicBezTo>
                  <a:pt x="457" y="326"/>
                  <a:pt x="466" y="328"/>
                  <a:pt x="471" y="335"/>
                </a:cubicBezTo>
                <a:cubicBezTo>
                  <a:pt x="495" y="378"/>
                  <a:pt x="495" y="378"/>
                  <a:pt x="495" y="378"/>
                </a:cubicBezTo>
                <a:cubicBezTo>
                  <a:pt x="499" y="385"/>
                  <a:pt x="497" y="394"/>
                  <a:pt x="490" y="398"/>
                </a:cubicBezTo>
                <a:cubicBezTo>
                  <a:pt x="469" y="410"/>
                  <a:pt x="469" y="410"/>
                  <a:pt x="469" y="410"/>
                </a:cubicBezTo>
                <a:cubicBezTo>
                  <a:pt x="472" y="419"/>
                  <a:pt x="473" y="429"/>
                  <a:pt x="473" y="438"/>
                </a:cubicBezTo>
                <a:cubicBezTo>
                  <a:pt x="496" y="444"/>
                  <a:pt x="496" y="444"/>
                  <a:pt x="496" y="444"/>
                </a:cubicBezTo>
                <a:cubicBezTo>
                  <a:pt x="504" y="446"/>
                  <a:pt x="508" y="455"/>
                  <a:pt x="506" y="463"/>
                </a:cubicBezTo>
                <a:cubicBezTo>
                  <a:pt x="494" y="510"/>
                  <a:pt x="494" y="510"/>
                  <a:pt x="494" y="510"/>
                </a:cubicBezTo>
                <a:cubicBezTo>
                  <a:pt x="491" y="518"/>
                  <a:pt x="483" y="523"/>
                  <a:pt x="475" y="521"/>
                </a:cubicBezTo>
                <a:cubicBezTo>
                  <a:pt x="453" y="515"/>
                  <a:pt x="453" y="515"/>
                  <a:pt x="453" y="515"/>
                </a:cubicBezTo>
                <a:cubicBezTo>
                  <a:pt x="448" y="523"/>
                  <a:pt x="442" y="530"/>
                  <a:pt x="435" y="537"/>
                </a:cubicBezTo>
                <a:cubicBezTo>
                  <a:pt x="447" y="557"/>
                  <a:pt x="447" y="557"/>
                  <a:pt x="447" y="557"/>
                </a:cubicBezTo>
                <a:cubicBezTo>
                  <a:pt x="451" y="565"/>
                  <a:pt x="449" y="574"/>
                  <a:pt x="441" y="578"/>
                </a:cubicBezTo>
                <a:cubicBezTo>
                  <a:pt x="399" y="603"/>
                  <a:pt x="399" y="603"/>
                  <a:pt x="399" y="603"/>
                </a:cubicBezTo>
                <a:cubicBezTo>
                  <a:pt x="392" y="607"/>
                  <a:pt x="382" y="604"/>
                  <a:pt x="378" y="597"/>
                </a:cubicBezTo>
                <a:close/>
                <a:moveTo>
                  <a:pt x="675" y="717"/>
                </a:moveTo>
                <a:cubicBezTo>
                  <a:pt x="666" y="752"/>
                  <a:pt x="666" y="752"/>
                  <a:pt x="666" y="752"/>
                </a:cubicBezTo>
                <a:cubicBezTo>
                  <a:pt x="664" y="759"/>
                  <a:pt x="658" y="762"/>
                  <a:pt x="652" y="761"/>
                </a:cubicBezTo>
                <a:cubicBezTo>
                  <a:pt x="635" y="756"/>
                  <a:pt x="635" y="756"/>
                  <a:pt x="635" y="756"/>
                </a:cubicBezTo>
                <a:cubicBezTo>
                  <a:pt x="631" y="762"/>
                  <a:pt x="627" y="768"/>
                  <a:pt x="622" y="773"/>
                </a:cubicBezTo>
                <a:cubicBezTo>
                  <a:pt x="630" y="788"/>
                  <a:pt x="630" y="788"/>
                  <a:pt x="630" y="788"/>
                </a:cubicBezTo>
                <a:cubicBezTo>
                  <a:pt x="634" y="794"/>
                  <a:pt x="632" y="801"/>
                  <a:pt x="626" y="804"/>
                </a:cubicBezTo>
                <a:cubicBezTo>
                  <a:pt x="594" y="822"/>
                  <a:pt x="594" y="822"/>
                  <a:pt x="594" y="822"/>
                </a:cubicBezTo>
                <a:cubicBezTo>
                  <a:pt x="589" y="825"/>
                  <a:pt x="582" y="824"/>
                  <a:pt x="579" y="818"/>
                </a:cubicBezTo>
                <a:cubicBezTo>
                  <a:pt x="570" y="803"/>
                  <a:pt x="570" y="803"/>
                  <a:pt x="570" y="803"/>
                </a:cubicBezTo>
                <a:cubicBezTo>
                  <a:pt x="563" y="804"/>
                  <a:pt x="556" y="805"/>
                  <a:pt x="549" y="806"/>
                </a:cubicBezTo>
                <a:cubicBezTo>
                  <a:pt x="544" y="823"/>
                  <a:pt x="544" y="823"/>
                  <a:pt x="544" y="823"/>
                </a:cubicBezTo>
                <a:cubicBezTo>
                  <a:pt x="542" y="829"/>
                  <a:pt x="536" y="832"/>
                  <a:pt x="530" y="831"/>
                </a:cubicBezTo>
                <a:cubicBezTo>
                  <a:pt x="494" y="821"/>
                  <a:pt x="494" y="821"/>
                  <a:pt x="494" y="821"/>
                </a:cubicBezTo>
                <a:cubicBezTo>
                  <a:pt x="488" y="820"/>
                  <a:pt x="485" y="813"/>
                  <a:pt x="486" y="807"/>
                </a:cubicBezTo>
                <a:cubicBezTo>
                  <a:pt x="491" y="790"/>
                  <a:pt x="491" y="790"/>
                  <a:pt x="491" y="790"/>
                </a:cubicBezTo>
                <a:cubicBezTo>
                  <a:pt x="485" y="786"/>
                  <a:pt x="479" y="782"/>
                  <a:pt x="474" y="777"/>
                </a:cubicBezTo>
                <a:cubicBezTo>
                  <a:pt x="459" y="786"/>
                  <a:pt x="459" y="786"/>
                  <a:pt x="459" y="786"/>
                </a:cubicBezTo>
                <a:cubicBezTo>
                  <a:pt x="453" y="789"/>
                  <a:pt x="446" y="787"/>
                  <a:pt x="443" y="782"/>
                </a:cubicBezTo>
                <a:cubicBezTo>
                  <a:pt x="425" y="750"/>
                  <a:pt x="425" y="750"/>
                  <a:pt x="425" y="750"/>
                </a:cubicBezTo>
                <a:cubicBezTo>
                  <a:pt x="421" y="744"/>
                  <a:pt x="423" y="737"/>
                  <a:pt x="429" y="734"/>
                </a:cubicBezTo>
                <a:cubicBezTo>
                  <a:pt x="444" y="725"/>
                  <a:pt x="444" y="725"/>
                  <a:pt x="444" y="725"/>
                </a:cubicBezTo>
                <a:cubicBezTo>
                  <a:pt x="442" y="718"/>
                  <a:pt x="441" y="711"/>
                  <a:pt x="441" y="704"/>
                </a:cubicBezTo>
                <a:cubicBezTo>
                  <a:pt x="424" y="699"/>
                  <a:pt x="424" y="699"/>
                  <a:pt x="424" y="699"/>
                </a:cubicBezTo>
                <a:cubicBezTo>
                  <a:pt x="418" y="698"/>
                  <a:pt x="414" y="692"/>
                  <a:pt x="416" y="685"/>
                </a:cubicBezTo>
                <a:cubicBezTo>
                  <a:pt x="426" y="650"/>
                  <a:pt x="426" y="650"/>
                  <a:pt x="426" y="650"/>
                </a:cubicBezTo>
                <a:cubicBezTo>
                  <a:pt x="427" y="644"/>
                  <a:pt x="434" y="640"/>
                  <a:pt x="440" y="642"/>
                </a:cubicBezTo>
                <a:cubicBezTo>
                  <a:pt x="457" y="646"/>
                  <a:pt x="457" y="646"/>
                  <a:pt x="457" y="646"/>
                </a:cubicBezTo>
                <a:cubicBezTo>
                  <a:pt x="460" y="640"/>
                  <a:pt x="465" y="635"/>
                  <a:pt x="470" y="629"/>
                </a:cubicBezTo>
                <a:cubicBezTo>
                  <a:pt x="461" y="614"/>
                  <a:pt x="461" y="614"/>
                  <a:pt x="461" y="614"/>
                </a:cubicBezTo>
                <a:cubicBezTo>
                  <a:pt x="458" y="609"/>
                  <a:pt x="460" y="602"/>
                  <a:pt x="465" y="598"/>
                </a:cubicBezTo>
                <a:cubicBezTo>
                  <a:pt x="497" y="580"/>
                  <a:pt x="497" y="580"/>
                  <a:pt x="497" y="580"/>
                </a:cubicBezTo>
                <a:cubicBezTo>
                  <a:pt x="503" y="577"/>
                  <a:pt x="510" y="579"/>
                  <a:pt x="513" y="584"/>
                </a:cubicBezTo>
                <a:cubicBezTo>
                  <a:pt x="521" y="599"/>
                  <a:pt x="521" y="599"/>
                  <a:pt x="521" y="599"/>
                </a:cubicBezTo>
                <a:cubicBezTo>
                  <a:pt x="529" y="598"/>
                  <a:pt x="536" y="597"/>
                  <a:pt x="543" y="597"/>
                </a:cubicBezTo>
                <a:cubicBezTo>
                  <a:pt x="547" y="580"/>
                  <a:pt x="547" y="580"/>
                  <a:pt x="547" y="580"/>
                </a:cubicBezTo>
                <a:cubicBezTo>
                  <a:pt x="549" y="574"/>
                  <a:pt x="555" y="570"/>
                  <a:pt x="561" y="572"/>
                </a:cubicBezTo>
                <a:cubicBezTo>
                  <a:pt x="597" y="581"/>
                  <a:pt x="597" y="581"/>
                  <a:pt x="597" y="581"/>
                </a:cubicBezTo>
                <a:cubicBezTo>
                  <a:pt x="603" y="583"/>
                  <a:pt x="607" y="589"/>
                  <a:pt x="605" y="595"/>
                </a:cubicBezTo>
                <a:cubicBezTo>
                  <a:pt x="600" y="612"/>
                  <a:pt x="600" y="612"/>
                  <a:pt x="600" y="612"/>
                </a:cubicBezTo>
                <a:cubicBezTo>
                  <a:pt x="607" y="616"/>
                  <a:pt x="612" y="620"/>
                  <a:pt x="617" y="625"/>
                </a:cubicBezTo>
                <a:cubicBezTo>
                  <a:pt x="633" y="616"/>
                  <a:pt x="633" y="616"/>
                  <a:pt x="633" y="616"/>
                </a:cubicBezTo>
                <a:cubicBezTo>
                  <a:pt x="638" y="613"/>
                  <a:pt x="645" y="615"/>
                  <a:pt x="648" y="621"/>
                </a:cubicBezTo>
                <a:cubicBezTo>
                  <a:pt x="667" y="653"/>
                  <a:pt x="667" y="653"/>
                  <a:pt x="667" y="653"/>
                </a:cubicBezTo>
                <a:cubicBezTo>
                  <a:pt x="670" y="658"/>
                  <a:pt x="668" y="665"/>
                  <a:pt x="663" y="668"/>
                </a:cubicBezTo>
                <a:cubicBezTo>
                  <a:pt x="647" y="677"/>
                  <a:pt x="647" y="677"/>
                  <a:pt x="647" y="677"/>
                </a:cubicBezTo>
                <a:cubicBezTo>
                  <a:pt x="649" y="684"/>
                  <a:pt x="650" y="691"/>
                  <a:pt x="650" y="698"/>
                </a:cubicBezTo>
                <a:cubicBezTo>
                  <a:pt x="667" y="703"/>
                  <a:pt x="667" y="703"/>
                  <a:pt x="667" y="703"/>
                </a:cubicBezTo>
                <a:cubicBezTo>
                  <a:pt x="673" y="704"/>
                  <a:pt x="677" y="711"/>
                  <a:pt x="675" y="717"/>
                </a:cubicBezTo>
                <a:close/>
                <a:moveTo>
                  <a:pt x="974" y="384"/>
                </a:moveTo>
                <a:cubicBezTo>
                  <a:pt x="944" y="391"/>
                  <a:pt x="944" y="391"/>
                  <a:pt x="944" y="391"/>
                </a:cubicBezTo>
                <a:cubicBezTo>
                  <a:pt x="943" y="404"/>
                  <a:pt x="941" y="416"/>
                  <a:pt x="937" y="429"/>
                </a:cubicBezTo>
                <a:cubicBezTo>
                  <a:pt x="964" y="445"/>
                  <a:pt x="964" y="445"/>
                  <a:pt x="964" y="445"/>
                </a:cubicBezTo>
                <a:cubicBezTo>
                  <a:pt x="973" y="451"/>
                  <a:pt x="976" y="464"/>
                  <a:pt x="970" y="473"/>
                </a:cubicBezTo>
                <a:cubicBezTo>
                  <a:pt x="935" y="529"/>
                  <a:pt x="935" y="529"/>
                  <a:pt x="935" y="529"/>
                </a:cubicBezTo>
                <a:cubicBezTo>
                  <a:pt x="929" y="538"/>
                  <a:pt x="917" y="541"/>
                  <a:pt x="907" y="535"/>
                </a:cubicBezTo>
                <a:cubicBezTo>
                  <a:pt x="881" y="518"/>
                  <a:pt x="881" y="518"/>
                  <a:pt x="881" y="518"/>
                </a:cubicBezTo>
                <a:cubicBezTo>
                  <a:pt x="871" y="527"/>
                  <a:pt x="861" y="534"/>
                  <a:pt x="850" y="540"/>
                </a:cubicBezTo>
                <a:cubicBezTo>
                  <a:pt x="857" y="571"/>
                  <a:pt x="857" y="571"/>
                  <a:pt x="857" y="571"/>
                </a:cubicBezTo>
                <a:cubicBezTo>
                  <a:pt x="859" y="582"/>
                  <a:pt x="852" y="593"/>
                  <a:pt x="841" y="595"/>
                </a:cubicBezTo>
                <a:cubicBezTo>
                  <a:pt x="777" y="610"/>
                  <a:pt x="777" y="610"/>
                  <a:pt x="777" y="610"/>
                </a:cubicBezTo>
                <a:cubicBezTo>
                  <a:pt x="766" y="612"/>
                  <a:pt x="755" y="605"/>
                  <a:pt x="753" y="594"/>
                </a:cubicBezTo>
                <a:cubicBezTo>
                  <a:pt x="746" y="564"/>
                  <a:pt x="746" y="564"/>
                  <a:pt x="746" y="564"/>
                </a:cubicBezTo>
                <a:cubicBezTo>
                  <a:pt x="733" y="563"/>
                  <a:pt x="721" y="561"/>
                  <a:pt x="708" y="558"/>
                </a:cubicBezTo>
                <a:cubicBezTo>
                  <a:pt x="692" y="584"/>
                  <a:pt x="692" y="584"/>
                  <a:pt x="692" y="584"/>
                </a:cubicBezTo>
                <a:cubicBezTo>
                  <a:pt x="686" y="593"/>
                  <a:pt x="673" y="596"/>
                  <a:pt x="664" y="590"/>
                </a:cubicBezTo>
                <a:cubicBezTo>
                  <a:pt x="608" y="555"/>
                  <a:pt x="608" y="555"/>
                  <a:pt x="608" y="555"/>
                </a:cubicBezTo>
                <a:cubicBezTo>
                  <a:pt x="599" y="549"/>
                  <a:pt x="596" y="537"/>
                  <a:pt x="602" y="527"/>
                </a:cubicBezTo>
                <a:cubicBezTo>
                  <a:pt x="619" y="501"/>
                  <a:pt x="619" y="501"/>
                  <a:pt x="619" y="501"/>
                </a:cubicBezTo>
                <a:cubicBezTo>
                  <a:pt x="610" y="491"/>
                  <a:pt x="603" y="481"/>
                  <a:pt x="597" y="470"/>
                </a:cubicBezTo>
                <a:cubicBezTo>
                  <a:pt x="566" y="477"/>
                  <a:pt x="566" y="477"/>
                  <a:pt x="566" y="477"/>
                </a:cubicBezTo>
                <a:cubicBezTo>
                  <a:pt x="555" y="479"/>
                  <a:pt x="544" y="472"/>
                  <a:pt x="542" y="461"/>
                </a:cubicBezTo>
                <a:cubicBezTo>
                  <a:pt x="527" y="398"/>
                  <a:pt x="527" y="398"/>
                  <a:pt x="527" y="398"/>
                </a:cubicBezTo>
                <a:cubicBezTo>
                  <a:pt x="525" y="387"/>
                  <a:pt x="532" y="376"/>
                  <a:pt x="543" y="373"/>
                </a:cubicBezTo>
                <a:cubicBezTo>
                  <a:pt x="573" y="366"/>
                  <a:pt x="573" y="366"/>
                  <a:pt x="573" y="366"/>
                </a:cubicBezTo>
                <a:cubicBezTo>
                  <a:pt x="574" y="354"/>
                  <a:pt x="576" y="341"/>
                  <a:pt x="580" y="329"/>
                </a:cubicBezTo>
                <a:cubicBezTo>
                  <a:pt x="553" y="312"/>
                  <a:pt x="553" y="312"/>
                  <a:pt x="553" y="312"/>
                </a:cubicBezTo>
                <a:cubicBezTo>
                  <a:pt x="544" y="306"/>
                  <a:pt x="541" y="294"/>
                  <a:pt x="547" y="284"/>
                </a:cubicBezTo>
                <a:cubicBezTo>
                  <a:pt x="582" y="229"/>
                  <a:pt x="582" y="229"/>
                  <a:pt x="582" y="229"/>
                </a:cubicBezTo>
                <a:cubicBezTo>
                  <a:pt x="588" y="219"/>
                  <a:pt x="600" y="216"/>
                  <a:pt x="610" y="222"/>
                </a:cubicBezTo>
                <a:cubicBezTo>
                  <a:pt x="636" y="239"/>
                  <a:pt x="636" y="239"/>
                  <a:pt x="636" y="239"/>
                </a:cubicBezTo>
                <a:cubicBezTo>
                  <a:pt x="646" y="230"/>
                  <a:pt x="656" y="223"/>
                  <a:pt x="667" y="217"/>
                </a:cubicBezTo>
                <a:cubicBezTo>
                  <a:pt x="660" y="186"/>
                  <a:pt x="660" y="186"/>
                  <a:pt x="660" y="186"/>
                </a:cubicBezTo>
                <a:cubicBezTo>
                  <a:pt x="658" y="176"/>
                  <a:pt x="665" y="165"/>
                  <a:pt x="676" y="162"/>
                </a:cubicBezTo>
                <a:cubicBezTo>
                  <a:pt x="740" y="148"/>
                  <a:pt x="740" y="148"/>
                  <a:pt x="740" y="148"/>
                </a:cubicBezTo>
                <a:cubicBezTo>
                  <a:pt x="750" y="145"/>
                  <a:pt x="761" y="152"/>
                  <a:pt x="764" y="163"/>
                </a:cubicBezTo>
                <a:cubicBezTo>
                  <a:pt x="771" y="193"/>
                  <a:pt x="771" y="193"/>
                  <a:pt x="771" y="193"/>
                </a:cubicBezTo>
                <a:cubicBezTo>
                  <a:pt x="783" y="194"/>
                  <a:pt x="796" y="196"/>
                  <a:pt x="808" y="200"/>
                </a:cubicBezTo>
                <a:cubicBezTo>
                  <a:pt x="825" y="173"/>
                  <a:pt x="825" y="173"/>
                  <a:pt x="825" y="173"/>
                </a:cubicBezTo>
                <a:cubicBezTo>
                  <a:pt x="831" y="164"/>
                  <a:pt x="844" y="161"/>
                  <a:pt x="853" y="167"/>
                </a:cubicBezTo>
                <a:cubicBezTo>
                  <a:pt x="908" y="202"/>
                  <a:pt x="908" y="202"/>
                  <a:pt x="908" y="202"/>
                </a:cubicBezTo>
                <a:cubicBezTo>
                  <a:pt x="918" y="208"/>
                  <a:pt x="921" y="220"/>
                  <a:pt x="915" y="230"/>
                </a:cubicBezTo>
                <a:cubicBezTo>
                  <a:pt x="898" y="256"/>
                  <a:pt x="898" y="256"/>
                  <a:pt x="898" y="256"/>
                </a:cubicBezTo>
                <a:cubicBezTo>
                  <a:pt x="907" y="266"/>
                  <a:pt x="914" y="277"/>
                  <a:pt x="920" y="288"/>
                </a:cubicBezTo>
                <a:cubicBezTo>
                  <a:pt x="951" y="281"/>
                  <a:pt x="951" y="281"/>
                  <a:pt x="951" y="281"/>
                </a:cubicBezTo>
                <a:cubicBezTo>
                  <a:pt x="962" y="278"/>
                  <a:pt x="972" y="285"/>
                  <a:pt x="975" y="296"/>
                </a:cubicBezTo>
                <a:cubicBezTo>
                  <a:pt x="989" y="360"/>
                  <a:pt x="989" y="360"/>
                  <a:pt x="989" y="360"/>
                </a:cubicBezTo>
                <a:cubicBezTo>
                  <a:pt x="992" y="371"/>
                  <a:pt x="985" y="382"/>
                  <a:pt x="974" y="384"/>
                </a:cubicBezTo>
                <a:close/>
                <a:moveTo>
                  <a:pt x="600" y="653"/>
                </a:moveTo>
                <a:cubicBezTo>
                  <a:pt x="587" y="652"/>
                  <a:pt x="578" y="664"/>
                  <a:pt x="577" y="676"/>
                </a:cubicBezTo>
                <a:cubicBezTo>
                  <a:pt x="578" y="684"/>
                  <a:pt x="582" y="690"/>
                  <a:pt x="587" y="694"/>
                </a:cubicBezTo>
                <a:cubicBezTo>
                  <a:pt x="582" y="702"/>
                  <a:pt x="577" y="710"/>
                  <a:pt x="572" y="717"/>
                </a:cubicBezTo>
                <a:cubicBezTo>
                  <a:pt x="569" y="716"/>
                  <a:pt x="565" y="715"/>
                  <a:pt x="562" y="715"/>
                </a:cubicBezTo>
                <a:cubicBezTo>
                  <a:pt x="557" y="715"/>
                  <a:pt x="553" y="716"/>
                  <a:pt x="550" y="719"/>
                </a:cubicBezTo>
                <a:cubicBezTo>
                  <a:pt x="544" y="712"/>
                  <a:pt x="538" y="705"/>
                  <a:pt x="532" y="699"/>
                </a:cubicBezTo>
                <a:cubicBezTo>
                  <a:pt x="533" y="697"/>
                  <a:pt x="534" y="694"/>
                  <a:pt x="534" y="692"/>
                </a:cubicBezTo>
                <a:cubicBezTo>
                  <a:pt x="534" y="683"/>
                  <a:pt x="526" y="676"/>
                  <a:pt x="518" y="676"/>
                </a:cubicBezTo>
                <a:cubicBezTo>
                  <a:pt x="509" y="676"/>
                  <a:pt x="503" y="684"/>
                  <a:pt x="502" y="692"/>
                </a:cubicBezTo>
                <a:cubicBezTo>
                  <a:pt x="502" y="694"/>
                  <a:pt x="503" y="697"/>
                  <a:pt x="504" y="699"/>
                </a:cubicBezTo>
                <a:cubicBezTo>
                  <a:pt x="499" y="704"/>
                  <a:pt x="494" y="710"/>
                  <a:pt x="489" y="716"/>
                </a:cubicBezTo>
                <a:cubicBezTo>
                  <a:pt x="487" y="714"/>
                  <a:pt x="484" y="713"/>
                  <a:pt x="481" y="713"/>
                </a:cubicBezTo>
                <a:cubicBezTo>
                  <a:pt x="474" y="713"/>
                  <a:pt x="468" y="720"/>
                  <a:pt x="468" y="727"/>
                </a:cubicBezTo>
                <a:cubicBezTo>
                  <a:pt x="467" y="734"/>
                  <a:pt x="474" y="740"/>
                  <a:pt x="481" y="740"/>
                </a:cubicBezTo>
                <a:cubicBezTo>
                  <a:pt x="489" y="741"/>
                  <a:pt x="495" y="734"/>
                  <a:pt x="495" y="727"/>
                </a:cubicBezTo>
                <a:cubicBezTo>
                  <a:pt x="495" y="724"/>
                  <a:pt x="494" y="722"/>
                  <a:pt x="493" y="720"/>
                </a:cubicBezTo>
                <a:cubicBezTo>
                  <a:pt x="497" y="716"/>
                  <a:pt x="500" y="711"/>
                  <a:pt x="504" y="707"/>
                </a:cubicBezTo>
                <a:cubicBezTo>
                  <a:pt x="505" y="706"/>
                  <a:pt x="506" y="705"/>
                  <a:pt x="507" y="703"/>
                </a:cubicBezTo>
                <a:cubicBezTo>
                  <a:pt x="510" y="706"/>
                  <a:pt x="514" y="708"/>
                  <a:pt x="518" y="708"/>
                </a:cubicBezTo>
                <a:cubicBezTo>
                  <a:pt x="522" y="708"/>
                  <a:pt x="526" y="706"/>
                  <a:pt x="529" y="703"/>
                </a:cubicBezTo>
                <a:cubicBezTo>
                  <a:pt x="535" y="710"/>
                  <a:pt x="540" y="716"/>
                  <a:pt x="546" y="723"/>
                </a:cubicBezTo>
                <a:cubicBezTo>
                  <a:pt x="544" y="726"/>
                  <a:pt x="542" y="731"/>
                  <a:pt x="542" y="735"/>
                </a:cubicBezTo>
                <a:cubicBezTo>
                  <a:pt x="542" y="747"/>
                  <a:pt x="551" y="755"/>
                  <a:pt x="562" y="755"/>
                </a:cubicBezTo>
                <a:cubicBezTo>
                  <a:pt x="574" y="756"/>
                  <a:pt x="582" y="746"/>
                  <a:pt x="582" y="735"/>
                </a:cubicBezTo>
                <a:cubicBezTo>
                  <a:pt x="583" y="729"/>
                  <a:pt x="580" y="724"/>
                  <a:pt x="576" y="721"/>
                </a:cubicBezTo>
                <a:cubicBezTo>
                  <a:pt x="581" y="713"/>
                  <a:pt x="587" y="705"/>
                  <a:pt x="592" y="697"/>
                </a:cubicBezTo>
                <a:cubicBezTo>
                  <a:pt x="605" y="701"/>
                  <a:pt x="623" y="694"/>
                  <a:pt x="624" y="676"/>
                </a:cubicBezTo>
                <a:cubicBezTo>
                  <a:pt x="624" y="663"/>
                  <a:pt x="612" y="653"/>
                  <a:pt x="600" y="653"/>
                </a:cubicBezTo>
                <a:close/>
                <a:moveTo>
                  <a:pt x="600" y="653"/>
                </a:moveTo>
                <a:cubicBezTo>
                  <a:pt x="600" y="653"/>
                  <a:pt x="600" y="653"/>
                  <a:pt x="600" y="653"/>
                </a:cubicBezTo>
                <a:moveTo>
                  <a:pt x="372" y="514"/>
                </a:moveTo>
                <a:cubicBezTo>
                  <a:pt x="369" y="514"/>
                  <a:pt x="366" y="512"/>
                  <a:pt x="366" y="509"/>
                </a:cubicBezTo>
                <a:cubicBezTo>
                  <a:pt x="366" y="371"/>
                  <a:pt x="366" y="371"/>
                  <a:pt x="366" y="371"/>
                </a:cubicBezTo>
                <a:cubicBezTo>
                  <a:pt x="366" y="368"/>
                  <a:pt x="369" y="365"/>
                  <a:pt x="372" y="365"/>
                </a:cubicBezTo>
                <a:cubicBezTo>
                  <a:pt x="401" y="365"/>
                  <a:pt x="401" y="365"/>
                  <a:pt x="401" y="365"/>
                </a:cubicBezTo>
                <a:cubicBezTo>
                  <a:pt x="404" y="365"/>
                  <a:pt x="406" y="368"/>
                  <a:pt x="406" y="371"/>
                </a:cubicBezTo>
                <a:cubicBezTo>
                  <a:pt x="406" y="509"/>
                  <a:pt x="406" y="509"/>
                  <a:pt x="406" y="509"/>
                </a:cubicBezTo>
                <a:cubicBezTo>
                  <a:pt x="406" y="512"/>
                  <a:pt x="404" y="514"/>
                  <a:pt x="401" y="514"/>
                </a:cubicBezTo>
                <a:lnTo>
                  <a:pt x="372" y="514"/>
                </a:lnTo>
                <a:close/>
                <a:moveTo>
                  <a:pt x="372" y="514"/>
                </a:moveTo>
                <a:cubicBezTo>
                  <a:pt x="372" y="514"/>
                  <a:pt x="372" y="514"/>
                  <a:pt x="372" y="514"/>
                </a:cubicBezTo>
                <a:moveTo>
                  <a:pt x="320" y="514"/>
                </a:moveTo>
                <a:cubicBezTo>
                  <a:pt x="317" y="514"/>
                  <a:pt x="314" y="512"/>
                  <a:pt x="314" y="509"/>
                </a:cubicBezTo>
                <a:cubicBezTo>
                  <a:pt x="314" y="405"/>
                  <a:pt x="314" y="405"/>
                  <a:pt x="314" y="405"/>
                </a:cubicBezTo>
                <a:cubicBezTo>
                  <a:pt x="314" y="402"/>
                  <a:pt x="317" y="399"/>
                  <a:pt x="320" y="399"/>
                </a:cubicBezTo>
                <a:cubicBezTo>
                  <a:pt x="349" y="399"/>
                  <a:pt x="349" y="399"/>
                  <a:pt x="349" y="399"/>
                </a:cubicBezTo>
                <a:cubicBezTo>
                  <a:pt x="352" y="399"/>
                  <a:pt x="355" y="402"/>
                  <a:pt x="355" y="405"/>
                </a:cubicBezTo>
                <a:cubicBezTo>
                  <a:pt x="355" y="509"/>
                  <a:pt x="355" y="509"/>
                  <a:pt x="355" y="509"/>
                </a:cubicBezTo>
                <a:cubicBezTo>
                  <a:pt x="355" y="512"/>
                  <a:pt x="352" y="514"/>
                  <a:pt x="349" y="514"/>
                </a:cubicBezTo>
                <a:lnTo>
                  <a:pt x="320" y="514"/>
                </a:lnTo>
                <a:close/>
                <a:moveTo>
                  <a:pt x="320" y="514"/>
                </a:moveTo>
                <a:cubicBezTo>
                  <a:pt x="320" y="514"/>
                  <a:pt x="320" y="514"/>
                  <a:pt x="320" y="514"/>
                </a:cubicBezTo>
                <a:moveTo>
                  <a:pt x="268" y="514"/>
                </a:moveTo>
                <a:cubicBezTo>
                  <a:pt x="265" y="514"/>
                  <a:pt x="263" y="512"/>
                  <a:pt x="263" y="509"/>
                </a:cubicBezTo>
                <a:cubicBezTo>
                  <a:pt x="263" y="440"/>
                  <a:pt x="263" y="440"/>
                  <a:pt x="263" y="440"/>
                </a:cubicBezTo>
                <a:cubicBezTo>
                  <a:pt x="263" y="437"/>
                  <a:pt x="265" y="434"/>
                  <a:pt x="268" y="434"/>
                </a:cubicBezTo>
                <a:cubicBezTo>
                  <a:pt x="297" y="434"/>
                  <a:pt x="297" y="434"/>
                  <a:pt x="297" y="434"/>
                </a:cubicBezTo>
                <a:cubicBezTo>
                  <a:pt x="300" y="434"/>
                  <a:pt x="303" y="437"/>
                  <a:pt x="303" y="440"/>
                </a:cubicBezTo>
                <a:cubicBezTo>
                  <a:pt x="303" y="509"/>
                  <a:pt x="303" y="509"/>
                  <a:pt x="303" y="509"/>
                </a:cubicBezTo>
                <a:cubicBezTo>
                  <a:pt x="303" y="512"/>
                  <a:pt x="300" y="514"/>
                  <a:pt x="297" y="514"/>
                </a:cubicBezTo>
                <a:lnTo>
                  <a:pt x="268" y="514"/>
                </a:lnTo>
                <a:close/>
                <a:moveTo>
                  <a:pt x="268" y="514"/>
                </a:moveTo>
                <a:cubicBezTo>
                  <a:pt x="268" y="514"/>
                  <a:pt x="268" y="514"/>
                  <a:pt x="268" y="514"/>
                </a:cubicBezTo>
                <a:moveTo>
                  <a:pt x="784" y="262"/>
                </a:moveTo>
                <a:cubicBezTo>
                  <a:pt x="783" y="261"/>
                  <a:pt x="783" y="260"/>
                  <a:pt x="783" y="260"/>
                </a:cubicBezTo>
                <a:cubicBezTo>
                  <a:pt x="783" y="259"/>
                  <a:pt x="783" y="259"/>
                  <a:pt x="783" y="259"/>
                </a:cubicBezTo>
                <a:cubicBezTo>
                  <a:pt x="783" y="259"/>
                  <a:pt x="784" y="260"/>
                  <a:pt x="786" y="260"/>
                </a:cubicBezTo>
                <a:cubicBezTo>
                  <a:pt x="787" y="261"/>
                  <a:pt x="787" y="261"/>
                  <a:pt x="788" y="262"/>
                </a:cubicBezTo>
                <a:cubicBezTo>
                  <a:pt x="789" y="262"/>
                  <a:pt x="791" y="262"/>
                  <a:pt x="792" y="263"/>
                </a:cubicBezTo>
                <a:cubicBezTo>
                  <a:pt x="792" y="263"/>
                  <a:pt x="793" y="263"/>
                  <a:pt x="793" y="263"/>
                </a:cubicBezTo>
                <a:cubicBezTo>
                  <a:pt x="794" y="263"/>
                  <a:pt x="794" y="263"/>
                  <a:pt x="794" y="263"/>
                </a:cubicBezTo>
                <a:cubicBezTo>
                  <a:pt x="795" y="263"/>
                  <a:pt x="795" y="263"/>
                  <a:pt x="795" y="263"/>
                </a:cubicBezTo>
                <a:cubicBezTo>
                  <a:pt x="796" y="264"/>
                  <a:pt x="798" y="263"/>
                  <a:pt x="799" y="263"/>
                </a:cubicBezTo>
                <a:cubicBezTo>
                  <a:pt x="799" y="263"/>
                  <a:pt x="800" y="263"/>
                  <a:pt x="801" y="263"/>
                </a:cubicBezTo>
                <a:cubicBezTo>
                  <a:pt x="801" y="262"/>
                  <a:pt x="802" y="262"/>
                  <a:pt x="802" y="262"/>
                </a:cubicBezTo>
                <a:cubicBezTo>
                  <a:pt x="803" y="262"/>
                  <a:pt x="803" y="261"/>
                  <a:pt x="803" y="261"/>
                </a:cubicBezTo>
                <a:cubicBezTo>
                  <a:pt x="804" y="261"/>
                  <a:pt x="804" y="261"/>
                  <a:pt x="804" y="260"/>
                </a:cubicBezTo>
                <a:cubicBezTo>
                  <a:pt x="806" y="259"/>
                  <a:pt x="806" y="259"/>
                  <a:pt x="806" y="259"/>
                </a:cubicBezTo>
                <a:cubicBezTo>
                  <a:pt x="806" y="258"/>
                  <a:pt x="806" y="259"/>
                  <a:pt x="806" y="259"/>
                </a:cubicBezTo>
                <a:cubicBezTo>
                  <a:pt x="806" y="259"/>
                  <a:pt x="806" y="259"/>
                  <a:pt x="806" y="259"/>
                </a:cubicBezTo>
                <a:cubicBezTo>
                  <a:pt x="806" y="259"/>
                  <a:pt x="806" y="259"/>
                  <a:pt x="806" y="259"/>
                </a:cubicBezTo>
                <a:cubicBezTo>
                  <a:pt x="807" y="258"/>
                  <a:pt x="807" y="258"/>
                  <a:pt x="807" y="258"/>
                </a:cubicBezTo>
                <a:cubicBezTo>
                  <a:pt x="807" y="258"/>
                  <a:pt x="807" y="258"/>
                  <a:pt x="807" y="258"/>
                </a:cubicBezTo>
                <a:cubicBezTo>
                  <a:pt x="807" y="258"/>
                  <a:pt x="807" y="258"/>
                  <a:pt x="807" y="258"/>
                </a:cubicBezTo>
                <a:cubicBezTo>
                  <a:pt x="809" y="257"/>
                  <a:pt x="809" y="257"/>
                  <a:pt x="809" y="257"/>
                </a:cubicBezTo>
                <a:cubicBezTo>
                  <a:pt x="809" y="256"/>
                  <a:pt x="810" y="255"/>
                  <a:pt x="811" y="255"/>
                </a:cubicBezTo>
                <a:cubicBezTo>
                  <a:pt x="811" y="254"/>
                  <a:pt x="812" y="253"/>
                  <a:pt x="813" y="253"/>
                </a:cubicBezTo>
                <a:cubicBezTo>
                  <a:pt x="814" y="252"/>
                  <a:pt x="815" y="252"/>
                  <a:pt x="815" y="251"/>
                </a:cubicBezTo>
                <a:cubicBezTo>
                  <a:pt x="817" y="250"/>
                  <a:pt x="819" y="249"/>
                  <a:pt x="821" y="250"/>
                </a:cubicBezTo>
                <a:cubicBezTo>
                  <a:pt x="822" y="250"/>
                  <a:pt x="822" y="250"/>
                  <a:pt x="823" y="250"/>
                </a:cubicBezTo>
                <a:cubicBezTo>
                  <a:pt x="823" y="250"/>
                  <a:pt x="824" y="250"/>
                  <a:pt x="824" y="250"/>
                </a:cubicBezTo>
                <a:cubicBezTo>
                  <a:pt x="825" y="251"/>
                  <a:pt x="825" y="251"/>
                  <a:pt x="826" y="251"/>
                </a:cubicBezTo>
                <a:cubicBezTo>
                  <a:pt x="827" y="252"/>
                  <a:pt x="829" y="253"/>
                  <a:pt x="829" y="254"/>
                </a:cubicBezTo>
                <a:cubicBezTo>
                  <a:pt x="830" y="255"/>
                  <a:pt x="831" y="256"/>
                  <a:pt x="831" y="257"/>
                </a:cubicBezTo>
                <a:cubicBezTo>
                  <a:pt x="832" y="257"/>
                  <a:pt x="832" y="258"/>
                  <a:pt x="832" y="259"/>
                </a:cubicBezTo>
                <a:cubicBezTo>
                  <a:pt x="832" y="259"/>
                  <a:pt x="833" y="259"/>
                  <a:pt x="833" y="259"/>
                </a:cubicBezTo>
                <a:cubicBezTo>
                  <a:pt x="832" y="260"/>
                  <a:pt x="832" y="260"/>
                  <a:pt x="832" y="260"/>
                </a:cubicBezTo>
                <a:cubicBezTo>
                  <a:pt x="832" y="260"/>
                  <a:pt x="831" y="259"/>
                  <a:pt x="830" y="259"/>
                </a:cubicBezTo>
                <a:cubicBezTo>
                  <a:pt x="829" y="259"/>
                  <a:pt x="828" y="258"/>
                  <a:pt x="827" y="258"/>
                </a:cubicBezTo>
                <a:cubicBezTo>
                  <a:pt x="826" y="257"/>
                  <a:pt x="825" y="257"/>
                  <a:pt x="824" y="256"/>
                </a:cubicBezTo>
                <a:cubicBezTo>
                  <a:pt x="823" y="256"/>
                  <a:pt x="823" y="256"/>
                  <a:pt x="822" y="256"/>
                </a:cubicBezTo>
                <a:cubicBezTo>
                  <a:pt x="822" y="256"/>
                  <a:pt x="822" y="256"/>
                  <a:pt x="821" y="256"/>
                </a:cubicBezTo>
                <a:cubicBezTo>
                  <a:pt x="821" y="255"/>
                  <a:pt x="821" y="255"/>
                  <a:pt x="820" y="255"/>
                </a:cubicBezTo>
                <a:cubicBezTo>
                  <a:pt x="819" y="255"/>
                  <a:pt x="818" y="254"/>
                  <a:pt x="816" y="254"/>
                </a:cubicBezTo>
                <a:cubicBezTo>
                  <a:pt x="816" y="254"/>
                  <a:pt x="815" y="254"/>
                  <a:pt x="814" y="255"/>
                </a:cubicBezTo>
                <a:cubicBezTo>
                  <a:pt x="813" y="255"/>
                  <a:pt x="812" y="255"/>
                  <a:pt x="812" y="256"/>
                </a:cubicBezTo>
                <a:cubicBezTo>
                  <a:pt x="811" y="257"/>
                  <a:pt x="811" y="257"/>
                  <a:pt x="810" y="258"/>
                </a:cubicBezTo>
                <a:cubicBezTo>
                  <a:pt x="810" y="259"/>
                  <a:pt x="810" y="259"/>
                  <a:pt x="810" y="259"/>
                </a:cubicBezTo>
                <a:cubicBezTo>
                  <a:pt x="809" y="260"/>
                  <a:pt x="809" y="260"/>
                  <a:pt x="809" y="260"/>
                </a:cubicBezTo>
                <a:cubicBezTo>
                  <a:pt x="809" y="260"/>
                  <a:pt x="809" y="260"/>
                  <a:pt x="809" y="260"/>
                </a:cubicBezTo>
                <a:cubicBezTo>
                  <a:pt x="809" y="260"/>
                  <a:pt x="809" y="260"/>
                  <a:pt x="809" y="260"/>
                </a:cubicBezTo>
                <a:cubicBezTo>
                  <a:pt x="809" y="260"/>
                  <a:pt x="809" y="260"/>
                  <a:pt x="809" y="260"/>
                </a:cubicBezTo>
                <a:cubicBezTo>
                  <a:pt x="809" y="261"/>
                  <a:pt x="809" y="261"/>
                  <a:pt x="809" y="261"/>
                </a:cubicBezTo>
                <a:cubicBezTo>
                  <a:pt x="809" y="261"/>
                  <a:pt x="809" y="261"/>
                  <a:pt x="809" y="261"/>
                </a:cubicBezTo>
                <a:cubicBezTo>
                  <a:pt x="809" y="260"/>
                  <a:pt x="809" y="261"/>
                  <a:pt x="809" y="261"/>
                </a:cubicBezTo>
                <a:cubicBezTo>
                  <a:pt x="808" y="263"/>
                  <a:pt x="808" y="263"/>
                  <a:pt x="808" y="263"/>
                </a:cubicBezTo>
                <a:cubicBezTo>
                  <a:pt x="808" y="264"/>
                  <a:pt x="807" y="265"/>
                  <a:pt x="806" y="266"/>
                </a:cubicBezTo>
                <a:cubicBezTo>
                  <a:pt x="805" y="267"/>
                  <a:pt x="804" y="268"/>
                  <a:pt x="803" y="268"/>
                </a:cubicBezTo>
                <a:cubicBezTo>
                  <a:pt x="803" y="269"/>
                  <a:pt x="801" y="269"/>
                  <a:pt x="800" y="270"/>
                </a:cubicBezTo>
                <a:cubicBezTo>
                  <a:pt x="798" y="270"/>
                  <a:pt x="796" y="271"/>
                  <a:pt x="794" y="270"/>
                </a:cubicBezTo>
                <a:cubicBezTo>
                  <a:pt x="793" y="270"/>
                  <a:pt x="792" y="270"/>
                  <a:pt x="792" y="269"/>
                </a:cubicBezTo>
                <a:cubicBezTo>
                  <a:pt x="791" y="269"/>
                  <a:pt x="790" y="268"/>
                  <a:pt x="789" y="268"/>
                </a:cubicBezTo>
                <a:cubicBezTo>
                  <a:pt x="788" y="267"/>
                  <a:pt x="787" y="266"/>
                  <a:pt x="786" y="265"/>
                </a:cubicBezTo>
                <a:cubicBezTo>
                  <a:pt x="785" y="264"/>
                  <a:pt x="785" y="263"/>
                  <a:pt x="784" y="262"/>
                </a:cubicBezTo>
                <a:close/>
                <a:moveTo>
                  <a:pt x="877" y="415"/>
                </a:moveTo>
                <a:cubicBezTo>
                  <a:pt x="877" y="470"/>
                  <a:pt x="877" y="470"/>
                  <a:pt x="877" y="470"/>
                </a:cubicBezTo>
                <a:cubicBezTo>
                  <a:pt x="656" y="470"/>
                  <a:pt x="656" y="470"/>
                  <a:pt x="656" y="470"/>
                </a:cubicBezTo>
                <a:cubicBezTo>
                  <a:pt x="656" y="415"/>
                  <a:pt x="656" y="415"/>
                  <a:pt x="656" y="415"/>
                </a:cubicBezTo>
                <a:cubicBezTo>
                  <a:pt x="671" y="415"/>
                  <a:pt x="671" y="415"/>
                  <a:pt x="671" y="415"/>
                </a:cubicBezTo>
                <a:cubicBezTo>
                  <a:pt x="671" y="353"/>
                  <a:pt x="671" y="353"/>
                  <a:pt x="671" y="353"/>
                </a:cubicBezTo>
                <a:cubicBezTo>
                  <a:pt x="714" y="321"/>
                  <a:pt x="714" y="321"/>
                  <a:pt x="714" y="321"/>
                </a:cubicBezTo>
                <a:cubicBezTo>
                  <a:pt x="714" y="353"/>
                  <a:pt x="714" y="353"/>
                  <a:pt x="714" y="353"/>
                </a:cubicBezTo>
                <a:cubicBezTo>
                  <a:pt x="756" y="321"/>
                  <a:pt x="756" y="321"/>
                  <a:pt x="756" y="321"/>
                </a:cubicBezTo>
                <a:cubicBezTo>
                  <a:pt x="756" y="353"/>
                  <a:pt x="756" y="353"/>
                  <a:pt x="756" y="353"/>
                </a:cubicBezTo>
                <a:cubicBezTo>
                  <a:pt x="798" y="321"/>
                  <a:pt x="798" y="321"/>
                  <a:pt x="798" y="321"/>
                </a:cubicBezTo>
                <a:cubicBezTo>
                  <a:pt x="798" y="383"/>
                  <a:pt x="798" y="383"/>
                  <a:pt x="798" y="383"/>
                </a:cubicBezTo>
                <a:cubicBezTo>
                  <a:pt x="813" y="383"/>
                  <a:pt x="813" y="383"/>
                  <a:pt x="813" y="383"/>
                </a:cubicBezTo>
                <a:cubicBezTo>
                  <a:pt x="821" y="274"/>
                  <a:pt x="821" y="274"/>
                  <a:pt x="821" y="274"/>
                </a:cubicBezTo>
                <a:cubicBezTo>
                  <a:pt x="845" y="274"/>
                  <a:pt x="845" y="274"/>
                  <a:pt x="845" y="274"/>
                </a:cubicBezTo>
                <a:cubicBezTo>
                  <a:pt x="852" y="383"/>
                  <a:pt x="852" y="383"/>
                  <a:pt x="852" y="383"/>
                </a:cubicBezTo>
                <a:cubicBezTo>
                  <a:pt x="868" y="383"/>
                  <a:pt x="868" y="383"/>
                  <a:pt x="868" y="383"/>
                </a:cubicBezTo>
                <a:cubicBezTo>
                  <a:pt x="868" y="415"/>
                  <a:pt x="868" y="415"/>
                  <a:pt x="868" y="415"/>
                </a:cubicBezTo>
                <a:lnTo>
                  <a:pt x="877" y="415"/>
                </a:lnTo>
                <a:close/>
                <a:moveTo>
                  <a:pt x="725" y="391"/>
                </a:moveTo>
                <a:cubicBezTo>
                  <a:pt x="692" y="391"/>
                  <a:pt x="692" y="391"/>
                  <a:pt x="692" y="391"/>
                </a:cubicBezTo>
                <a:cubicBezTo>
                  <a:pt x="692" y="423"/>
                  <a:pt x="692" y="423"/>
                  <a:pt x="692" y="423"/>
                </a:cubicBezTo>
                <a:cubicBezTo>
                  <a:pt x="725" y="423"/>
                  <a:pt x="725" y="423"/>
                  <a:pt x="725" y="423"/>
                </a:cubicBezTo>
                <a:lnTo>
                  <a:pt x="725" y="391"/>
                </a:lnTo>
                <a:close/>
                <a:moveTo>
                  <a:pt x="783" y="391"/>
                </a:moveTo>
                <a:cubicBezTo>
                  <a:pt x="749" y="391"/>
                  <a:pt x="749" y="391"/>
                  <a:pt x="749" y="391"/>
                </a:cubicBezTo>
                <a:cubicBezTo>
                  <a:pt x="749" y="423"/>
                  <a:pt x="749" y="423"/>
                  <a:pt x="749" y="423"/>
                </a:cubicBezTo>
                <a:cubicBezTo>
                  <a:pt x="783" y="423"/>
                  <a:pt x="783" y="423"/>
                  <a:pt x="783" y="423"/>
                </a:cubicBezTo>
                <a:lnTo>
                  <a:pt x="783" y="391"/>
                </a:lnTo>
                <a:close/>
                <a:moveTo>
                  <a:pt x="841" y="391"/>
                </a:moveTo>
                <a:cubicBezTo>
                  <a:pt x="807" y="391"/>
                  <a:pt x="807" y="391"/>
                  <a:pt x="807" y="391"/>
                </a:cubicBezTo>
                <a:cubicBezTo>
                  <a:pt x="807" y="423"/>
                  <a:pt x="807" y="423"/>
                  <a:pt x="807" y="423"/>
                </a:cubicBezTo>
                <a:cubicBezTo>
                  <a:pt x="841" y="423"/>
                  <a:pt x="841" y="423"/>
                  <a:pt x="841" y="423"/>
                </a:cubicBezTo>
                <a:lnTo>
                  <a:pt x="841" y="391"/>
                </a:lnTo>
                <a:close/>
                <a:moveTo>
                  <a:pt x="841" y="391"/>
                </a:moveTo>
                <a:cubicBezTo>
                  <a:pt x="841" y="391"/>
                  <a:pt x="841" y="391"/>
                  <a:pt x="841" y="391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txBody>
          <a:bodyPr vert="horz" wrap="square" lIns="121906" tIns="60953" rIns="121906" bIns="60953" numCol="1" anchor="t" anchorCtr="0" compatLnSpc="1">
            <a:prstTxWarp prst="textNoShape">
              <a:avLst/>
            </a:prstTxWarp>
          </a:bodyPr>
          <a:lstStyle/>
          <a:p>
            <a:pPr defTabSz="609495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802247" y="1628506"/>
            <a:ext cx="5456261" cy="707876"/>
          </a:xfrm>
          <a:prstGeom prst="rect">
            <a:avLst/>
          </a:prstGeom>
        </p:spPr>
        <p:txBody>
          <a:bodyPr wrap="square" lIns="91428" tIns="45715" rIns="91428" bIns="45715" anchor="b">
            <a:spAutoFit/>
          </a:bodyPr>
          <a:lstStyle/>
          <a:p>
            <a:pPr defTabSz="913030"/>
            <a:r>
              <a:rPr lang="en-US" sz="2000" b="1" dirty="0" smtClean="0">
                <a:solidFill>
                  <a:schemeClr val="accent1"/>
                </a:solidFill>
                <a:latin typeface="+mn-lt"/>
              </a:rPr>
              <a:t>Customer Ask :  </a:t>
            </a:r>
          </a:p>
          <a:p>
            <a:pPr defTabSz="913030"/>
            <a:r>
              <a:rPr lang="en-US" sz="2000" dirty="0" smtClean="0">
                <a:solidFill>
                  <a:schemeClr val="accent1"/>
                </a:solidFill>
                <a:latin typeface="+mn-lt"/>
              </a:rPr>
              <a:t>Any </a:t>
            </a:r>
            <a:r>
              <a:rPr lang="en-US" sz="2000" dirty="0">
                <a:solidFill>
                  <a:schemeClr val="accent1"/>
                </a:solidFill>
                <a:latin typeface="+mn-lt"/>
              </a:rPr>
              <a:t>w</a:t>
            </a:r>
            <a:r>
              <a:rPr lang="en-US" sz="2000" dirty="0" smtClean="0">
                <a:solidFill>
                  <a:schemeClr val="accent1"/>
                </a:solidFill>
                <a:latin typeface="+mn-lt"/>
              </a:rPr>
              <a:t>orkload </a:t>
            </a:r>
            <a:r>
              <a:rPr lang="en-US" sz="2000" dirty="0">
                <a:solidFill>
                  <a:schemeClr val="accent1"/>
                </a:solidFill>
                <a:latin typeface="+mn-lt"/>
              </a:rPr>
              <a:t>a</a:t>
            </a:r>
            <a:r>
              <a:rPr lang="en-US" sz="2000" dirty="0" smtClean="0">
                <a:solidFill>
                  <a:schemeClr val="accent1"/>
                </a:solidFill>
                <a:latin typeface="+mn-lt"/>
              </a:rPr>
              <a:t>nywhere in their large fabric</a:t>
            </a:r>
            <a:endParaRPr lang="en-US" sz="2000" dirty="0">
              <a:solidFill>
                <a:schemeClr val="accent1"/>
              </a:solidFill>
              <a:latin typeface="+mn-lt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3065941" y="2568336"/>
            <a:ext cx="5729340" cy="640080"/>
            <a:chOff x="472030" y="3704242"/>
            <a:chExt cx="8303002" cy="355472"/>
          </a:xfrm>
        </p:grpSpPr>
        <p:sp>
          <p:nvSpPr>
            <p:cNvPr id="50" name="Rectangle 49"/>
            <p:cNvSpPr/>
            <p:nvPr/>
          </p:nvSpPr>
          <p:spPr>
            <a:xfrm>
              <a:off x="472030" y="3704242"/>
              <a:ext cx="8303002" cy="35547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lIns="91428" tIns="45715" rIns="91428" bIns="45715">
              <a:spAutoFit/>
            </a:bodyPr>
            <a:lstStyle/>
            <a:p>
              <a:pPr algn="ctr" defTabSz="608773">
                <a:lnSpc>
                  <a:spcPct val="95000"/>
                </a:lnSpc>
                <a:spcBef>
                  <a:spcPts val="1400"/>
                </a:spcBef>
                <a:defRPr/>
              </a:pPr>
              <a:endParaRPr lang="en-US" dirty="0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72030" y="3765529"/>
              <a:ext cx="8303002" cy="215075"/>
            </a:xfrm>
            <a:prstGeom prst="rect">
              <a:avLst/>
            </a:prstGeom>
          </p:spPr>
          <p:txBody>
            <a:bodyPr wrap="square" lIns="91428" tIns="45715" rIns="91428" bIns="45715" anchor="ctr">
              <a:spAutoFit/>
            </a:bodyPr>
            <a:lstStyle/>
            <a:p>
              <a:pPr algn="ctr" defTabSz="608773">
                <a:lnSpc>
                  <a:spcPct val="95000"/>
                </a:lnSpc>
                <a:spcBef>
                  <a:spcPts val="1400"/>
                </a:spcBef>
                <a:defRPr/>
              </a:pPr>
              <a:r>
                <a:rPr lang="en-US" sz="2000" dirty="0" smtClean="0">
                  <a:solidFill>
                    <a:schemeClr val="bg1"/>
                  </a:solidFill>
                </a:rPr>
                <a:t>Scale to support a </a:t>
              </a:r>
              <a:r>
                <a:rPr lang="en-US" sz="2000" b="1" dirty="0" smtClean="0">
                  <a:solidFill>
                    <a:schemeClr val="bg1"/>
                  </a:solidFill>
                </a:rPr>
                <a:t>188 </a:t>
              </a:r>
              <a:r>
                <a:rPr lang="en-US" sz="2000" dirty="0" smtClean="0">
                  <a:solidFill>
                    <a:schemeClr val="bg1"/>
                  </a:solidFill>
                </a:rPr>
                <a:t>Rack Data Center !</a:t>
              </a:r>
              <a:endParaRPr lang="en-US" sz="2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42" name="Text Placeholder 11"/>
          <p:cNvSpPr txBox="1">
            <a:spLocks/>
          </p:cNvSpPr>
          <p:nvPr/>
        </p:nvSpPr>
        <p:spPr>
          <a:xfrm>
            <a:off x="533400" y="900226"/>
            <a:ext cx="11243952" cy="44873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6"/>
              </a:buClr>
              <a:buSzPct val="100000"/>
              <a:buFont typeface="Webdings" panose="05030102010509060703" pitchFamily="18" charset="2"/>
              <a:buChar char="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 fontAlgn="base">
              <a:spcAft>
                <a:spcPct val="0"/>
              </a:spcAft>
              <a:buNone/>
            </a:pPr>
            <a:r>
              <a:rPr lang="en-US" sz="2399" dirty="0" smtClean="0">
                <a:solidFill>
                  <a:schemeClr val="tx1"/>
                </a:solidFill>
                <a:latin typeface="+mn-lt"/>
              </a:rPr>
              <a:t>Use Case</a:t>
            </a:r>
            <a:endParaRPr lang="en-US" sz="2399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3588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2"/>
          <p:cNvSpPr txBox="1">
            <a:spLocks/>
          </p:cNvSpPr>
          <p:nvPr/>
        </p:nvSpPr>
        <p:spPr bwMode="auto">
          <a:xfrm>
            <a:off x="533400" y="261410"/>
            <a:ext cx="110871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121840" tIns="60920" rIns="121840" bIns="60920" numCol="1" anchor="ctr" anchorCtr="0" compatLnSpc="1">
            <a:prstTxWarp prst="textNoShape">
              <a:avLst/>
            </a:prstTxWarp>
          </a:bodyPr>
          <a:lstStyle>
            <a:lvl1pPr algn="l" defTabSz="911807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4300" kern="120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275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564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7844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126" algn="l" defTabSz="911807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3600" dirty="0" smtClean="0">
                <a:solidFill>
                  <a:schemeClr val="tx2"/>
                </a:solidFill>
              </a:rPr>
              <a:t>Large Cloud Provider (Top 10)</a:t>
            </a:r>
            <a:endParaRPr lang="en-US" sz="3600" dirty="0">
              <a:solidFill>
                <a:schemeClr val="tx2"/>
              </a:solidFill>
            </a:endParaRPr>
          </a:p>
        </p:txBody>
      </p:sp>
      <p:sp>
        <p:nvSpPr>
          <p:cNvPr id="34" name="Text Placeholder 11"/>
          <p:cNvSpPr txBox="1">
            <a:spLocks/>
          </p:cNvSpPr>
          <p:nvPr/>
        </p:nvSpPr>
        <p:spPr>
          <a:xfrm>
            <a:off x="609396" y="838882"/>
            <a:ext cx="11243952" cy="44873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6"/>
              </a:buClr>
              <a:buSzPct val="100000"/>
              <a:buFont typeface="Webdings" panose="05030102010509060703" pitchFamily="18" charset="2"/>
              <a:buChar char=""/>
              <a:defRPr sz="24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26" fontAlgn="base">
              <a:spcAft>
                <a:spcPct val="0"/>
              </a:spcAft>
              <a:buNone/>
            </a:pPr>
            <a:r>
              <a:rPr lang="en-US" sz="2399" dirty="0" smtClean="0">
                <a:solidFill>
                  <a:schemeClr val="tx1"/>
                </a:solidFill>
                <a:latin typeface="+mn-lt"/>
              </a:rPr>
              <a:t>Implementation</a:t>
            </a:r>
            <a:endParaRPr lang="en-US" sz="2399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170824" y="4401667"/>
            <a:ext cx="940672" cy="906984"/>
          </a:xfrm>
          <a:prstGeom prst="rect">
            <a:avLst/>
          </a:prstGeom>
          <a:solidFill>
            <a:schemeClr val="bg1"/>
          </a:solidFill>
          <a:ln w="3175" cmpd="sng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rgbClr val="000000"/>
                </a:solidFill>
              </a:rPr>
              <a:t>Rack 1</a:t>
            </a:r>
          </a:p>
          <a:p>
            <a:r>
              <a:rPr lang="en-US" sz="1400" dirty="0">
                <a:solidFill>
                  <a:schemeClr val="tx2"/>
                </a:solidFill>
              </a:rPr>
              <a:t>VLAN 10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50051" y="4401667"/>
            <a:ext cx="927494" cy="910132"/>
          </a:xfrm>
          <a:prstGeom prst="rect">
            <a:avLst/>
          </a:prstGeom>
          <a:solidFill>
            <a:schemeClr val="bg1"/>
          </a:solidFill>
          <a:ln w="3175" cmpd="sng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537894" y="4401667"/>
            <a:ext cx="10827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a typeface="ＭＳ Ｐゴシック" charset="0"/>
              </a:rPr>
              <a:t>Rack </a:t>
            </a:r>
            <a:r>
              <a:rPr lang="en-US" sz="1400" dirty="0" smtClean="0">
                <a:solidFill>
                  <a:srgbClr val="000000"/>
                </a:solidFill>
                <a:ea typeface="ＭＳ Ｐゴシック" charset="0"/>
              </a:rPr>
              <a:t>188</a:t>
            </a:r>
            <a:endParaRPr lang="en-US" sz="1400" dirty="0">
              <a:solidFill>
                <a:srgbClr val="000000"/>
              </a:solidFill>
              <a:ea typeface="ＭＳ Ｐゴシック" charset="0"/>
            </a:endParaRPr>
          </a:p>
          <a:p>
            <a:r>
              <a:rPr lang="en-US" sz="1400" dirty="0">
                <a:solidFill>
                  <a:schemeClr val="accent1"/>
                </a:solidFill>
                <a:ea typeface="ＭＳ Ｐゴシック" charset="0"/>
              </a:rPr>
              <a:t>VLAN 10</a:t>
            </a:r>
          </a:p>
        </p:txBody>
      </p:sp>
      <p:pic>
        <p:nvPicPr>
          <p:cNvPr id="26" name="Picture 8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597" y="2199957"/>
            <a:ext cx="690383" cy="708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445" y="3836194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2375" y="3836194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146" y="3836194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714" y="3836194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8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3979" y="2199957"/>
            <a:ext cx="690383" cy="708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8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96" y="2199957"/>
            <a:ext cx="690383" cy="708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8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878" y="2199957"/>
            <a:ext cx="690383" cy="708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6" name="Straight Connector 35"/>
          <p:cNvCxnSpPr/>
          <p:nvPr/>
        </p:nvCxnSpPr>
        <p:spPr>
          <a:xfrm flipV="1">
            <a:off x="3593910" y="2908375"/>
            <a:ext cx="1064879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3593910" y="2908375"/>
            <a:ext cx="1755261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3593910" y="2908375"/>
            <a:ext cx="2435777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4410843" y="2908375"/>
            <a:ext cx="1618847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 flipV="1">
            <a:off x="6029688" y="2908375"/>
            <a:ext cx="29492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V="1">
            <a:off x="3593910" y="2908375"/>
            <a:ext cx="3126160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 flipV="1">
            <a:off x="6059180" y="2908375"/>
            <a:ext cx="660891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V="1">
            <a:off x="5237612" y="2908375"/>
            <a:ext cx="1482459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4410842" y="2908375"/>
            <a:ext cx="2309230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4410843" y="2908375"/>
            <a:ext cx="938330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5237613" y="2908375"/>
            <a:ext cx="111560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H="1" flipV="1">
            <a:off x="5349173" y="2908375"/>
            <a:ext cx="710008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H="1" flipV="1">
            <a:off x="4658792" y="2908375"/>
            <a:ext cx="1400390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H="1" flipV="1">
            <a:off x="4658792" y="2908375"/>
            <a:ext cx="578822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 flipV="1">
            <a:off x="5237612" y="2908375"/>
            <a:ext cx="792077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 flipV="1">
            <a:off x="4410841" y="2908375"/>
            <a:ext cx="247949" cy="92781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flipH="1">
            <a:off x="5646076" y="4032180"/>
            <a:ext cx="4638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4002375" y="4032180"/>
            <a:ext cx="0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50" y="3853387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22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924" y="3853387"/>
            <a:ext cx="816930" cy="391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9" name="Straight Connector 68"/>
          <p:cNvCxnSpPr/>
          <p:nvPr/>
        </p:nvCxnSpPr>
        <p:spPr>
          <a:xfrm flipH="1" flipV="1">
            <a:off x="6720071" y="2908379"/>
            <a:ext cx="1395320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 flipH="1" flipV="1">
            <a:off x="6029689" y="2908379"/>
            <a:ext cx="2085702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flipH="1" flipV="1">
            <a:off x="5349174" y="2908379"/>
            <a:ext cx="2766218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H="1" flipV="1">
            <a:off x="4658791" y="2908379"/>
            <a:ext cx="3456601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H="1" flipV="1">
            <a:off x="4658788" y="2908379"/>
            <a:ext cx="2607725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 flipV="1">
            <a:off x="5349172" y="2908379"/>
            <a:ext cx="1917343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H="1" flipV="1">
            <a:off x="6029687" y="2908379"/>
            <a:ext cx="1236826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H="1" flipV="1">
            <a:off x="6720070" y="2908379"/>
            <a:ext cx="546444" cy="94500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4412842" y="2030624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508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5065462" y="2030624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508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5818180" y="2029506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508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470800" y="2029506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508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144912" y="4159590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3961842" y="4159590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814012" y="4165425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5630942" y="4165425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696847" y="4202324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7991910" y="4202324"/>
            <a:ext cx="52450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1"/>
                </a:solidFill>
                <a:ea typeface="ＭＳ Ｐゴシック" charset="0"/>
              </a:rPr>
              <a:t>N9300</a:t>
            </a:r>
          </a:p>
        </p:txBody>
      </p:sp>
      <p:cxnSp>
        <p:nvCxnSpPr>
          <p:cNvPr id="87" name="Straight Connector 86"/>
          <p:cNvCxnSpPr/>
          <p:nvPr/>
        </p:nvCxnSpPr>
        <p:spPr>
          <a:xfrm>
            <a:off x="4002375" y="4032180"/>
            <a:ext cx="0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5646076" y="4032180"/>
            <a:ext cx="4638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 flipH="1">
            <a:off x="7674978" y="4049374"/>
            <a:ext cx="31946" cy="0"/>
          </a:xfrm>
          <a:prstGeom prst="line">
            <a:avLst/>
          </a:prstGeom>
          <a:ln w="3175" cmpd="sng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Cloud 89"/>
          <p:cNvSpPr/>
          <p:nvPr/>
        </p:nvSpPr>
        <p:spPr>
          <a:xfrm>
            <a:off x="6913464" y="4598135"/>
            <a:ext cx="1514881" cy="456335"/>
          </a:xfrm>
          <a:prstGeom prst="cloud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bg1"/>
                </a:solidFill>
              </a:rPr>
              <a:t>IT Core</a:t>
            </a:r>
          </a:p>
        </p:txBody>
      </p:sp>
      <p:cxnSp>
        <p:nvCxnSpPr>
          <p:cNvPr id="91" name="Straight Connector 90"/>
          <p:cNvCxnSpPr/>
          <p:nvPr/>
        </p:nvCxnSpPr>
        <p:spPr>
          <a:xfrm flipV="1">
            <a:off x="7266514" y="4245368"/>
            <a:ext cx="0" cy="377645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 flipV="1">
            <a:off x="8033212" y="4228175"/>
            <a:ext cx="0" cy="394838"/>
          </a:xfrm>
          <a:prstGeom prst="line">
            <a:avLst/>
          </a:prstGeom>
          <a:ln w="3175" cmpd="sng">
            <a:solidFill>
              <a:srgbClr val="6600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3" name="Freeform 92"/>
          <p:cNvSpPr/>
          <p:nvPr/>
        </p:nvSpPr>
        <p:spPr>
          <a:xfrm>
            <a:off x="3331624" y="3666131"/>
            <a:ext cx="358552" cy="724291"/>
          </a:xfrm>
          <a:custGeom>
            <a:avLst/>
            <a:gdLst>
              <a:gd name="connsiteX0" fmla="*/ 0 w 588434"/>
              <a:gd name="connsiteY0" fmla="*/ 625704 h 625704"/>
              <a:gd name="connsiteX1" fmla="*/ 88900 w 588434"/>
              <a:gd name="connsiteY1" fmla="*/ 75370 h 625704"/>
              <a:gd name="connsiteX2" fmla="*/ 491067 w 588434"/>
              <a:gd name="connsiteY2" fmla="*/ 62670 h 625704"/>
              <a:gd name="connsiteX3" fmla="*/ 588434 w 588434"/>
              <a:gd name="connsiteY3" fmla="*/ 613004 h 625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8434" h="625704">
                <a:moveTo>
                  <a:pt x="0" y="625704"/>
                </a:moveTo>
                <a:cubicBezTo>
                  <a:pt x="3528" y="397456"/>
                  <a:pt x="7056" y="169209"/>
                  <a:pt x="88900" y="75370"/>
                </a:cubicBezTo>
                <a:cubicBezTo>
                  <a:pt x="170744" y="-18469"/>
                  <a:pt x="407811" y="-26936"/>
                  <a:pt x="491067" y="62670"/>
                </a:cubicBezTo>
                <a:cubicBezTo>
                  <a:pt x="574323" y="152276"/>
                  <a:pt x="588434" y="613004"/>
                  <a:pt x="588434" y="613004"/>
                </a:cubicBezTo>
              </a:path>
            </a:pathLst>
          </a:custGeom>
          <a:ln w="9525" cmpd="sng">
            <a:solidFill>
              <a:srgbClr val="0000FF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 sz="900">
              <a:solidFill>
                <a:srgbClr val="000000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497310" y="3939658"/>
            <a:ext cx="388248" cy="2077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50" dirty="0">
                <a:solidFill>
                  <a:srgbClr val="FFFFFF"/>
                </a:solidFill>
                <a:ea typeface="ＭＳ Ｐゴシック" charset="0"/>
              </a:rPr>
              <a:t>SVIs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7707301" y="2717404"/>
            <a:ext cx="9733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2"/>
                </a:solidFill>
                <a:ea typeface="ＭＳ Ｐゴシック" charset="0"/>
              </a:rPr>
              <a:t>In-Rack VLANs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7708190" y="2876284"/>
            <a:ext cx="14734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2"/>
                </a:solidFill>
                <a:ea typeface="ＭＳ Ｐゴシック" charset="0"/>
              </a:rPr>
              <a:t>VXLAN Extended VLANs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7726704" y="3044608"/>
            <a:ext cx="80021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2"/>
                </a:solidFill>
                <a:ea typeface="ＭＳ Ｐゴシック" charset="0"/>
              </a:rPr>
              <a:t>Routed Link</a:t>
            </a:r>
          </a:p>
        </p:txBody>
      </p:sp>
      <p:pic>
        <p:nvPicPr>
          <p:cNvPr id="104" name="Picture 65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0310" y="4549265"/>
            <a:ext cx="258859" cy="20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" name="Picture 65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2429" y="4549265"/>
            <a:ext cx="258859" cy="20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6" name="TextBox 105"/>
          <p:cNvSpPr txBox="1"/>
          <p:nvPr/>
        </p:nvSpPr>
        <p:spPr>
          <a:xfrm>
            <a:off x="3911844" y="3601294"/>
            <a:ext cx="2475101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0000"/>
                </a:solidFill>
                <a:ea typeface="ＭＳ Ｐゴシック" charset="0"/>
              </a:rPr>
              <a:t>Distributed </a:t>
            </a:r>
            <a:r>
              <a:rPr lang="en-US" sz="1400" dirty="0" err="1">
                <a:solidFill>
                  <a:srgbClr val="000000"/>
                </a:solidFill>
                <a:ea typeface="ＭＳ Ｐゴシック" charset="0"/>
              </a:rPr>
              <a:t>Anycast</a:t>
            </a:r>
            <a:r>
              <a:rPr lang="en-US" sz="1400" dirty="0">
                <a:solidFill>
                  <a:srgbClr val="000000"/>
                </a:solidFill>
                <a:ea typeface="ＭＳ Ｐゴシック" charset="0"/>
              </a:rPr>
              <a:t> Gateway</a:t>
            </a:r>
          </a:p>
        </p:txBody>
      </p:sp>
      <p:sp>
        <p:nvSpPr>
          <p:cNvPr id="107" name="Freeform 38"/>
          <p:cNvSpPr>
            <a:spLocks noChangeAspect="1" noEditPoints="1"/>
          </p:cNvSpPr>
          <p:nvPr/>
        </p:nvSpPr>
        <p:spPr bwMode="auto">
          <a:xfrm>
            <a:off x="8190952" y="4695158"/>
            <a:ext cx="756145" cy="643256"/>
          </a:xfrm>
          <a:custGeom>
            <a:avLst/>
            <a:gdLst>
              <a:gd name="T0" fmla="*/ 4682 w 4682"/>
              <a:gd name="T1" fmla="*/ 264 h 3983"/>
              <a:gd name="T2" fmla="*/ 2159 w 4682"/>
              <a:gd name="T3" fmla="*/ 434 h 3983"/>
              <a:gd name="T4" fmla="*/ 2256 w 4682"/>
              <a:gd name="T5" fmla="*/ 2837 h 3983"/>
              <a:gd name="T6" fmla="*/ 2036 w 4682"/>
              <a:gd name="T7" fmla="*/ 2126 h 3983"/>
              <a:gd name="T8" fmla="*/ 123 w 4682"/>
              <a:gd name="T9" fmla="*/ 3815 h 3983"/>
              <a:gd name="T10" fmla="*/ 0 w 4682"/>
              <a:gd name="T11" fmla="*/ 3983 h 3983"/>
              <a:gd name="T12" fmla="*/ 4682 w 4682"/>
              <a:gd name="T13" fmla="*/ 3815 h 3983"/>
              <a:gd name="T14" fmla="*/ 4620 w 4682"/>
              <a:gd name="T15" fmla="*/ 434 h 3983"/>
              <a:gd name="T16" fmla="*/ 3810 w 4682"/>
              <a:gd name="T17" fmla="*/ 1833 h 3983"/>
              <a:gd name="T18" fmla="*/ 4254 w 4682"/>
              <a:gd name="T19" fmla="*/ 1271 h 3983"/>
              <a:gd name="T20" fmla="*/ 3810 w 4682"/>
              <a:gd name="T21" fmla="*/ 1833 h 3983"/>
              <a:gd name="T22" fmla="*/ 4254 w 4682"/>
              <a:gd name="T23" fmla="*/ 2577 h 3983"/>
              <a:gd name="T24" fmla="*/ 3810 w 4682"/>
              <a:gd name="T25" fmla="*/ 2015 h 3983"/>
              <a:gd name="T26" fmla="*/ 3810 w 4682"/>
              <a:gd name="T27" fmla="*/ 1091 h 3983"/>
              <a:gd name="T28" fmla="*/ 4254 w 4682"/>
              <a:gd name="T29" fmla="*/ 529 h 3983"/>
              <a:gd name="T30" fmla="*/ 3810 w 4682"/>
              <a:gd name="T31" fmla="*/ 1091 h 3983"/>
              <a:gd name="T32" fmla="*/ 2962 w 4682"/>
              <a:gd name="T33" fmla="*/ 3815 h 3983"/>
              <a:gd name="T34" fmla="*/ 3408 w 4682"/>
              <a:gd name="T35" fmla="*/ 2969 h 3983"/>
              <a:gd name="T36" fmla="*/ 3066 w 4682"/>
              <a:gd name="T37" fmla="*/ 1271 h 3983"/>
              <a:gd name="T38" fmla="*/ 2622 w 4682"/>
              <a:gd name="T39" fmla="*/ 1833 h 3983"/>
              <a:gd name="T40" fmla="*/ 3066 w 4682"/>
              <a:gd name="T41" fmla="*/ 1271 h 3983"/>
              <a:gd name="T42" fmla="*/ 2622 w 4682"/>
              <a:gd name="T43" fmla="*/ 529 h 3983"/>
              <a:gd name="T44" fmla="*/ 3066 w 4682"/>
              <a:gd name="T45" fmla="*/ 1091 h 3983"/>
              <a:gd name="T46" fmla="*/ 3066 w 4682"/>
              <a:gd name="T47" fmla="*/ 2015 h 3983"/>
              <a:gd name="T48" fmla="*/ 2622 w 4682"/>
              <a:gd name="T49" fmla="*/ 2577 h 3983"/>
              <a:gd name="T50" fmla="*/ 3066 w 4682"/>
              <a:gd name="T51" fmla="*/ 2015 h 3983"/>
              <a:gd name="T52" fmla="*/ 3215 w 4682"/>
              <a:gd name="T53" fmla="*/ 2015 h 3983"/>
              <a:gd name="T54" fmla="*/ 3659 w 4682"/>
              <a:gd name="T55" fmla="*/ 2577 h 3983"/>
              <a:gd name="T56" fmla="*/ 3215 w 4682"/>
              <a:gd name="T57" fmla="*/ 1833 h 3983"/>
              <a:gd name="T58" fmla="*/ 3659 w 4682"/>
              <a:gd name="T59" fmla="*/ 1271 h 3983"/>
              <a:gd name="T60" fmla="*/ 3215 w 4682"/>
              <a:gd name="T61" fmla="*/ 1833 h 3983"/>
              <a:gd name="T62" fmla="*/ 3215 w 4682"/>
              <a:gd name="T63" fmla="*/ 529 h 3983"/>
              <a:gd name="T64" fmla="*/ 3659 w 4682"/>
              <a:gd name="T65" fmla="*/ 1091 h 3983"/>
              <a:gd name="T66" fmla="*/ 1153 w 4682"/>
              <a:gd name="T67" fmla="*/ 2374 h 3983"/>
              <a:gd name="T68" fmla="*/ 1597 w 4682"/>
              <a:gd name="T69" fmla="*/ 2936 h 3983"/>
              <a:gd name="T70" fmla="*/ 1153 w 4682"/>
              <a:gd name="T71" fmla="*/ 2374 h 3983"/>
              <a:gd name="T72" fmla="*/ 1597 w 4682"/>
              <a:gd name="T73" fmla="*/ 3092 h 3983"/>
              <a:gd name="T74" fmla="*/ 1153 w 4682"/>
              <a:gd name="T75" fmla="*/ 3654 h 3983"/>
              <a:gd name="T76" fmla="*/ 560 w 4682"/>
              <a:gd name="T77" fmla="*/ 2374 h 3983"/>
              <a:gd name="T78" fmla="*/ 1004 w 4682"/>
              <a:gd name="T79" fmla="*/ 2936 h 3983"/>
              <a:gd name="T80" fmla="*/ 560 w 4682"/>
              <a:gd name="T81" fmla="*/ 2374 h 3983"/>
              <a:gd name="T82" fmla="*/ 1004 w 4682"/>
              <a:gd name="T83" fmla="*/ 3092 h 3983"/>
              <a:gd name="T84" fmla="*/ 560 w 4682"/>
              <a:gd name="T85" fmla="*/ 3654 h 3983"/>
              <a:gd name="T86" fmla="*/ 3467 w 4682"/>
              <a:gd name="T87" fmla="*/ 3815 h 3983"/>
              <a:gd name="T88" fmla="*/ 3912 w 4682"/>
              <a:gd name="T89" fmla="*/ 2969 h 3983"/>
              <a:gd name="T90" fmla="*/ 3467 w 4682"/>
              <a:gd name="T91" fmla="*/ 3815 h 3983"/>
              <a:gd name="T92" fmla="*/ 2480 w 4682"/>
              <a:gd name="T93" fmla="*/ 217 h 3983"/>
              <a:gd name="T94" fmla="*/ 4174 w 4682"/>
              <a:gd name="T95" fmla="*/ 0 h 3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682" h="3983">
                <a:moveTo>
                  <a:pt x="4682" y="434"/>
                </a:moveTo>
                <a:lnTo>
                  <a:pt x="4682" y="264"/>
                </a:lnTo>
                <a:lnTo>
                  <a:pt x="2159" y="264"/>
                </a:lnTo>
                <a:lnTo>
                  <a:pt x="2159" y="434"/>
                </a:lnTo>
                <a:lnTo>
                  <a:pt x="2256" y="434"/>
                </a:lnTo>
                <a:lnTo>
                  <a:pt x="2256" y="2837"/>
                </a:lnTo>
                <a:lnTo>
                  <a:pt x="2036" y="2837"/>
                </a:lnTo>
                <a:lnTo>
                  <a:pt x="2036" y="2126"/>
                </a:lnTo>
                <a:lnTo>
                  <a:pt x="123" y="2126"/>
                </a:lnTo>
                <a:lnTo>
                  <a:pt x="123" y="3815"/>
                </a:lnTo>
                <a:lnTo>
                  <a:pt x="0" y="3815"/>
                </a:lnTo>
                <a:lnTo>
                  <a:pt x="0" y="3983"/>
                </a:lnTo>
                <a:lnTo>
                  <a:pt x="4682" y="3983"/>
                </a:lnTo>
                <a:lnTo>
                  <a:pt x="4682" y="3815"/>
                </a:lnTo>
                <a:lnTo>
                  <a:pt x="4620" y="3815"/>
                </a:lnTo>
                <a:lnTo>
                  <a:pt x="4620" y="434"/>
                </a:lnTo>
                <a:lnTo>
                  <a:pt x="4682" y="434"/>
                </a:lnTo>
                <a:close/>
                <a:moveTo>
                  <a:pt x="3810" y="1833"/>
                </a:moveTo>
                <a:lnTo>
                  <a:pt x="3810" y="1271"/>
                </a:lnTo>
                <a:lnTo>
                  <a:pt x="4254" y="1271"/>
                </a:lnTo>
                <a:lnTo>
                  <a:pt x="4254" y="1833"/>
                </a:lnTo>
                <a:lnTo>
                  <a:pt x="3810" y="1833"/>
                </a:lnTo>
                <a:close/>
                <a:moveTo>
                  <a:pt x="4254" y="2015"/>
                </a:moveTo>
                <a:lnTo>
                  <a:pt x="4254" y="2577"/>
                </a:lnTo>
                <a:lnTo>
                  <a:pt x="3810" y="2577"/>
                </a:lnTo>
                <a:lnTo>
                  <a:pt x="3810" y="2015"/>
                </a:lnTo>
                <a:lnTo>
                  <a:pt x="4254" y="2015"/>
                </a:lnTo>
                <a:close/>
                <a:moveTo>
                  <a:pt x="3810" y="1091"/>
                </a:moveTo>
                <a:lnTo>
                  <a:pt x="3810" y="529"/>
                </a:lnTo>
                <a:lnTo>
                  <a:pt x="4254" y="529"/>
                </a:lnTo>
                <a:lnTo>
                  <a:pt x="4254" y="1091"/>
                </a:lnTo>
                <a:lnTo>
                  <a:pt x="3810" y="1091"/>
                </a:lnTo>
                <a:close/>
                <a:moveTo>
                  <a:pt x="3408" y="3815"/>
                </a:moveTo>
                <a:lnTo>
                  <a:pt x="2962" y="3815"/>
                </a:lnTo>
                <a:lnTo>
                  <a:pt x="2962" y="2969"/>
                </a:lnTo>
                <a:lnTo>
                  <a:pt x="3408" y="2969"/>
                </a:lnTo>
                <a:lnTo>
                  <a:pt x="3408" y="3815"/>
                </a:lnTo>
                <a:close/>
                <a:moveTo>
                  <a:pt x="3066" y="1271"/>
                </a:moveTo>
                <a:lnTo>
                  <a:pt x="3066" y="1833"/>
                </a:lnTo>
                <a:lnTo>
                  <a:pt x="2622" y="1833"/>
                </a:lnTo>
                <a:lnTo>
                  <a:pt x="2622" y="1271"/>
                </a:lnTo>
                <a:lnTo>
                  <a:pt x="3066" y="1271"/>
                </a:lnTo>
                <a:close/>
                <a:moveTo>
                  <a:pt x="2622" y="1091"/>
                </a:moveTo>
                <a:lnTo>
                  <a:pt x="2622" y="529"/>
                </a:lnTo>
                <a:lnTo>
                  <a:pt x="3066" y="529"/>
                </a:lnTo>
                <a:lnTo>
                  <a:pt x="3066" y="1091"/>
                </a:lnTo>
                <a:lnTo>
                  <a:pt x="2622" y="1091"/>
                </a:lnTo>
                <a:close/>
                <a:moveTo>
                  <a:pt x="3066" y="2015"/>
                </a:moveTo>
                <a:lnTo>
                  <a:pt x="3066" y="2577"/>
                </a:lnTo>
                <a:lnTo>
                  <a:pt x="2622" y="2577"/>
                </a:lnTo>
                <a:lnTo>
                  <a:pt x="2622" y="2015"/>
                </a:lnTo>
                <a:lnTo>
                  <a:pt x="3066" y="2015"/>
                </a:lnTo>
                <a:close/>
                <a:moveTo>
                  <a:pt x="3215" y="2577"/>
                </a:moveTo>
                <a:lnTo>
                  <a:pt x="3215" y="2015"/>
                </a:lnTo>
                <a:lnTo>
                  <a:pt x="3659" y="2015"/>
                </a:lnTo>
                <a:lnTo>
                  <a:pt x="3659" y="2577"/>
                </a:lnTo>
                <a:lnTo>
                  <a:pt x="3215" y="2577"/>
                </a:lnTo>
                <a:close/>
                <a:moveTo>
                  <a:pt x="3215" y="1833"/>
                </a:moveTo>
                <a:lnTo>
                  <a:pt x="3215" y="1271"/>
                </a:lnTo>
                <a:lnTo>
                  <a:pt x="3659" y="1271"/>
                </a:lnTo>
                <a:lnTo>
                  <a:pt x="3659" y="1833"/>
                </a:lnTo>
                <a:lnTo>
                  <a:pt x="3215" y="1833"/>
                </a:lnTo>
                <a:close/>
                <a:moveTo>
                  <a:pt x="3215" y="1091"/>
                </a:moveTo>
                <a:lnTo>
                  <a:pt x="3215" y="529"/>
                </a:lnTo>
                <a:lnTo>
                  <a:pt x="3659" y="529"/>
                </a:lnTo>
                <a:lnTo>
                  <a:pt x="3659" y="1091"/>
                </a:lnTo>
                <a:lnTo>
                  <a:pt x="3215" y="1091"/>
                </a:lnTo>
                <a:close/>
                <a:moveTo>
                  <a:pt x="1153" y="2374"/>
                </a:moveTo>
                <a:lnTo>
                  <a:pt x="1597" y="2374"/>
                </a:lnTo>
                <a:lnTo>
                  <a:pt x="1597" y="2936"/>
                </a:lnTo>
                <a:lnTo>
                  <a:pt x="1153" y="2936"/>
                </a:lnTo>
                <a:lnTo>
                  <a:pt x="1153" y="2374"/>
                </a:lnTo>
                <a:close/>
                <a:moveTo>
                  <a:pt x="1153" y="3092"/>
                </a:moveTo>
                <a:lnTo>
                  <a:pt x="1597" y="3092"/>
                </a:lnTo>
                <a:lnTo>
                  <a:pt x="1597" y="3654"/>
                </a:lnTo>
                <a:lnTo>
                  <a:pt x="1153" y="3654"/>
                </a:lnTo>
                <a:lnTo>
                  <a:pt x="1153" y="3092"/>
                </a:lnTo>
                <a:close/>
                <a:moveTo>
                  <a:pt x="560" y="2374"/>
                </a:moveTo>
                <a:lnTo>
                  <a:pt x="1004" y="2374"/>
                </a:lnTo>
                <a:lnTo>
                  <a:pt x="1004" y="2936"/>
                </a:lnTo>
                <a:lnTo>
                  <a:pt x="560" y="2936"/>
                </a:lnTo>
                <a:lnTo>
                  <a:pt x="560" y="2374"/>
                </a:lnTo>
                <a:close/>
                <a:moveTo>
                  <a:pt x="560" y="3092"/>
                </a:moveTo>
                <a:lnTo>
                  <a:pt x="1004" y="3092"/>
                </a:lnTo>
                <a:lnTo>
                  <a:pt x="1004" y="3654"/>
                </a:lnTo>
                <a:lnTo>
                  <a:pt x="560" y="3654"/>
                </a:lnTo>
                <a:lnTo>
                  <a:pt x="560" y="3092"/>
                </a:lnTo>
                <a:close/>
                <a:moveTo>
                  <a:pt x="3467" y="3815"/>
                </a:moveTo>
                <a:lnTo>
                  <a:pt x="3467" y="2969"/>
                </a:lnTo>
                <a:lnTo>
                  <a:pt x="3912" y="2969"/>
                </a:lnTo>
                <a:lnTo>
                  <a:pt x="3912" y="3815"/>
                </a:lnTo>
                <a:lnTo>
                  <a:pt x="3467" y="3815"/>
                </a:lnTo>
                <a:close/>
                <a:moveTo>
                  <a:pt x="4363" y="217"/>
                </a:moveTo>
                <a:lnTo>
                  <a:pt x="2480" y="217"/>
                </a:lnTo>
                <a:lnTo>
                  <a:pt x="2669" y="0"/>
                </a:lnTo>
                <a:lnTo>
                  <a:pt x="4174" y="0"/>
                </a:lnTo>
                <a:lnTo>
                  <a:pt x="4363" y="217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2C2C2C"/>
              </a:solidFill>
              <a:latin typeface="CiscoSansTT"/>
              <a:ea typeface="+mn-ea"/>
              <a:cs typeface="+mn-cs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060249" y="2319188"/>
            <a:ext cx="1300641" cy="315455"/>
          </a:xfrm>
          <a:prstGeom prst="rect">
            <a:avLst/>
          </a:prstGeom>
          <a:noFill/>
        </p:spPr>
        <p:txBody>
          <a:bodyPr wrap="none" lIns="68562" tIns="34282" rIns="68562" bIns="34282" rtlCol="0">
            <a:spAutoFit/>
          </a:bodyPr>
          <a:lstStyle/>
          <a:p>
            <a:r>
              <a:rPr lang="en-US" sz="1600" dirty="0"/>
              <a:t>L3 Boundary</a:t>
            </a:r>
          </a:p>
        </p:txBody>
      </p:sp>
      <p:cxnSp>
        <p:nvCxnSpPr>
          <p:cNvPr id="109" name="Straight Arrow Connector 108"/>
          <p:cNvCxnSpPr/>
          <p:nvPr/>
        </p:nvCxnSpPr>
        <p:spPr>
          <a:xfrm>
            <a:off x="2968052" y="2634643"/>
            <a:ext cx="1349640" cy="8516"/>
          </a:xfrm>
          <a:prstGeom prst="straightConnector1">
            <a:avLst/>
          </a:prstGeom>
          <a:ln>
            <a:solidFill>
              <a:schemeClr val="tx1">
                <a:lumMod val="75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0" name="Group 78"/>
          <p:cNvGrpSpPr/>
          <p:nvPr/>
        </p:nvGrpSpPr>
        <p:grpSpPr>
          <a:xfrm>
            <a:off x="3179768" y="5246562"/>
            <a:ext cx="386688" cy="291272"/>
            <a:chOff x="1863904" y="4073704"/>
            <a:chExt cx="914400" cy="1447800"/>
          </a:xfrm>
        </p:grpSpPr>
        <p:sp>
          <p:nvSpPr>
            <p:cNvPr id="111" name="Rounded Rectangle 110"/>
            <p:cNvSpPr/>
            <p:nvPr/>
          </p:nvSpPr>
          <p:spPr bwMode="auto">
            <a:xfrm>
              <a:off x="1863904" y="4073704"/>
              <a:ext cx="914400" cy="1447800"/>
            </a:xfrm>
            <a:prstGeom prst="roundRect">
              <a:avLst/>
            </a:prstGeom>
            <a:solidFill>
              <a:schemeClr val="bg2">
                <a:lumMod val="85000"/>
                <a:lumOff val="15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1593" tIns="30796" rIns="61593" bIns="307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10586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75">
                <a:latin typeface="Arial" charset="0"/>
              </a:endParaRPr>
            </a:p>
          </p:txBody>
        </p:sp>
        <p:grpSp>
          <p:nvGrpSpPr>
            <p:cNvPr id="112" name="Group 67"/>
            <p:cNvGrpSpPr/>
            <p:nvPr/>
          </p:nvGrpSpPr>
          <p:grpSpPr>
            <a:xfrm>
              <a:off x="1905000" y="4114800"/>
              <a:ext cx="838200" cy="685800"/>
              <a:chOff x="3200400" y="2971800"/>
              <a:chExt cx="838200" cy="685800"/>
            </a:xfrm>
          </p:grpSpPr>
          <p:sp>
            <p:nvSpPr>
              <p:cNvPr id="116" name="Rounded Rectangle 115"/>
              <p:cNvSpPr/>
              <p:nvPr/>
            </p:nvSpPr>
            <p:spPr bwMode="auto">
              <a:xfrm>
                <a:off x="3200400" y="2971800"/>
                <a:ext cx="838200" cy="685800"/>
              </a:xfrm>
              <a:prstGeom prst="roundRect">
                <a:avLst/>
              </a:prstGeom>
              <a:solidFill>
                <a:srgbClr val="FF99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17" name="Rounded Rectangle 116"/>
              <p:cNvSpPr/>
              <p:nvPr/>
            </p:nvSpPr>
            <p:spPr bwMode="auto">
              <a:xfrm>
                <a:off x="3276600" y="3048000"/>
                <a:ext cx="685800" cy="533400"/>
              </a:xfrm>
              <a:prstGeom prst="roundRect">
                <a:avLst/>
              </a:prstGeom>
              <a:solidFill>
                <a:srgbClr val="FE5B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00" b="1" dirty="0">
                    <a:solidFill>
                      <a:schemeClr val="bg1"/>
                    </a:solidFill>
                    <a:latin typeface="Arial" charset="0"/>
                  </a:rPr>
                  <a:t>App</a:t>
                </a:r>
              </a:p>
            </p:txBody>
          </p:sp>
        </p:grpSp>
        <p:grpSp>
          <p:nvGrpSpPr>
            <p:cNvPr id="113" name="Group 68"/>
            <p:cNvGrpSpPr/>
            <p:nvPr/>
          </p:nvGrpSpPr>
          <p:grpSpPr>
            <a:xfrm>
              <a:off x="1905000" y="4800600"/>
              <a:ext cx="838200" cy="685800"/>
              <a:chOff x="3200400" y="3886200"/>
              <a:chExt cx="838200" cy="685800"/>
            </a:xfrm>
          </p:grpSpPr>
          <p:sp>
            <p:nvSpPr>
              <p:cNvPr id="114" name="Rounded Rectangle 113"/>
              <p:cNvSpPr/>
              <p:nvPr/>
            </p:nvSpPr>
            <p:spPr bwMode="auto">
              <a:xfrm>
                <a:off x="3200400" y="3886200"/>
                <a:ext cx="838200" cy="685800"/>
              </a:xfrm>
              <a:prstGeom prst="roundRect">
                <a:avLst/>
              </a:prstGeom>
              <a:solidFill>
                <a:srgbClr val="CC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15" name="Rounded Rectangle 114"/>
              <p:cNvSpPr/>
              <p:nvPr/>
            </p:nvSpPr>
            <p:spPr bwMode="auto">
              <a:xfrm>
                <a:off x="3276600" y="3962400"/>
                <a:ext cx="685800" cy="533400"/>
              </a:xfrm>
              <a:prstGeom prst="roundRect">
                <a:avLst/>
              </a:prstGeom>
              <a:solidFill>
                <a:schemeClr val="bg2">
                  <a:lumMod val="65000"/>
                  <a:lumOff val="3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25" b="1" dirty="0">
                    <a:solidFill>
                      <a:srgbClr val="0070C0"/>
                    </a:solidFill>
                    <a:latin typeface="Arial" charset="0"/>
                  </a:rPr>
                  <a:t>OS</a:t>
                </a:r>
              </a:p>
            </p:txBody>
          </p:sp>
        </p:grpSp>
      </p:grpSp>
      <p:grpSp>
        <p:nvGrpSpPr>
          <p:cNvPr id="118" name="Group 78"/>
          <p:cNvGrpSpPr/>
          <p:nvPr/>
        </p:nvGrpSpPr>
        <p:grpSpPr>
          <a:xfrm>
            <a:off x="3593512" y="5231835"/>
            <a:ext cx="386688" cy="291272"/>
            <a:chOff x="1863904" y="4073704"/>
            <a:chExt cx="914400" cy="1447800"/>
          </a:xfrm>
        </p:grpSpPr>
        <p:sp>
          <p:nvSpPr>
            <p:cNvPr id="119" name="Rounded Rectangle 118"/>
            <p:cNvSpPr/>
            <p:nvPr/>
          </p:nvSpPr>
          <p:spPr bwMode="auto">
            <a:xfrm>
              <a:off x="1863904" y="4073704"/>
              <a:ext cx="914400" cy="1447800"/>
            </a:xfrm>
            <a:prstGeom prst="roundRect">
              <a:avLst/>
            </a:prstGeom>
            <a:solidFill>
              <a:schemeClr val="bg2">
                <a:lumMod val="85000"/>
                <a:lumOff val="15000"/>
              </a:schemeClr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1593" tIns="30796" rIns="61593" bIns="307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10586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75">
                <a:latin typeface="Arial" charset="0"/>
              </a:endParaRPr>
            </a:p>
          </p:txBody>
        </p:sp>
        <p:grpSp>
          <p:nvGrpSpPr>
            <p:cNvPr id="120" name="Group 67"/>
            <p:cNvGrpSpPr/>
            <p:nvPr/>
          </p:nvGrpSpPr>
          <p:grpSpPr>
            <a:xfrm>
              <a:off x="1905000" y="4114800"/>
              <a:ext cx="838200" cy="685800"/>
              <a:chOff x="3200400" y="2971800"/>
              <a:chExt cx="838200" cy="685800"/>
            </a:xfrm>
          </p:grpSpPr>
          <p:sp>
            <p:nvSpPr>
              <p:cNvPr id="124" name="Rounded Rectangle 123"/>
              <p:cNvSpPr/>
              <p:nvPr/>
            </p:nvSpPr>
            <p:spPr bwMode="auto">
              <a:xfrm>
                <a:off x="3200400" y="2971800"/>
                <a:ext cx="838200" cy="685800"/>
              </a:xfrm>
              <a:prstGeom prst="roundRect">
                <a:avLst/>
              </a:prstGeom>
              <a:solidFill>
                <a:srgbClr val="FF99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25" name="Rounded Rectangle 124"/>
              <p:cNvSpPr/>
              <p:nvPr/>
            </p:nvSpPr>
            <p:spPr bwMode="auto">
              <a:xfrm>
                <a:off x="3276600" y="3048000"/>
                <a:ext cx="685800" cy="533400"/>
              </a:xfrm>
              <a:prstGeom prst="roundRect">
                <a:avLst/>
              </a:prstGeom>
              <a:solidFill>
                <a:srgbClr val="FE5B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00" b="1" dirty="0">
                    <a:solidFill>
                      <a:schemeClr val="bg1"/>
                    </a:solidFill>
                    <a:latin typeface="Arial" charset="0"/>
                  </a:rPr>
                  <a:t>App</a:t>
                </a:r>
              </a:p>
            </p:txBody>
          </p:sp>
        </p:grpSp>
        <p:grpSp>
          <p:nvGrpSpPr>
            <p:cNvPr id="121" name="Group 68"/>
            <p:cNvGrpSpPr/>
            <p:nvPr/>
          </p:nvGrpSpPr>
          <p:grpSpPr>
            <a:xfrm>
              <a:off x="1905000" y="4800600"/>
              <a:ext cx="838200" cy="685800"/>
              <a:chOff x="3200400" y="3886200"/>
              <a:chExt cx="838200" cy="685800"/>
            </a:xfrm>
          </p:grpSpPr>
          <p:sp>
            <p:nvSpPr>
              <p:cNvPr id="122" name="Rounded Rectangle 121"/>
              <p:cNvSpPr/>
              <p:nvPr/>
            </p:nvSpPr>
            <p:spPr bwMode="auto">
              <a:xfrm>
                <a:off x="3200400" y="3886200"/>
                <a:ext cx="838200" cy="685800"/>
              </a:xfrm>
              <a:prstGeom prst="roundRect">
                <a:avLst/>
              </a:prstGeom>
              <a:solidFill>
                <a:srgbClr val="CC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23" name="Rounded Rectangle 122"/>
              <p:cNvSpPr/>
              <p:nvPr/>
            </p:nvSpPr>
            <p:spPr bwMode="auto">
              <a:xfrm>
                <a:off x="3276600" y="3962400"/>
                <a:ext cx="685800" cy="533400"/>
              </a:xfrm>
              <a:prstGeom prst="roundRect">
                <a:avLst/>
              </a:prstGeom>
              <a:solidFill>
                <a:schemeClr val="bg2">
                  <a:lumMod val="65000"/>
                  <a:lumOff val="3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25" b="1" dirty="0">
                    <a:solidFill>
                      <a:srgbClr val="0070C0"/>
                    </a:solidFill>
                    <a:latin typeface="Arial" charset="0"/>
                  </a:rPr>
                  <a:t>OS</a:t>
                </a:r>
              </a:p>
            </p:txBody>
          </p:sp>
        </p:grpSp>
      </p:grpSp>
      <p:grpSp>
        <p:nvGrpSpPr>
          <p:cNvPr id="126" name="Group 78"/>
          <p:cNvGrpSpPr/>
          <p:nvPr/>
        </p:nvGrpSpPr>
        <p:grpSpPr>
          <a:xfrm>
            <a:off x="3185213" y="5594914"/>
            <a:ext cx="386688" cy="291272"/>
            <a:chOff x="1863904" y="4073704"/>
            <a:chExt cx="914400" cy="144780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27" name="Rounded Rectangle 126"/>
            <p:cNvSpPr/>
            <p:nvPr/>
          </p:nvSpPr>
          <p:spPr bwMode="auto">
            <a:xfrm>
              <a:off x="1863904" y="4073704"/>
              <a:ext cx="914400" cy="1447800"/>
            </a:xfrm>
            <a:prstGeom prst="roundRect">
              <a:avLst/>
            </a:prstGeom>
            <a:grp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1593" tIns="30796" rIns="61593" bIns="307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10586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75">
                <a:latin typeface="Arial" charset="0"/>
              </a:endParaRPr>
            </a:p>
          </p:txBody>
        </p:sp>
        <p:grpSp>
          <p:nvGrpSpPr>
            <p:cNvPr id="128" name="Group 67"/>
            <p:cNvGrpSpPr/>
            <p:nvPr/>
          </p:nvGrpSpPr>
          <p:grpSpPr>
            <a:xfrm>
              <a:off x="1905000" y="4114800"/>
              <a:ext cx="838200" cy="685800"/>
              <a:chOff x="3200400" y="2971800"/>
              <a:chExt cx="838200" cy="685800"/>
            </a:xfrm>
            <a:grpFill/>
          </p:grpSpPr>
          <p:sp>
            <p:nvSpPr>
              <p:cNvPr id="132" name="Rounded Rectangle 131"/>
              <p:cNvSpPr/>
              <p:nvPr/>
            </p:nvSpPr>
            <p:spPr bwMode="auto">
              <a:xfrm>
                <a:off x="3200400" y="2971800"/>
                <a:ext cx="838200" cy="6858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33" name="Rounded Rectangle 132"/>
              <p:cNvSpPr/>
              <p:nvPr/>
            </p:nvSpPr>
            <p:spPr bwMode="auto">
              <a:xfrm>
                <a:off x="3276600" y="3048000"/>
                <a:ext cx="685800" cy="5334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00" b="1" dirty="0">
                    <a:solidFill>
                      <a:schemeClr val="bg1"/>
                    </a:solidFill>
                    <a:latin typeface="Arial" charset="0"/>
                  </a:rPr>
                  <a:t>App</a:t>
                </a:r>
              </a:p>
            </p:txBody>
          </p:sp>
        </p:grpSp>
        <p:grpSp>
          <p:nvGrpSpPr>
            <p:cNvPr id="129" name="Group 68"/>
            <p:cNvGrpSpPr/>
            <p:nvPr/>
          </p:nvGrpSpPr>
          <p:grpSpPr>
            <a:xfrm>
              <a:off x="1905000" y="4800600"/>
              <a:ext cx="838200" cy="685800"/>
              <a:chOff x="3200400" y="3886200"/>
              <a:chExt cx="838200" cy="685800"/>
            </a:xfrm>
            <a:grpFill/>
          </p:grpSpPr>
          <p:sp>
            <p:nvSpPr>
              <p:cNvPr id="130" name="Rounded Rectangle 129"/>
              <p:cNvSpPr/>
              <p:nvPr/>
            </p:nvSpPr>
            <p:spPr bwMode="auto">
              <a:xfrm>
                <a:off x="3200400" y="3886200"/>
                <a:ext cx="838200" cy="6858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31" name="Rounded Rectangle 130"/>
              <p:cNvSpPr/>
              <p:nvPr/>
            </p:nvSpPr>
            <p:spPr bwMode="auto">
              <a:xfrm>
                <a:off x="3276600" y="3962400"/>
                <a:ext cx="685800" cy="5334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25" b="1" dirty="0">
                    <a:solidFill>
                      <a:srgbClr val="0070C0"/>
                    </a:solidFill>
                    <a:latin typeface="Arial" charset="0"/>
                  </a:rPr>
                  <a:t>OS</a:t>
                </a:r>
              </a:p>
            </p:txBody>
          </p:sp>
        </p:grpSp>
      </p:grpSp>
      <p:grpSp>
        <p:nvGrpSpPr>
          <p:cNvPr id="134" name="Group 78"/>
          <p:cNvGrpSpPr/>
          <p:nvPr/>
        </p:nvGrpSpPr>
        <p:grpSpPr>
          <a:xfrm>
            <a:off x="3598957" y="5580187"/>
            <a:ext cx="386688" cy="291272"/>
            <a:chOff x="1863904" y="4073704"/>
            <a:chExt cx="914400" cy="1447800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135" name="Rounded Rectangle 134"/>
            <p:cNvSpPr/>
            <p:nvPr/>
          </p:nvSpPr>
          <p:spPr bwMode="auto">
            <a:xfrm>
              <a:off x="1863904" y="4073704"/>
              <a:ext cx="914400" cy="1447800"/>
            </a:xfrm>
            <a:prstGeom prst="roundRect">
              <a:avLst/>
            </a:prstGeom>
            <a:grpFill/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61593" tIns="30796" rIns="61593" bIns="30796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10586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675">
                <a:latin typeface="Arial" charset="0"/>
              </a:endParaRPr>
            </a:p>
          </p:txBody>
        </p:sp>
        <p:grpSp>
          <p:nvGrpSpPr>
            <p:cNvPr id="136" name="Group 67"/>
            <p:cNvGrpSpPr/>
            <p:nvPr/>
          </p:nvGrpSpPr>
          <p:grpSpPr>
            <a:xfrm>
              <a:off x="1905000" y="4114800"/>
              <a:ext cx="838200" cy="685800"/>
              <a:chOff x="3200400" y="2971800"/>
              <a:chExt cx="838200" cy="685800"/>
            </a:xfrm>
            <a:grpFill/>
          </p:grpSpPr>
          <p:sp>
            <p:nvSpPr>
              <p:cNvPr id="140" name="Rounded Rectangle 139"/>
              <p:cNvSpPr/>
              <p:nvPr/>
            </p:nvSpPr>
            <p:spPr bwMode="auto">
              <a:xfrm>
                <a:off x="3200400" y="2971800"/>
                <a:ext cx="838200" cy="6858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41" name="Rounded Rectangle 140"/>
              <p:cNvSpPr/>
              <p:nvPr/>
            </p:nvSpPr>
            <p:spPr bwMode="auto">
              <a:xfrm>
                <a:off x="3276600" y="3048000"/>
                <a:ext cx="685800" cy="5334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00" b="1" dirty="0">
                    <a:solidFill>
                      <a:schemeClr val="bg1"/>
                    </a:solidFill>
                    <a:latin typeface="Arial" charset="0"/>
                  </a:rPr>
                  <a:t>App</a:t>
                </a:r>
              </a:p>
            </p:txBody>
          </p:sp>
        </p:grpSp>
        <p:grpSp>
          <p:nvGrpSpPr>
            <p:cNvPr id="137" name="Group 68"/>
            <p:cNvGrpSpPr/>
            <p:nvPr/>
          </p:nvGrpSpPr>
          <p:grpSpPr>
            <a:xfrm>
              <a:off x="1905000" y="4800600"/>
              <a:ext cx="838200" cy="685800"/>
              <a:chOff x="3200400" y="3886200"/>
              <a:chExt cx="838200" cy="685800"/>
            </a:xfrm>
            <a:grpFill/>
          </p:grpSpPr>
          <p:sp>
            <p:nvSpPr>
              <p:cNvPr id="138" name="Rounded Rectangle 137"/>
              <p:cNvSpPr/>
              <p:nvPr/>
            </p:nvSpPr>
            <p:spPr bwMode="auto">
              <a:xfrm>
                <a:off x="3200400" y="3886200"/>
                <a:ext cx="838200" cy="6858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675">
                  <a:latin typeface="Arial" charset="0"/>
                </a:endParaRPr>
              </a:p>
            </p:txBody>
          </p:sp>
          <p:sp>
            <p:nvSpPr>
              <p:cNvPr id="139" name="Rounded Rectangle 138"/>
              <p:cNvSpPr/>
              <p:nvPr/>
            </p:nvSpPr>
            <p:spPr bwMode="auto">
              <a:xfrm>
                <a:off x="3276600" y="3962400"/>
                <a:ext cx="685800" cy="533400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1593" tIns="30796" rIns="61593" bIns="30796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10586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25" b="1" dirty="0">
                    <a:solidFill>
                      <a:srgbClr val="0070C0"/>
                    </a:solidFill>
                    <a:latin typeface="Arial" charset="0"/>
                  </a:rPr>
                  <a:t>OS</a:t>
                </a:r>
              </a:p>
            </p:txBody>
          </p:sp>
        </p:grpSp>
      </p:grpSp>
      <p:sp>
        <p:nvSpPr>
          <p:cNvPr id="97" name="Freeform 96"/>
          <p:cNvSpPr/>
          <p:nvPr/>
        </p:nvSpPr>
        <p:spPr>
          <a:xfrm>
            <a:off x="3781371" y="3762448"/>
            <a:ext cx="1903058" cy="1160921"/>
          </a:xfrm>
          <a:custGeom>
            <a:avLst/>
            <a:gdLst>
              <a:gd name="connsiteX0" fmla="*/ 0 w 1598416"/>
              <a:gd name="connsiteY0" fmla="*/ 1238949 h 1238949"/>
              <a:gd name="connsiteX1" fmla="*/ 304055 w 1598416"/>
              <a:gd name="connsiteY1" fmla="*/ 666517 h 1238949"/>
              <a:gd name="connsiteX2" fmla="*/ 930050 w 1598416"/>
              <a:gd name="connsiteY2" fmla="*/ 40420 h 1238949"/>
              <a:gd name="connsiteX3" fmla="*/ 1520274 w 1598416"/>
              <a:gd name="connsiteY3" fmla="*/ 183528 h 1238949"/>
              <a:gd name="connsiteX4" fmla="*/ 1591816 w 1598416"/>
              <a:gd name="connsiteY4" fmla="*/ 1167395 h 1238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98416" h="1238949">
                <a:moveTo>
                  <a:pt x="0" y="1238949"/>
                </a:moveTo>
                <a:cubicBezTo>
                  <a:pt x="74523" y="1052610"/>
                  <a:pt x="149047" y="866272"/>
                  <a:pt x="304055" y="666517"/>
                </a:cubicBezTo>
                <a:cubicBezTo>
                  <a:pt x="459063" y="466762"/>
                  <a:pt x="727347" y="120918"/>
                  <a:pt x="930050" y="40420"/>
                </a:cubicBezTo>
                <a:cubicBezTo>
                  <a:pt x="1132753" y="-40078"/>
                  <a:pt x="1409980" y="-4301"/>
                  <a:pt x="1520274" y="183528"/>
                </a:cubicBezTo>
                <a:cubicBezTo>
                  <a:pt x="1630568" y="371357"/>
                  <a:pt x="1591816" y="1167395"/>
                  <a:pt x="1591816" y="1167395"/>
                </a:cubicBezTo>
              </a:path>
            </a:pathLst>
          </a:custGeom>
          <a:ln w="9525" cmpd="sng">
            <a:solidFill>
              <a:srgbClr val="008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en-US" sz="9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8125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-3.7037E-7 L 0.21706 -0.0842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46" y="-4213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2.96296E-6 L 0.14531 -0.08218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66" y="-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5" grpId="0"/>
      <p:bldP spid="9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38822" y="2662253"/>
            <a:ext cx="3325887" cy="1202904"/>
          </a:xfrm>
        </p:spPr>
        <p:txBody>
          <a:bodyPr/>
          <a:lstStyle/>
          <a:p>
            <a:r>
              <a:rPr lang="en-US" smtClean="0"/>
              <a:t>When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17231269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thernet VPN is Standards-Base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710989" y="6229353"/>
            <a:ext cx="479424" cy="365125"/>
          </a:xfrm>
          <a:prstGeom prst="rect">
            <a:avLst/>
          </a:prstGeom>
        </p:spPr>
        <p:txBody>
          <a:bodyPr lIns="91316" tIns="45659" rIns="91316" bIns="45659"/>
          <a:lstStyle/>
          <a:p>
            <a:fld id="{3945D0FD-48F1-4D72-80C5-FFB60B92A834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25" name="Group 24"/>
          <p:cNvGrpSpPr/>
          <p:nvPr/>
        </p:nvGrpSpPr>
        <p:grpSpPr>
          <a:xfrm>
            <a:off x="403519" y="1693177"/>
            <a:ext cx="11351470" cy="1219200"/>
            <a:chOff x="301527" y="1269883"/>
            <a:chExt cx="8515820" cy="1050626"/>
          </a:xfrm>
        </p:grpSpPr>
        <p:sp>
          <p:nvSpPr>
            <p:cNvPr id="14" name="Rectangle 13"/>
            <p:cNvSpPr/>
            <p:nvPr/>
          </p:nvSpPr>
          <p:spPr bwMode="auto">
            <a:xfrm>
              <a:off x="301527" y="1269883"/>
              <a:ext cx="8515820" cy="105062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defTabSz="684811"/>
              <a:r>
                <a:rPr lang="en-US" sz="1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Control-</a:t>
              </a:r>
            </a:p>
            <a:p>
              <a:pPr defTabSz="684811"/>
              <a:r>
                <a:rPr lang="en-US" sz="1900" dirty="0">
                  <a:solidFill>
                    <a:schemeClr val="tx1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 Plane</a:t>
              </a:r>
            </a:p>
          </p:txBody>
        </p:sp>
        <p:sp>
          <p:nvSpPr>
            <p:cNvPr id="8" name="Rounded Rectangle 7"/>
            <p:cNvSpPr/>
            <p:nvPr/>
          </p:nvSpPr>
          <p:spPr bwMode="auto">
            <a:xfrm>
              <a:off x="1123868" y="1361242"/>
              <a:ext cx="7629519" cy="867909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 defTabSz="684811"/>
              <a:r>
                <a:rPr lang="en-US" sz="19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EVPN MP-BGP - RFC 7432</a:t>
              </a:r>
            </a:p>
            <a:p>
              <a:pPr algn="ctr" defTabSz="684811"/>
              <a:r>
                <a:rPr lang="en-US" sz="1600" dirty="0">
                  <a:solidFill>
                    <a:srgbClr val="000000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rPr>
                <a:t>(draft-ietf-l2vpn-evpn)</a:t>
              </a:r>
            </a:p>
          </p:txBody>
        </p:sp>
      </p:grpSp>
      <p:sp>
        <p:nvSpPr>
          <p:cNvPr id="16" name="Rectangle 15"/>
          <p:cNvSpPr/>
          <p:nvPr/>
        </p:nvSpPr>
        <p:spPr bwMode="auto">
          <a:xfrm>
            <a:off x="399611" y="3015103"/>
            <a:ext cx="11351470" cy="15240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defTabSz="684811"/>
            <a:r>
              <a:rPr lang="en-US" sz="1900" dirty="0">
                <a:solidFill>
                  <a:schemeClr val="tx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 Data-</a:t>
            </a:r>
          </a:p>
          <a:p>
            <a:pPr defTabSz="684811"/>
            <a:r>
              <a:rPr lang="en-US" sz="1900" dirty="0">
                <a:solidFill>
                  <a:schemeClr val="tx1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 Plane</a:t>
            </a:r>
          </a:p>
        </p:txBody>
      </p:sp>
      <p:sp>
        <p:nvSpPr>
          <p:cNvPr id="10" name="Round Diagonal Corner Rectangle 9"/>
          <p:cNvSpPr/>
          <p:nvPr/>
        </p:nvSpPr>
        <p:spPr bwMode="auto">
          <a:xfrm>
            <a:off x="1499689" y="3184004"/>
            <a:ext cx="3290983" cy="1186201"/>
          </a:xfrm>
          <a:prstGeom prst="round2Diag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684811"/>
            <a:r>
              <a:rPr lang="en-US" sz="19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Multi-Protocol Label Switching (MPLS)</a:t>
            </a:r>
          </a:p>
          <a:p>
            <a:pPr algn="ctr" defTabSz="684811"/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draft-ietf-l2vpn-evpn</a:t>
            </a:r>
          </a:p>
        </p:txBody>
      </p:sp>
      <p:sp>
        <p:nvSpPr>
          <p:cNvPr id="11" name="Round Diagonal Corner Rectangle 10"/>
          <p:cNvSpPr/>
          <p:nvPr/>
        </p:nvSpPr>
        <p:spPr bwMode="auto">
          <a:xfrm>
            <a:off x="4939220" y="3184004"/>
            <a:ext cx="3290983" cy="1186201"/>
          </a:xfrm>
          <a:prstGeom prst="round2Diag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684811"/>
            <a:r>
              <a:rPr lang="en-US" sz="19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Provider Backbone Bridges</a:t>
            </a:r>
          </a:p>
          <a:p>
            <a:pPr algn="ctr" defTabSz="684811"/>
            <a:r>
              <a:rPr lang="en-US" sz="19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(PBB)</a:t>
            </a:r>
          </a:p>
          <a:p>
            <a:pPr algn="ctr" defTabSz="684811"/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draft-ietf-l2vpn-pbb-evpn</a:t>
            </a:r>
          </a:p>
        </p:txBody>
      </p:sp>
      <p:sp>
        <p:nvSpPr>
          <p:cNvPr id="12" name="Round Diagonal Corner Rectangle 11"/>
          <p:cNvSpPr/>
          <p:nvPr/>
        </p:nvSpPr>
        <p:spPr bwMode="auto">
          <a:xfrm>
            <a:off x="8378749" y="3184004"/>
            <a:ext cx="3290983" cy="1186201"/>
          </a:xfrm>
          <a:prstGeom prst="round2Diag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 defTabSz="684811"/>
            <a:r>
              <a:rPr lang="en-US" sz="19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Network Virtualization Overlay (NVO)</a:t>
            </a:r>
          </a:p>
          <a:p>
            <a:pPr algn="ctr" defTabSz="684811"/>
            <a:r>
              <a:rPr lang="en-US" sz="1600" dirty="0">
                <a:solidFill>
                  <a:srgbClr val="000000"/>
                </a:solidFill>
                <a:ea typeface="Arial" pitchFamily="-107" charset="0"/>
                <a:cs typeface="Arial" pitchFamily="-107" charset="0"/>
                <a:sym typeface="Arial" pitchFamily="-107" charset="0"/>
              </a:rPr>
              <a:t>draft-sd-l2vpn-evpn-overla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035399" y="4921191"/>
            <a:ext cx="8075135" cy="1413036"/>
          </a:xfrm>
          <a:prstGeom prst="rect">
            <a:avLst/>
          </a:prstGeom>
          <a:noFill/>
          <a:ln>
            <a:solidFill>
              <a:srgbClr val="272A48"/>
            </a:solidFill>
          </a:ln>
        </p:spPr>
        <p:txBody>
          <a:bodyPr wrap="square" lIns="243487" tIns="60867" rIns="243487" bIns="60867" rtlCol="0">
            <a:spAutoFit/>
          </a:bodyPr>
          <a:lstStyle/>
          <a:p>
            <a:pPr marL="380437" indent="-380437">
              <a:lnSpc>
                <a:spcPct val="90000"/>
              </a:lnSpc>
              <a:spcBef>
                <a:spcPts val="800"/>
              </a:spcBef>
              <a:buFont typeface="Wingdings" charset="2"/>
              <a:buChar char="Ø"/>
            </a:pPr>
            <a:r>
              <a:rPr lang="en-US" sz="2100" dirty="0">
                <a:solidFill>
                  <a:srgbClr val="000000"/>
                </a:solidFill>
              </a:rPr>
              <a:t>EVPN over NVO Tunnels (VXLAN, NVGRE, </a:t>
            </a:r>
            <a:r>
              <a:rPr lang="en-US" sz="2100" dirty="0" err="1">
                <a:solidFill>
                  <a:srgbClr val="000000"/>
                </a:solidFill>
              </a:rPr>
              <a:t>MPLSoE</a:t>
            </a:r>
            <a:r>
              <a:rPr lang="en-US" sz="2100" dirty="0">
                <a:solidFill>
                  <a:srgbClr val="000000"/>
                </a:solidFill>
              </a:rPr>
              <a:t>) for Data Center Fabric encapsulations</a:t>
            </a:r>
          </a:p>
          <a:p>
            <a:pPr marL="380437" indent="-380437">
              <a:lnSpc>
                <a:spcPct val="90000"/>
              </a:lnSpc>
              <a:spcBef>
                <a:spcPts val="800"/>
              </a:spcBef>
              <a:buFont typeface="Wingdings" charset="2"/>
              <a:buChar char="Ø"/>
            </a:pPr>
            <a:r>
              <a:rPr lang="en-US" sz="2100" dirty="0">
                <a:solidFill>
                  <a:srgbClr val="000000"/>
                </a:solidFill>
              </a:rPr>
              <a:t>Provides Layer-2 and Layer-3 Overlays over simple IP Networks</a:t>
            </a:r>
          </a:p>
        </p:txBody>
      </p:sp>
      <p:cxnSp>
        <p:nvCxnSpPr>
          <p:cNvPr id="21" name="Straight Arrow Connector 20"/>
          <p:cNvCxnSpPr>
            <a:stCxn id="12" idx="1"/>
          </p:cNvCxnSpPr>
          <p:nvPr/>
        </p:nvCxnSpPr>
        <p:spPr bwMode="auto">
          <a:xfrm flipH="1">
            <a:off x="8746609" y="4370247"/>
            <a:ext cx="1277634" cy="1257497"/>
          </a:xfrm>
          <a:prstGeom prst="straightConnector1">
            <a:avLst/>
          </a:prstGeom>
          <a:solidFill>
            <a:srgbClr val="0183B7"/>
          </a:solidFill>
          <a:ln w="762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75669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2bH2vYGEncTwMtugh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3AhDhRgrESbtwJaCFibXUF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n2bH2vYGEncTwMtughP5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3AhDhRgrESbtwJaCFibXUF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0.xml><?xml version="1.0" encoding="utf-8"?>
<a:theme xmlns:a="http://schemas.openxmlformats.org/drawingml/2006/main" name="1_GSX16_Internal">
  <a:themeElements>
    <a:clrScheme name="GSX 2015">
      <a:dk1>
        <a:srgbClr val="000000"/>
      </a:dk1>
      <a:lt1>
        <a:srgbClr val="FFFFFF"/>
      </a:lt1>
      <a:dk2>
        <a:srgbClr val="111111"/>
      </a:dk2>
      <a:lt2>
        <a:srgbClr val="F6F6F6"/>
      </a:lt2>
      <a:accent1>
        <a:srgbClr val="271C5C"/>
      </a:accent1>
      <a:accent2>
        <a:srgbClr val="3255A4"/>
      </a:accent2>
      <a:accent3>
        <a:srgbClr val="00CDC2"/>
      </a:accent3>
      <a:accent4>
        <a:srgbClr val="BAD739"/>
      </a:accent4>
      <a:accent5>
        <a:srgbClr val="FD4F57"/>
      </a:accent5>
      <a:accent6>
        <a:srgbClr val="30A3FF"/>
      </a:accent6>
      <a:hlink>
        <a:srgbClr val="007EE3"/>
      </a:hlink>
      <a:folHlink>
        <a:srgbClr val="007EE3"/>
      </a:folHlink>
    </a:clrScheme>
    <a:fontScheme name="GSXFY15">
      <a:majorFont>
        <a:latin typeface="CiscoSansTT ExtraLight"/>
        <a:ea typeface=""/>
        <a:cs typeface=""/>
      </a:majorFont>
      <a:minorFont>
        <a:latin typeface="CiscoSans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SXFY16_Template_Internal_v01" id="{1D26B946-0FFC-4213-B361-BB4A7B6C93A1}" vid="{63552632-A054-43BA-9735-02540030F847}"/>
    </a:ext>
  </a:extLst>
</a:theme>
</file>

<file path=ppt/theme/theme11.xml><?xml version="1.0" encoding="utf-8"?>
<a:theme xmlns:a="http://schemas.openxmlformats.org/drawingml/2006/main" name="2_New_Cisco_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2.xml><?xml version="1.0" encoding="utf-8"?>
<a:theme xmlns:a="http://schemas.openxmlformats.org/drawingml/2006/main" name="1_Cisco_Cool_2014_16x9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3.xml><?xml version="1.0" encoding="utf-8"?>
<a:theme xmlns:a="http://schemas.openxmlformats.org/drawingml/2006/main" name="3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4.xml><?xml version="1.0" encoding="utf-8"?>
<a:theme xmlns:a="http://schemas.openxmlformats.org/drawingml/2006/main" name="4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5.xml><?xml version="1.0" encoding="utf-8"?>
<a:theme xmlns:a="http://schemas.openxmlformats.org/drawingml/2006/main" name="5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6.xml><?xml version="1.0" encoding="utf-8"?>
<a:theme xmlns:a="http://schemas.openxmlformats.org/drawingml/2006/main" name="3_New_Cisco_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7.xml><?xml version="1.0" encoding="utf-8"?>
<a:theme xmlns:a="http://schemas.openxmlformats.org/drawingml/2006/main" name="6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8.xml><?xml version="1.0" encoding="utf-8"?>
<a:theme xmlns:a="http://schemas.openxmlformats.org/drawingml/2006/main" name="7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9.xml><?xml version="1.0" encoding="utf-8"?>
<a:theme xmlns:a="http://schemas.openxmlformats.org/drawingml/2006/main" name="2_Cisco_Cool_2014_16x9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New_Cisco_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1_Default Them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</a:theme>
</file>

<file path=ppt/theme/theme21.xml><?xml version="1.0" encoding="utf-8"?>
<a:theme xmlns:a="http://schemas.openxmlformats.org/drawingml/2006/main" name="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3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4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5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6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7_Master layout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Sales&amp;PartnerTraining_cooltemplatev5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9.xml><?xml version="1.0" encoding="utf-8"?>
<a:theme xmlns:a="http://schemas.openxmlformats.org/drawingml/2006/main" name="ciscolive-sf-2014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GSX16_Internal">
  <a:themeElements>
    <a:clrScheme name="GSXFY16-Internal (Dark)">
      <a:dk1>
        <a:srgbClr val="FFFFFF"/>
      </a:dk1>
      <a:lt1>
        <a:srgbClr val="000000"/>
      </a:lt1>
      <a:dk2>
        <a:srgbClr val="F6F6F6"/>
      </a:dk2>
      <a:lt2>
        <a:srgbClr val="111111"/>
      </a:lt2>
      <a:accent1>
        <a:srgbClr val="271C5C"/>
      </a:accent1>
      <a:accent2>
        <a:srgbClr val="3255A4"/>
      </a:accent2>
      <a:accent3>
        <a:srgbClr val="00CDC2"/>
      </a:accent3>
      <a:accent4>
        <a:srgbClr val="BAD739"/>
      </a:accent4>
      <a:accent5>
        <a:srgbClr val="FD4F57"/>
      </a:accent5>
      <a:accent6>
        <a:srgbClr val="30A3FF"/>
      </a:accent6>
      <a:hlink>
        <a:srgbClr val="CACACA"/>
      </a:hlink>
      <a:folHlink>
        <a:srgbClr val="696969"/>
      </a:folHlink>
    </a:clrScheme>
    <a:fontScheme name="GSXFY15">
      <a:majorFont>
        <a:latin typeface="CiscoSansTT ExtraLight"/>
        <a:ea typeface=""/>
        <a:cs typeface=""/>
      </a:majorFont>
      <a:minorFont>
        <a:latin typeface="CiscoSans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SXFY16_Template_Internal_v01" id="{1D26B946-0FFC-4213-B361-BB4A7B6C93A1}" vid="{63552632-A054-43BA-9735-02540030F847}"/>
    </a:ext>
  </a:extLst>
</a:theme>
</file>

<file path=ppt/theme/theme30.xml><?xml version="1.0" encoding="utf-8"?>
<a:theme xmlns:a="http://schemas.openxmlformats.org/drawingml/2006/main" name="1_ciscolive-sf-2014">
  <a:themeElements>
    <a:clrScheme name="Cisco Live 2014">
      <a:dk1>
        <a:srgbClr val="000000"/>
      </a:dk1>
      <a:lt1>
        <a:srgbClr val="FFFFFF"/>
      </a:lt1>
      <a:dk2>
        <a:srgbClr val="9A9B9C"/>
      </a:dk2>
      <a:lt2>
        <a:srgbClr val="595959"/>
      </a:lt2>
      <a:accent1>
        <a:srgbClr val="016BA1"/>
      </a:accent1>
      <a:accent2>
        <a:srgbClr val="F37C20"/>
      </a:accent2>
      <a:accent3>
        <a:srgbClr val="6E3548"/>
      </a:accent3>
      <a:accent4>
        <a:srgbClr val="E44132"/>
      </a:accent4>
      <a:accent5>
        <a:srgbClr val="52A6C3"/>
      </a:accent5>
      <a:accent6>
        <a:srgbClr val="262749"/>
      </a:accent6>
      <a:hlink>
        <a:srgbClr val="F37C20"/>
      </a:hlink>
      <a:folHlink>
        <a:srgbClr val="6E3548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0" tIns="0" rIns="0" bIns="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190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sz="1600" dirty="0" err="1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Cisco_Cool_2014_16x9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2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1_New_Cisco_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Default Them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16x9 Cool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 2014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>
          <a:outerShdw blurRad="76200" dist="50800" dir="5400000" algn="ctr" rotWithShape="0">
            <a:srgbClr val="000000">
              <a:alpha val="27000"/>
            </a:srgbClr>
          </a:outerShdw>
        </a:effectLst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48960</TotalTime>
  <Words>3326</Words>
  <Application>Microsoft Office PowerPoint</Application>
  <PresentationFormat>Widescreen</PresentationFormat>
  <Paragraphs>1166</Paragraphs>
  <Slides>5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3</vt:i4>
      </vt:variant>
      <vt:variant>
        <vt:lpstr>Theme</vt:lpstr>
      </vt:variant>
      <vt:variant>
        <vt:i4>3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108" baseType="lpstr">
      <vt:lpstr>ＭＳ Ｐゴシック</vt:lpstr>
      <vt:lpstr>ＭＳ Ｐゴシック</vt:lpstr>
      <vt:lpstr>Apple LiGothic Medium</vt:lpstr>
      <vt:lpstr>Apple Symbols</vt:lpstr>
      <vt:lpstr>Arial</vt:lpstr>
      <vt:lpstr>Arial Black</vt:lpstr>
      <vt:lpstr>Arial Narrow</vt:lpstr>
      <vt:lpstr>Broadway</vt:lpstr>
      <vt:lpstr>Calibri</vt:lpstr>
      <vt:lpstr>Cambria</vt:lpstr>
      <vt:lpstr>Ciscolight</vt:lpstr>
      <vt:lpstr>CiscoSans</vt:lpstr>
      <vt:lpstr>CiscoSans ExtraLight</vt:lpstr>
      <vt:lpstr>CiscoSans Thin</vt:lpstr>
      <vt:lpstr>CiscoSansTT</vt:lpstr>
      <vt:lpstr>CiscoSansTT ExtraLight</vt:lpstr>
      <vt:lpstr>CiscoSansTT Heavy</vt:lpstr>
      <vt:lpstr>CiscoSansTT Light</vt:lpstr>
      <vt:lpstr>CiscoSansTT Thin</vt:lpstr>
      <vt:lpstr>Courier New</vt:lpstr>
      <vt:lpstr>Lucida Grande</vt:lpstr>
      <vt:lpstr>Webdings</vt:lpstr>
      <vt:lpstr>Wingdings</vt:lpstr>
      <vt:lpstr>Blue theme 2014 16x9</vt:lpstr>
      <vt:lpstr>New_Cisco_Blue</vt:lpstr>
      <vt:lpstr>GSX16_Internal</vt:lpstr>
      <vt:lpstr>1_Blue theme 2014 16x9</vt:lpstr>
      <vt:lpstr>Cisco_Cool_2014_16x9</vt:lpstr>
      <vt:lpstr>2_Blue theme 2014 16x9</vt:lpstr>
      <vt:lpstr>1_New_Cisco_Blue</vt:lpstr>
      <vt:lpstr>Default Theme</vt:lpstr>
      <vt:lpstr>16x9 Cool</vt:lpstr>
      <vt:lpstr>1_GSX16_Internal</vt:lpstr>
      <vt:lpstr>2_New_Cisco_Blue</vt:lpstr>
      <vt:lpstr>1_Cisco_Cool_2014_16x9</vt:lpstr>
      <vt:lpstr>3_Blue theme 2014 16x9</vt:lpstr>
      <vt:lpstr>4_Blue theme 2014 16x9</vt:lpstr>
      <vt:lpstr>5_Blue theme 2014 16x9</vt:lpstr>
      <vt:lpstr>3_New_Cisco_Blue</vt:lpstr>
      <vt:lpstr>6_Blue theme 2014 16x9</vt:lpstr>
      <vt:lpstr>7_Blue theme 2014 16x9</vt:lpstr>
      <vt:lpstr>2_Cisco_Cool_2014_16x9</vt:lpstr>
      <vt:lpstr>1_Default Theme</vt:lpstr>
      <vt:lpstr>Master layout</vt:lpstr>
      <vt:lpstr>2_Master layout</vt:lpstr>
      <vt:lpstr>3_Master layout</vt:lpstr>
      <vt:lpstr>4_Master layout</vt:lpstr>
      <vt:lpstr>5_Master layout</vt:lpstr>
      <vt:lpstr>6_Master layout</vt:lpstr>
      <vt:lpstr>7_Master layout</vt:lpstr>
      <vt:lpstr>Sales&amp;PartnerTraining_cooltemplatev5</vt:lpstr>
      <vt:lpstr>ciscolive-sf-2014</vt:lpstr>
      <vt:lpstr>1_ciscolive-sf-2014</vt:lpstr>
      <vt:lpstr>think-cell Slide</vt:lpstr>
      <vt:lpstr>VXLAN the Cisco Way:  Why, Where, When, What, How</vt:lpstr>
      <vt:lpstr>Why?</vt:lpstr>
      <vt:lpstr>PowerPoint Presentation</vt:lpstr>
      <vt:lpstr>PowerPoint Presentation</vt:lpstr>
      <vt:lpstr>Where?</vt:lpstr>
      <vt:lpstr>PowerPoint Presentation</vt:lpstr>
      <vt:lpstr>PowerPoint Presentation</vt:lpstr>
      <vt:lpstr>When?</vt:lpstr>
      <vt:lpstr>Ethernet VPN is Standards-Based</vt:lpstr>
      <vt:lpstr>Cisco Supported VXLAN IETF Drafts</vt:lpstr>
      <vt:lpstr>VXLAN Evolution</vt:lpstr>
      <vt:lpstr>VXLAN/EVPN - Interoperability &amp; Feasibility</vt:lpstr>
      <vt:lpstr>Cisco VXLAN Portfolio</vt:lpstr>
      <vt:lpstr>What?</vt:lpstr>
      <vt:lpstr>VXLAN/EVPN = Ingress Replication</vt:lpstr>
      <vt:lpstr>VXLAN/EVPN was build for Data Center Interconnect (DCI)</vt:lpstr>
      <vt:lpstr>What is VXLAN/EVPN?</vt:lpstr>
      <vt:lpstr>VXLAN Gateway Types</vt:lpstr>
      <vt:lpstr>VXLAN Overview (1)</vt:lpstr>
      <vt:lpstr>VXLAN Overview (2)</vt:lpstr>
      <vt:lpstr>VXLAN Frame Format</vt:lpstr>
      <vt:lpstr>VXLAN Flood&amp;Learn</vt:lpstr>
      <vt:lpstr>VXLAN Packet Forwarding</vt:lpstr>
      <vt:lpstr>VTEP Discovery (1)</vt:lpstr>
      <vt:lpstr>VTEP Discovery (2)</vt:lpstr>
      <vt:lpstr>Head-End Replication</vt:lpstr>
      <vt:lpstr>How?</vt:lpstr>
      <vt:lpstr>Deployment Considerations</vt:lpstr>
      <vt:lpstr>MTU and VXLAN</vt:lpstr>
      <vt:lpstr>Building your IP Network – Interface Principles</vt:lpstr>
      <vt:lpstr>Building your IP Network – Routing Protocols; OSPF</vt:lpstr>
      <vt:lpstr>Building your IP Network – Routing Protocols; IS-IS</vt:lpstr>
      <vt:lpstr>Building your IP Network – Routing Protocols; iBGP</vt:lpstr>
      <vt:lpstr>Building your IP Network – Routing Protocols; eBGP</vt:lpstr>
      <vt:lpstr>Multicast Enabled Underlay</vt:lpstr>
      <vt:lpstr>Multicast Enabled Underlay – PIM ASM</vt:lpstr>
      <vt:lpstr>Multicast Enabled Underlay – PIM ASM</vt:lpstr>
      <vt:lpstr>Distributed IP Anycast Gateway*</vt:lpstr>
      <vt:lpstr>VXLAN/EVPN Fabric External Routing</vt:lpstr>
      <vt:lpstr>Nexus 9300/9500 External Connectivity</vt:lpstr>
      <vt:lpstr>Nexus 7000/7700 (F3) Flexible External Connectivity</vt:lpstr>
      <vt:lpstr>VXLAN/EVPN Fabric External Routing</vt:lpstr>
      <vt:lpstr>Interconnecting Classic Ethernet Networks (Layer-2)</vt:lpstr>
      <vt:lpstr>Interconnecting VXLAN Networks (Layer-2)</vt:lpstr>
      <vt:lpstr>Interconnecting VXLAN Networks (Layer-3)</vt:lpstr>
      <vt:lpstr>VXLAN/EVPN Designs</vt:lpstr>
      <vt:lpstr>VXLAN/EVPN Designs</vt:lpstr>
      <vt:lpstr>VXLAN/EVPN Designs</vt:lpstr>
      <vt:lpstr>VXLAN/EVPN Designs</vt:lpstr>
      <vt:lpstr>VXLAN/EVPN Designs</vt:lpstr>
      <vt:lpstr>VXLAN/EVPN Designs</vt:lpstr>
      <vt:lpstr>VXLAN/EVPN Designs</vt:lpstr>
      <vt:lpstr>PowerPoint Presentation</vt:lpstr>
      <vt:lpstr>Questions?</vt:lpstr>
    </vt:vector>
  </TitlesOfParts>
  <Company>Cisco System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I Overview</dc:title>
  <dc:creator>Cisco</dc:creator>
  <cp:lastModifiedBy>Katie Lindner -X (kalindne - MAC MEETINGS AND EVENTS LLC at Cisco)</cp:lastModifiedBy>
  <cp:revision>776</cp:revision>
  <cp:lastPrinted>2015-10-12T18:29:16Z</cp:lastPrinted>
  <dcterms:created xsi:type="dcterms:W3CDTF">2014-12-02T01:38:22Z</dcterms:created>
  <dcterms:modified xsi:type="dcterms:W3CDTF">2017-01-18T15:32:33Z</dcterms:modified>
</cp:coreProperties>
</file>